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2.xml" ContentType="application/vnd.openxmlformats-officedocument.theme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theme/theme3.xml" ContentType="application/vnd.openxmlformats-officedocument.theme+xml"/>
  <Override PartName="/ppt/tags/tag57.xml" ContentType="application/vnd.openxmlformats-officedocument.presentationml.tags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theme/theme4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theme/theme5.xml" ContentType="application/vnd.openxmlformats-officedocument.them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84" r:id="rId4"/>
    <p:sldMasterId id="2147484666" r:id="rId5"/>
    <p:sldMasterId id="2147484771" r:id="rId6"/>
    <p:sldMasterId id="2147484814" r:id="rId7"/>
    <p:sldMasterId id="2147484914" r:id="rId8"/>
  </p:sldMasterIdLst>
  <p:notesMasterIdLst>
    <p:notesMasterId r:id="rId13"/>
  </p:notesMasterIdLst>
  <p:handoutMasterIdLst>
    <p:handoutMasterId r:id="rId14"/>
  </p:handoutMasterIdLst>
  <p:sldIdLst>
    <p:sldId id="2147483616" r:id="rId9"/>
    <p:sldId id="2147483610" r:id="rId10"/>
    <p:sldId id="2147483611" r:id="rId11"/>
    <p:sldId id="2147483614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8" orient="horz" pos="2205" userDrawn="1">
          <p15:clr>
            <a:srgbClr val="A4A3A4"/>
          </p15:clr>
        </p15:guide>
        <p15:guide id="39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FFAB4C3-03AD-AFA5-25D2-092657F778EE}" name="Lisa Porzel" initials="LP" userId="29C+lIA7OfrKtR2LxRr+iVjWw3Xgf00oLJiK2Vr5hR0=" providerId="None"/>
  <p188:author id="{605F07DD-B5AA-63A8-DE94-622D470DFF01}" name="Porzel, Lisa (GfK)" initials="PL(" userId="S::Lisa.Porzel@gfk.com::ad9f5f94-31c3-42b6-b504-cab3c7581b9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Lisa Porzel" initials="LP" lastIdx="10" clrIdx="6">
    <p:extLst>
      <p:ext uri="{19B8F6BF-5375-455C-9EA6-DF929625EA0E}">
        <p15:presenceInfo xmlns:p15="http://schemas.microsoft.com/office/powerpoint/2012/main" userId="29C+lIA7OfrKtR2LxRr+iVjWw3Xgf00oLJiK2Vr5hR0=" providerId="None"/>
      </p:ext>
    </p:extLst>
  </p:cmAuthor>
  <p:cmAuthor id="1" name="sw" initials="sw" lastIdx="4" clrIdx="0">
    <p:extLst>
      <p:ext uri="{19B8F6BF-5375-455C-9EA6-DF929625EA0E}">
        <p15:presenceInfo xmlns:p15="http://schemas.microsoft.com/office/powerpoint/2012/main" userId="sw" providerId="None"/>
      </p:ext>
    </p:extLst>
  </p:cmAuthor>
  <p:cmAuthor id="2" name="Beggiora, Eleonora (GfK)" initials="BE(" lastIdx="99" clrIdx="1">
    <p:extLst>
      <p:ext uri="{19B8F6BF-5375-455C-9EA6-DF929625EA0E}">
        <p15:presenceInfo xmlns:p15="http://schemas.microsoft.com/office/powerpoint/2012/main" userId="S::Eleonora.Beggiora@gfk.com::7cb21c95-c60a-4b84-b767-f9d9a8ee545a" providerId="AD"/>
      </p:ext>
    </p:extLst>
  </p:cmAuthor>
  <p:cmAuthor id="3" name="Christian Kirga" initials="CK" lastIdx="6" clrIdx="2">
    <p:extLst>
      <p:ext uri="{19B8F6BF-5375-455C-9EA6-DF929625EA0E}">
        <p15:presenceInfo xmlns:p15="http://schemas.microsoft.com/office/powerpoint/2012/main" userId="Christian Kirga" providerId="None"/>
      </p:ext>
    </p:extLst>
  </p:cmAuthor>
  <p:cmAuthor id="4" name="Porzel, Lisa (GfK)" initials="PL(" lastIdx="85" clrIdx="3">
    <p:extLst>
      <p:ext uri="{19B8F6BF-5375-455C-9EA6-DF929625EA0E}">
        <p15:presenceInfo xmlns:p15="http://schemas.microsoft.com/office/powerpoint/2012/main" userId="S::Lisa.Porzel@gfk.com::ad9f5f94-31c3-42b6-b504-cab3c7581b95" providerId="AD"/>
      </p:ext>
    </p:extLst>
  </p:cmAuthor>
  <p:cmAuthor id="5" name="Michaela Kapalla" initials="MK" lastIdx="7" clrIdx="4">
    <p:extLst>
      <p:ext uri="{19B8F6BF-5375-455C-9EA6-DF929625EA0E}">
        <p15:presenceInfo xmlns:p15="http://schemas.microsoft.com/office/powerpoint/2012/main" userId="S::michaela.kapalla@k16.de::e52af406-79fd-4186-9efd-f0b365e7fc59" providerId="AD"/>
      </p:ext>
    </p:extLst>
  </p:cmAuthor>
  <p:cmAuthor id="6" name="de-Clerk, Christian (GfK)" initials="d(" lastIdx="1" clrIdx="5">
    <p:extLst>
      <p:ext uri="{19B8F6BF-5375-455C-9EA6-DF929625EA0E}">
        <p15:presenceInfo xmlns:p15="http://schemas.microsoft.com/office/powerpoint/2012/main" userId="S::christian.de-clerk@gfk.com::20e74028-6fe6-4d57-897a-ca3f0129f14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68BD"/>
    <a:srgbClr val="6A757C"/>
    <a:srgbClr val="FF9B2F"/>
    <a:srgbClr val="D2335F"/>
    <a:srgbClr val="54B9B1"/>
    <a:srgbClr val="D6D9DC"/>
    <a:srgbClr val="6A7518"/>
    <a:srgbClr val="6AB118"/>
    <a:srgbClr val="6A4D18"/>
    <a:srgbClr val="7B4D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115FB49-3FBE-41CF-8DFC-A938FE5134F0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115FB49-3FBE-41CF-8DFC-A938FE5134F0}" styleName="GfK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6350" cmpd="sng">
              <a:solidFill>
                <a:schemeClr val="tx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771" autoAdjust="0"/>
    <p:restoredTop sz="95918" autoAdjust="0"/>
  </p:normalViewPr>
  <p:slideViewPr>
    <p:cSldViewPr showGuides="1">
      <p:cViewPr varScale="1">
        <p:scale>
          <a:sx n="55" d="100"/>
          <a:sy n="55" d="100"/>
        </p:scale>
        <p:origin x="1028" y="264"/>
      </p:cViewPr>
      <p:guideLst>
        <p:guide orient="horz" pos="2205"/>
        <p:guide pos="365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 varScale="1">
        <p:scale>
          <a:sx n="79" d="100"/>
          <a:sy n="79" d="100"/>
        </p:scale>
        <p:origin x="3942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2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handoutMaster" Target="handoutMasters/handoutMaster1.xml"/><Relationship Id="rId22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koletta Sperelaki" userId="092965ab-f92d-475a-bcfe-885065c168c4" providerId="ADAL" clId="{25936D12-21EF-4C84-BBF1-4CF586569915}"/>
    <pc:docChg chg="modSld">
      <pc:chgData name="Nikoletta Sperelaki" userId="092965ab-f92d-475a-bcfe-885065c168c4" providerId="ADAL" clId="{25936D12-21EF-4C84-BBF1-4CF586569915}" dt="2026-02-12T10:34:31.041" v="5" actId="20577"/>
      <pc:docMkLst>
        <pc:docMk/>
      </pc:docMkLst>
      <pc:sldChg chg="modSp mod">
        <pc:chgData name="Nikoletta Sperelaki" userId="092965ab-f92d-475a-bcfe-885065c168c4" providerId="ADAL" clId="{25936D12-21EF-4C84-BBF1-4CF586569915}" dt="2026-02-12T10:34:31.041" v="5" actId="20577"/>
        <pc:sldMkLst>
          <pc:docMk/>
          <pc:sldMk cId="600910799" sldId="2147483616"/>
        </pc:sldMkLst>
        <pc:spChg chg="mod">
          <ac:chgData name="Nikoletta Sperelaki" userId="092965ab-f92d-475a-bcfe-885065c168c4" providerId="ADAL" clId="{25936D12-21EF-4C84-BBF1-4CF586569915}" dt="2026-02-12T10:34:31.041" v="5" actId="20577"/>
          <ac:spMkLst>
            <pc:docMk/>
            <pc:sldMk cId="600910799" sldId="2147483616"/>
            <ac:spMk id="8" creationId="{86D33234-728C-143B-023C-5F340EA9C027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44932459673751"/>
          <c:y val="0"/>
          <c:w val="0.78371600790101248"/>
          <c:h val="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ln w="3175"/>
          </c:spPr>
          <c:dPt>
            <c:idx val="0"/>
            <c:bubble3D val="0"/>
            <c:spPr>
              <a:solidFill>
                <a:srgbClr val="060A45">
                  <a:lumMod val="50000"/>
                  <a:lumOff val="50000"/>
                </a:srgbClr>
              </a:solidFill>
              <a:ln w="317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026-4B13-AD73-B8793E174125}"/>
              </c:ext>
            </c:extLst>
          </c:dPt>
          <c:dPt>
            <c:idx val="1"/>
            <c:bubble3D val="0"/>
            <c:spPr>
              <a:solidFill>
                <a:srgbClr val="FFB500"/>
              </a:solidFill>
              <a:ln w="317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026-4B13-AD73-B8793E174125}"/>
              </c:ext>
            </c:extLst>
          </c:dPt>
          <c:dPt>
            <c:idx val="2"/>
            <c:bubble3D val="0"/>
            <c:spPr>
              <a:solidFill>
                <a:srgbClr val="519FBC"/>
              </a:solidFill>
              <a:ln w="317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026-4B13-AD73-B8793E174125}"/>
              </c:ext>
            </c:extLst>
          </c:dPt>
          <c:dPt>
            <c:idx val="3"/>
            <c:bubble3D val="0"/>
            <c:spPr>
              <a:solidFill>
                <a:srgbClr val="C00000"/>
              </a:solidFill>
              <a:ln w="317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026-4B13-AD73-B8793E174125}"/>
              </c:ext>
            </c:extLst>
          </c:dPt>
          <c:dPt>
            <c:idx val="4"/>
            <c:bubble3D val="0"/>
            <c:spPr>
              <a:solidFill>
                <a:srgbClr val="FFFFFF">
                  <a:lumMod val="65000"/>
                </a:srgbClr>
              </a:solidFill>
              <a:ln w="317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026-4B13-AD73-B8793E174125}"/>
              </c:ext>
            </c:extLst>
          </c:dPt>
          <c:dPt>
            <c:idx val="5"/>
            <c:bubble3D val="0"/>
            <c:spPr>
              <a:solidFill>
                <a:srgbClr val="D27A2E"/>
              </a:solidFill>
              <a:ln w="317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026-4B13-AD73-B8793E174125}"/>
              </c:ext>
            </c:extLst>
          </c:dPt>
          <c:dPt>
            <c:idx val="6"/>
            <c:bubble3D val="0"/>
            <c:spPr>
              <a:solidFill>
                <a:srgbClr val="23A9B2"/>
              </a:solidFill>
              <a:ln w="317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026-4B13-AD73-B8793E174125}"/>
              </c:ext>
            </c:extLst>
          </c:dPt>
          <c:dLbls>
            <c:dLbl>
              <c:idx val="0"/>
              <c:layout>
                <c:manualLayout>
                  <c:x val="-2.2987320980786798E-2"/>
                  <c:y val="4.3187810746303894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026-4B13-AD73-B8793E174125}"/>
                </c:ext>
              </c:extLst>
            </c:dLbl>
            <c:dLbl>
              <c:idx val="1"/>
              <c:layout>
                <c:manualLayout>
                  <c:x val="-0.12505482362337933"/>
                  <c:y val="5.937005346365371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026-4B13-AD73-B8793E174125}"/>
                </c:ext>
              </c:extLst>
            </c:dLbl>
            <c:dLbl>
              <c:idx val="2"/>
              <c:layout>
                <c:manualLayout>
                  <c:x val="-0.1184085938403078"/>
                  <c:y val="-2.285458361564282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026-4B13-AD73-B8793E174125}"/>
                </c:ext>
              </c:extLst>
            </c:dLbl>
            <c:dLbl>
              <c:idx val="3"/>
              <c:layout>
                <c:manualLayout>
                  <c:x val="-3.8211909005513037E-2"/>
                  <c:y val="-6.8713306998987561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026-4B13-AD73-B8793E174125}"/>
                </c:ext>
              </c:extLst>
            </c:dLbl>
            <c:dLbl>
              <c:idx val="4"/>
              <c:layout>
                <c:manualLayout>
                  <c:x val="9.9258822169483965E-2"/>
                  <c:y val="-2.180608816388583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026-4B13-AD73-B8793E174125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CE+MFD</c:v>
                </c:pt>
                <c:pt idx="1">
                  <c:v>Major Domestic Appliances</c:v>
                </c:pt>
                <c:pt idx="2">
                  <c:v>Air Conditions</c:v>
                </c:pt>
                <c:pt idx="3">
                  <c:v>Telecom</c:v>
                </c:pt>
                <c:pt idx="4">
                  <c:v>SDA + Pers. Diagn</c:v>
                </c:pt>
                <c:pt idx="5">
                  <c:v>Photo</c:v>
                </c:pt>
                <c:pt idx="6">
                  <c:v>IT/OE</c:v>
                </c:pt>
              </c:strCache>
            </c:strRef>
          </c:cat>
          <c:val>
            <c:numRef>
              <c:f>Sheet1!$B$2:$B$8</c:f>
              <c:numCache>
                <c:formatCode>0.0%</c:formatCode>
                <c:ptCount val="7"/>
                <c:pt idx="0">
                  <c:v>0.10825540575406208</c:v>
                </c:pt>
                <c:pt idx="1">
                  <c:v>0.19544282088769105</c:v>
                </c:pt>
                <c:pt idx="2">
                  <c:v>0.10617920732583168</c:v>
                </c:pt>
                <c:pt idx="3">
                  <c:v>0.31510502330346624</c:v>
                </c:pt>
                <c:pt idx="4">
                  <c:v>0.10781906834305272</c:v>
                </c:pt>
                <c:pt idx="5">
                  <c:v>7.7095937244938285E-3</c:v>
                </c:pt>
                <c:pt idx="6">
                  <c:v>0.159488880661402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7026-4B13-AD73-B8793E1741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4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1574588779074349E-2"/>
          <c:y val="0.19506191898294362"/>
          <c:w val="0.94043568532816424"/>
          <c:h val="0.6609195589681723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ow 2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EF5F1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807-496A-9E4F-469934587787}"/>
              </c:ext>
            </c:extLst>
          </c:dPt>
          <c:dPt>
            <c:idx val="1"/>
            <c:invertIfNegative val="0"/>
            <c:bubble3D val="0"/>
            <c:spPr>
              <a:solidFill>
                <a:srgbClr val="AA213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E807-496A-9E4F-469934587787}"/>
              </c:ext>
            </c:extLst>
          </c:dPt>
          <c:dPt>
            <c:idx val="2"/>
            <c:invertIfNegative val="0"/>
            <c:bubble3D val="0"/>
            <c:spPr>
              <a:solidFill>
                <a:srgbClr val="23A9B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E807-496A-9E4F-469934587787}"/>
              </c:ext>
            </c:extLst>
          </c:dPt>
          <c:dPt>
            <c:idx val="3"/>
            <c:invertIfNegative val="0"/>
            <c:bubble3D val="0"/>
            <c:spPr>
              <a:solidFill>
                <a:srgbClr val="060A45">
                  <a:lumMod val="50000"/>
                  <a:lumOff val="50000"/>
                </a:srgb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E807-496A-9E4F-469934587787}"/>
              </c:ext>
            </c:extLst>
          </c:dPt>
          <c:dPt>
            <c:idx val="4"/>
            <c:invertIfNegative val="0"/>
            <c:bubble3D val="0"/>
            <c:spPr>
              <a:solidFill>
                <a:srgbClr val="FFB5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E807-496A-9E4F-469934587787}"/>
              </c:ext>
            </c:extLst>
          </c:dPt>
          <c:dPt>
            <c:idx val="5"/>
            <c:invertIfNegative val="0"/>
            <c:bubble3D val="0"/>
            <c:spPr>
              <a:solidFill>
                <a:srgbClr val="519FB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E807-496A-9E4F-469934587787}"/>
              </c:ext>
            </c:extLst>
          </c:dPt>
          <c:dPt>
            <c:idx val="6"/>
            <c:invertIfNegative val="0"/>
            <c:bubble3D val="0"/>
            <c:spPr>
              <a:solidFill>
                <a:srgbClr val="FFFFFF">
                  <a:lumMod val="65000"/>
                </a:srgb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C-E807-496A-9E4F-469934587787}"/>
              </c:ext>
            </c:extLst>
          </c:dPt>
          <c:dLbls>
            <c:dLbl>
              <c:idx val="2"/>
              <c:layout>
                <c:manualLayout>
                  <c:x val="-4.0764165110584442E-17"/>
                  <c:y val="1.104550727253153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807-496A-9E4F-46993458778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solidFill>
                      <a:schemeClr val="tx1"/>
                    </a:solidFill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H$1</c:f>
              <c:strCache>
                <c:ptCount val="7"/>
                <c:pt idx="0">
                  <c:v>TCG</c:v>
                </c:pt>
                <c:pt idx="1">
                  <c:v>Telecom</c:v>
                </c:pt>
                <c:pt idx="2">
                  <c:v>IT &amp; Office</c:v>
                </c:pt>
                <c:pt idx="3">
                  <c:v>CE &amp; Photo</c:v>
                </c:pt>
                <c:pt idx="4">
                  <c:v>Major Domestic Appliances</c:v>
                </c:pt>
                <c:pt idx="5">
                  <c:v>Air Conditions</c:v>
                </c:pt>
                <c:pt idx="6">
                  <c:v>Small Domestic
Appliances</c:v>
                </c:pt>
              </c:strCache>
            </c:strRef>
          </c:cat>
          <c:val>
            <c:numRef>
              <c:f>Sheet1!$B$2:$H$2</c:f>
              <c:numCache>
                <c:formatCode>0.0%</c:formatCode>
                <c:ptCount val="7"/>
                <c:pt idx="0" formatCode="0%">
                  <c:v>-2.9607422945319484E-2</c:v>
                </c:pt>
                <c:pt idx="1">
                  <c:v>-1.2390396055373953E-3</c:v>
                </c:pt>
                <c:pt idx="2" formatCode="0%">
                  <c:v>0.14191140741887831</c:v>
                </c:pt>
                <c:pt idx="3" formatCode="0%">
                  <c:v>-0.10014649257802433</c:v>
                </c:pt>
                <c:pt idx="4" formatCode="0%">
                  <c:v>-4.5185028942166361E-2</c:v>
                </c:pt>
                <c:pt idx="5" formatCode="0%">
                  <c:v>-0.14335892131603512</c:v>
                </c:pt>
                <c:pt idx="6" formatCode="0%">
                  <c:v>-8.50025770003784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E807-496A-9E4F-46993458778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Row 19</c:v>
                </c:pt>
              </c:strCache>
            </c:strRef>
          </c:tx>
          <c:spPr>
            <a:pattFill prst="solidDmnd">
              <a:fgClr>
                <a:schemeClr val="tx1"/>
              </a:fgClr>
              <a:bgClr>
                <a:schemeClr val="bg1"/>
              </a:bgClr>
            </a:patt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pattFill prst="solidDmnd">
                <a:fgClr>
                  <a:srgbClr val="EF5F17"/>
                </a:fgClr>
                <a:bgClr>
                  <a:srgbClr val="FFFFFF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B-E807-496A-9E4F-469934587787}"/>
              </c:ext>
            </c:extLst>
          </c:dPt>
          <c:dPt>
            <c:idx val="1"/>
            <c:invertIfNegative val="0"/>
            <c:bubble3D val="0"/>
            <c:spPr>
              <a:pattFill prst="solidDmnd">
                <a:fgClr>
                  <a:srgbClr val="AA213F"/>
                </a:fgClr>
                <a:bgClr>
                  <a:srgbClr val="FFFFFF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F-E807-496A-9E4F-469934587787}"/>
              </c:ext>
            </c:extLst>
          </c:dPt>
          <c:dPt>
            <c:idx val="2"/>
            <c:invertIfNegative val="0"/>
            <c:bubble3D val="0"/>
            <c:spPr>
              <a:pattFill prst="solidDmnd">
                <a:fgClr>
                  <a:srgbClr val="23A9B2"/>
                </a:fgClr>
                <a:bgClr>
                  <a:srgbClr val="FFFFFF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1-E807-496A-9E4F-469934587787}"/>
              </c:ext>
            </c:extLst>
          </c:dPt>
          <c:dPt>
            <c:idx val="3"/>
            <c:invertIfNegative val="0"/>
            <c:bubble3D val="0"/>
            <c:spPr>
              <a:pattFill prst="solidDmnd">
                <a:fgClr>
                  <a:srgbClr val="060A45">
                    <a:lumMod val="50000"/>
                    <a:lumOff val="50000"/>
                  </a:srgbClr>
                </a:fgClr>
                <a:bgClr>
                  <a:srgbClr val="FFFFFF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3-E807-496A-9E4F-469934587787}"/>
              </c:ext>
            </c:extLst>
          </c:dPt>
          <c:dPt>
            <c:idx val="4"/>
            <c:invertIfNegative val="0"/>
            <c:bubble3D val="0"/>
            <c:spPr>
              <a:pattFill prst="solidDmnd">
                <a:fgClr>
                  <a:srgbClr val="FFB500"/>
                </a:fgClr>
                <a:bgClr>
                  <a:srgbClr val="FFFFFF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5-E807-496A-9E4F-469934587787}"/>
              </c:ext>
            </c:extLst>
          </c:dPt>
          <c:dPt>
            <c:idx val="5"/>
            <c:invertIfNegative val="0"/>
            <c:bubble3D val="0"/>
            <c:spPr>
              <a:pattFill prst="solidDmnd">
                <a:fgClr>
                  <a:srgbClr val="519FBC"/>
                </a:fgClr>
                <a:bgClr>
                  <a:schemeClr val="bg1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7-E807-496A-9E4F-469934587787}"/>
              </c:ext>
            </c:extLst>
          </c:dPt>
          <c:dPt>
            <c:idx val="6"/>
            <c:invertIfNegative val="0"/>
            <c:bubble3D val="0"/>
            <c:spPr>
              <a:pattFill prst="solidDmnd">
                <a:fgClr>
                  <a:srgbClr val="FFFFFF">
                    <a:lumMod val="65000"/>
                  </a:srgbClr>
                </a:fgClr>
                <a:bgClr>
                  <a:srgbClr val="FFFFFF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9-E807-496A-9E4F-46993458778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H$1</c:f>
              <c:strCache>
                <c:ptCount val="7"/>
                <c:pt idx="0">
                  <c:v>TCG</c:v>
                </c:pt>
                <c:pt idx="1">
                  <c:v>Telecom</c:v>
                </c:pt>
                <c:pt idx="2">
                  <c:v>IT &amp; Office</c:v>
                </c:pt>
                <c:pt idx="3">
                  <c:v>CE &amp; Photo</c:v>
                </c:pt>
                <c:pt idx="4">
                  <c:v>Major Domestic Appliances</c:v>
                </c:pt>
                <c:pt idx="5">
                  <c:v>Air Conditions</c:v>
                </c:pt>
                <c:pt idx="6">
                  <c:v>Small Domestic
Appliances</c:v>
                </c:pt>
              </c:strCache>
            </c:strRef>
          </c:cat>
          <c:val>
            <c:numRef>
              <c:f>Sheet1!$B$3:$H$3</c:f>
              <c:numCache>
                <c:formatCode>0%</c:formatCode>
                <c:ptCount val="7"/>
                <c:pt idx="0">
                  <c:v>0.39184513129663712</c:v>
                </c:pt>
                <c:pt idx="1">
                  <c:v>0.65764445248135361</c:v>
                </c:pt>
                <c:pt idx="2">
                  <c:v>0.42648683998535675</c:v>
                </c:pt>
                <c:pt idx="3">
                  <c:v>4.8574242673830703E-2</c:v>
                </c:pt>
                <c:pt idx="4">
                  <c:v>0.23317879189986335</c:v>
                </c:pt>
                <c:pt idx="5">
                  <c:v>0.61969782805609097</c:v>
                </c:pt>
                <c:pt idx="6">
                  <c:v>0.315856086091615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E807-496A-9E4F-4699345877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10"/>
        <c:axId val="249479168"/>
        <c:axId val="249481088"/>
      </c:barChart>
      <c:catAx>
        <c:axId val="2494791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1100">
                <a:noFill/>
              </a:defRPr>
            </a:pPr>
            <a:endParaRPr lang="en-US"/>
          </a:p>
        </c:txPr>
        <c:crossAx val="249481088"/>
        <c:crosses val="autoZero"/>
        <c:auto val="1"/>
        <c:lblAlgn val="ctr"/>
        <c:lblOffset val="500"/>
        <c:noMultiLvlLbl val="0"/>
      </c:catAx>
      <c:valAx>
        <c:axId val="249481088"/>
        <c:scaling>
          <c:orientation val="minMax"/>
          <c:min val="-0.8"/>
        </c:scaling>
        <c:delete val="1"/>
        <c:axPos val="l"/>
        <c:numFmt formatCode="0%" sourceLinked="1"/>
        <c:majorTickMark val="out"/>
        <c:minorTickMark val="none"/>
        <c:tickLblPos val="nextTo"/>
        <c:crossAx val="249479168"/>
        <c:crosses val="autoZero"/>
        <c:crossBetween val="between"/>
        <c:majorUnit val="0.2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7139267987359181E-2"/>
          <c:y val="0.13431162898401988"/>
          <c:w val="0.94043568532816424"/>
          <c:h val="0.6609195589681723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ow 2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EF5F1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807-496A-9E4F-469934587787}"/>
              </c:ext>
            </c:extLst>
          </c:dPt>
          <c:dPt>
            <c:idx val="1"/>
            <c:invertIfNegative val="0"/>
            <c:bubble3D val="0"/>
            <c:spPr>
              <a:solidFill>
                <a:srgbClr val="AA213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E807-496A-9E4F-469934587787}"/>
              </c:ext>
            </c:extLst>
          </c:dPt>
          <c:dPt>
            <c:idx val="2"/>
            <c:invertIfNegative val="0"/>
            <c:bubble3D val="0"/>
            <c:spPr>
              <a:solidFill>
                <a:srgbClr val="23A9B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E807-496A-9E4F-469934587787}"/>
              </c:ext>
            </c:extLst>
          </c:dPt>
          <c:dPt>
            <c:idx val="3"/>
            <c:invertIfNegative val="0"/>
            <c:bubble3D val="0"/>
            <c:spPr>
              <a:solidFill>
                <a:srgbClr val="060A45">
                  <a:lumMod val="50000"/>
                  <a:lumOff val="50000"/>
                </a:srgb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E807-496A-9E4F-469934587787}"/>
              </c:ext>
            </c:extLst>
          </c:dPt>
          <c:dPt>
            <c:idx val="4"/>
            <c:invertIfNegative val="0"/>
            <c:bubble3D val="0"/>
            <c:spPr>
              <a:solidFill>
                <a:srgbClr val="FFB5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E807-496A-9E4F-469934587787}"/>
              </c:ext>
            </c:extLst>
          </c:dPt>
          <c:dPt>
            <c:idx val="5"/>
            <c:invertIfNegative val="0"/>
            <c:bubble3D val="0"/>
            <c:spPr>
              <a:solidFill>
                <a:srgbClr val="519FB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E807-496A-9E4F-469934587787}"/>
              </c:ext>
            </c:extLst>
          </c:dPt>
          <c:dPt>
            <c:idx val="6"/>
            <c:invertIfNegative val="0"/>
            <c:bubble3D val="0"/>
            <c:spPr>
              <a:solidFill>
                <a:srgbClr val="FFFFFF">
                  <a:lumMod val="65000"/>
                </a:srgb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C-E807-496A-9E4F-469934587787}"/>
              </c:ext>
            </c:extLst>
          </c:dPt>
          <c:dLbls>
            <c:dLbl>
              <c:idx val="2"/>
              <c:layout>
                <c:manualLayout>
                  <c:x val="-4.0764165110584442E-17"/>
                  <c:y val="1.104550727253153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807-496A-9E4F-46993458778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solidFill>
                      <a:schemeClr val="tx1"/>
                    </a:solidFill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H$1</c:f>
              <c:strCache>
                <c:ptCount val="7"/>
                <c:pt idx="0">
                  <c:v>TCG</c:v>
                </c:pt>
                <c:pt idx="1">
                  <c:v>Telecom</c:v>
                </c:pt>
                <c:pt idx="2">
                  <c:v>IT &amp; Office</c:v>
                </c:pt>
                <c:pt idx="3">
                  <c:v>CE &amp; Photo</c:v>
                </c:pt>
                <c:pt idx="4">
                  <c:v>Major Domestic Appliances</c:v>
                </c:pt>
                <c:pt idx="5">
                  <c:v>Air Conditions</c:v>
                </c:pt>
                <c:pt idx="6">
                  <c:v>Small Domestic
Appliances</c:v>
                </c:pt>
              </c:strCache>
            </c:strRef>
          </c:cat>
          <c:val>
            <c:numRef>
              <c:f>Sheet1!$B$2:$H$2</c:f>
              <c:numCache>
                <c:formatCode>0.0%</c:formatCode>
                <c:ptCount val="7"/>
                <c:pt idx="0" formatCode="0%">
                  <c:v>-2.9607422945319484E-2</c:v>
                </c:pt>
                <c:pt idx="1">
                  <c:v>-1.2390396055373953E-3</c:v>
                </c:pt>
                <c:pt idx="2" formatCode="0%">
                  <c:v>0.14191140741887831</c:v>
                </c:pt>
                <c:pt idx="3" formatCode="0%">
                  <c:v>-0.10014649257802433</c:v>
                </c:pt>
                <c:pt idx="4" formatCode="0%">
                  <c:v>-4.5185028942166361E-2</c:v>
                </c:pt>
                <c:pt idx="5" formatCode="0%">
                  <c:v>-0.14335892131603512</c:v>
                </c:pt>
                <c:pt idx="6" formatCode="0%">
                  <c:v>-8.50025770003784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E807-496A-9E4F-46993458778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Row 19</c:v>
                </c:pt>
              </c:strCache>
            </c:strRef>
          </c:tx>
          <c:spPr>
            <a:pattFill prst="solidDmnd">
              <a:fgClr>
                <a:schemeClr val="tx1"/>
              </a:fgClr>
              <a:bgClr>
                <a:schemeClr val="bg1"/>
              </a:bgClr>
            </a:patt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pattFill prst="solidDmnd">
                <a:fgClr>
                  <a:srgbClr val="EF5F17"/>
                </a:fgClr>
                <a:bgClr>
                  <a:srgbClr val="FFFFFF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B-E807-496A-9E4F-469934587787}"/>
              </c:ext>
            </c:extLst>
          </c:dPt>
          <c:dPt>
            <c:idx val="1"/>
            <c:invertIfNegative val="0"/>
            <c:bubble3D val="0"/>
            <c:spPr>
              <a:pattFill prst="solidDmnd">
                <a:fgClr>
                  <a:srgbClr val="AA213F"/>
                </a:fgClr>
                <a:bgClr>
                  <a:srgbClr val="FFFFFF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F-E807-496A-9E4F-469934587787}"/>
              </c:ext>
            </c:extLst>
          </c:dPt>
          <c:dPt>
            <c:idx val="2"/>
            <c:invertIfNegative val="0"/>
            <c:bubble3D val="0"/>
            <c:spPr>
              <a:pattFill prst="solidDmnd">
                <a:fgClr>
                  <a:srgbClr val="23A9B2"/>
                </a:fgClr>
                <a:bgClr>
                  <a:srgbClr val="FFFFFF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1-E807-496A-9E4F-469934587787}"/>
              </c:ext>
            </c:extLst>
          </c:dPt>
          <c:dPt>
            <c:idx val="3"/>
            <c:invertIfNegative val="0"/>
            <c:bubble3D val="0"/>
            <c:spPr>
              <a:pattFill prst="solidDmnd">
                <a:fgClr>
                  <a:srgbClr val="060A45">
                    <a:lumMod val="50000"/>
                    <a:lumOff val="50000"/>
                  </a:srgbClr>
                </a:fgClr>
                <a:bgClr>
                  <a:srgbClr val="FFFFFF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3-E807-496A-9E4F-469934587787}"/>
              </c:ext>
            </c:extLst>
          </c:dPt>
          <c:dPt>
            <c:idx val="4"/>
            <c:invertIfNegative val="0"/>
            <c:bubble3D val="0"/>
            <c:spPr>
              <a:pattFill prst="solidDmnd">
                <a:fgClr>
                  <a:srgbClr val="FFB500"/>
                </a:fgClr>
                <a:bgClr>
                  <a:srgbClr val="FFFFFF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5-E807-496A-9E4F-469934587787}"/>
              </c:ext>
            </c:extLst>
          </c:dPt>
          <c:dPt>
            <c:idx val="5"/>
            <c:invertIfNegative val="0"/>
            <c:bubble3D val="0"/>
            <c:spPr>
              <a:pattFill prst="solidDmnd">
                <a:fgClr>
                  <a:srgbClr val="519FBC"/>
                </a:fgClr>
                <a:bgClr>
                  <a:schemeClr val="bg1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7-E807-496A-9E4F-469934587787}"/>
              </c:ext>
            </c:extLst>
          </c:dPt>
          <c:dPt>
            <c:idx val="6"/>
            <c:invertIfNegative val="0"/>
            <c:bubble3D val="0"/>
            <c:spPr>
              <a:pattFill prst="solidDmnd">
                <a:fgClr>
                  <a:srgbClr val="FFFFFF">
                    <a:lumMod val="65000"/>
                  </a:srgbClr>
                </a:fgClr>
                <a:bgClr>
                  <a:srgbClr val="FFFFFF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9-E807-496A-9E4F-46993458778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H$1</c:f>
              <c:strCache>
                <c:ptCount val="7"/>
                <c:pt idx="0">
                  <c:v>TCG</c:v>
                </c:pt>
                <c:pt idx="1">
                  <c:v>Telecom</c:v>
                </c:pt>
                <c:pt idx="2">
                  <c:v>IT &amp; Office</c:v>
                </c:pt>
                <c:pt idx="3">
                  <c:v>CE &amp; Photo</c:v>
                </c:pt>
                <c:pt idx="4">
                  <c:v>Major Domestic Appliances</c:v>
                </c:pt>
                <c:pt idx="5">
                  <c:v>Air Conditions</c:v>
                </c:pt>
                <c:pt idx="6">
                  <c:v>Small Domestic
Appliances</c:v>
                </c:pt>
              </c:strCache>
            </c:strRef>
          </c:cat>
          <c:val>
            <c:numRef>
              <c:f>Sheet1!$B$3:$H$3</c:f>
              <c:numCache>
                <c:formatCode>0%</c:formatCode>
                <c:ptCount val="7"/>
                <c:pt idx="0">
                  <c:v>-1.417609374431128E-2</c:v>
                </c:pt>
                <c:pt idx="1">
                  <c:v>-5.0410511660307633E-2</c:v>
                </c:pt>
                <c:pt idx="2">
                  <c:v>0.12680046278754942</c:v>
                </c:pt>
                <c:pt idx="3">
                  <c:v>1.755421241357058E-2</c:v>
                </c:pt>
                <c:pt idx="4">
                  <c:v>3.6346911446145658E-3</c:v>
                </c:pt>
                <c:pt idx="5">
                  <c:v>-5.7755235960437079E-2</c:v>
                </c:pt>
                <c:pt idx="6">
                  <c:v>-7.543806750055082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E807-496A-9E4F-4699345877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10"/>
        <c:axId val="249479168"/>
        <c:axId val="249481088"/>
      </c:barChart>
      <c:catAx>
        <c:axId val="2494791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1100">
                <a:noFill/>
              </a:defRPr>
            </a:pPr>
            <a:endParaRPr lang="en-US"/>
          </a:p>
        </c:txPr>
        <c:crossAx val="249481088"/>
        <c:crosses val="autoZero"/>
        <c:auto val="1"/>
        <c:lblAlgn val="ctr"/>
        <c:lblOffset val="500"/>
        <c:noMultiLvlLbl val="0"/>
      </c:catAx>
      <c:valAx>
        <c:axId val="249481088"/>
        <c:scaling>
          <c:orientation val="minMax"/>
          <c:max val="0.4"/>
          <c:min val="-0.4"/>
        </c:scaling>
        <c:delete val="1"/>
        <c:axPos val="l"/>
        <c:numFmt formatCode="0%" sourceLinked="1"/>
        <c:majorTickMark val="out"/>
        <c:minorTickMark val="none"/>
        <c:tickLblPos val="nextTo"/>
        <c:crossAx val="249479168"/>
        <c:crosses val="autoZero"/>
        <c:crossBetween val="between"/>
        <c:majorUnit val="0.2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76673" y="8460456"/>
            <a:ext cx="864096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pPr algn="l"/>
            <a:fld id="{F0A3B1F8-6D62-4D30-9D58-5CC5D51CE00D}" type="datetimeFigureOut">
              <a:rPr lang="en-US" sz="800" smtClean="0"/>
              <a:pPr algn="l"/>
              <a:t>2/12/2026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484784" y="8460456"/>
            <a:ext cx="4248472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834235" y="8460456"/>
            <a:ext cx="547093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28FA928F-0A46-4B66-9905-FB1D800EB32E}" type="slidenum">
              <a:rPr lang="en-US" sz="800" smtClean="0"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6231216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92697" y="8460456"/>
            <a:ext cx="720079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algn="l"/>
            <a:fld id="{8045A0D1-07B4-46FF-9F04-18BB5AAA8479}" type="datetimeFigureOut">
              <a:rPr lang="en-US" smtClean="0"/>
              <a:pPr algn="l"/>
              <a:t>2/12/202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612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068000"/>
            <a:ext cx="5486400" cy="41764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628800" y="8460456"/>
            <a:ext cx="4032448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733256" y="8460456"/>
            <a:ext cx="475085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7A99B2F4-8F99-4FDD-A50D-433216698E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8501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80000" indent="-180000" algn="l" defTabSz="914400" rtl="0" eaLnBrk="1" latinLnBrk="0" hangingPunct="1">
      <a:lnSpc>
        <a:spcPct val="100000"/>
      </a:lnSpc>
      <a:spcBef>
        <a:spcPts val="1000"/>
      </a:spcBef>
      <a:buClrTx/>
      <a:buSzPct val="80000"/>
      <a:buFont typeface="Wingdings" panose="05000000000000000000" pitchFamily="2" charset="2"/>
      <a:buChar char="n"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354013" indent="-171450" algn="l" defTabSz="914400" rtl="0" eaLnBrk="1" latinLnBrk="0" hangingPunct="1">
      <a:lnSpc>
        <a:spcPct val="100000"/>
      </a:lnSpc>
      <a:spcBef>
        <a:spcPts val="1000"/>
      </a:spcBef>
      <a:buClrTx/>
      <a:buSzPct val="80000"/>
      <a:buFont typeface="Wingdings" panose="05000000000000000000" pitchFamily="2" charset="2"/>
      <a:buChar char="o"/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536575" indent="-182563" algn="l" defTabSz="914400" rtl="0" eaLnBrk="1" latinLnBrk="0" hangingPunct="1">
      <a:lnSpc>
        <a:spcPct val="100000"/>
      </a:lnSpc>
      <a:spcBef>
        <a:spcPts val="1000"/>
      </a:spcBef>
      <a:buClrTx/>
      <a:buSzPct val="80000"/>
      <a:buFont typeface="Wingdings" panose="05000000000000000000" pitchFamily="2" charset="2"/>
      <a:buChar char="n"/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719138" indent="-182563" algn="l" defTabSz="914400" rtl="0" eaLnBrk="1" latinLnBrk="0" hangingPunct="1">
      <a:lnSpc>
        <a:spcPct val="100000"/>
      </a:lnSpc>
      <a:spcBef>
        <a:spcPts val="1000"/>
      </a:spcBef>
      <a:buClrTx/>
      <a:buSzPct val="80000"/>
      <a:buFont typeface="Wingdings" panose="05000000000000000000" pitchFamily="2" charset="2"/>
      <a:buChar char="o"/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719138" indent="0" algn="l" defTabSz="987425" rtl="0" eaLnBrk="1" latinLnBrk="0" hangingPunct="1">
      <a:lnSpc>
        <a:spcPct val="100000"/>
      </a:lnSpc>
      <a:spcBef>
        <a:spcPts val="1000"/>
      </a:spcBef>
      <a:buClr>
        <a:schemeClr val="tx2"/>
      </a:buClr>
      <a:buFont typeface="Wingdings" panose="05000000000000000000" pitchFamily="2" charset="2"/>
      <a:buNone/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719138" indent="0" algn="l" defTabSz="987425" rtl="0" eaLnBrk="1" latinLnBrk="0" hangingPunct="1">
      <a:lnSpc>
        <a:spcPct val="100000"/>
      </a:lnSpc>
      <a:spcBef>
        <a:spcPts val="1000"/>
      </a:spcBef>
      <a:buFont typeface="Arial" panose="020B0604020202020204" pitchFamily="34" charset="0"/>
      <a:buNone/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719138" indent="0" algn="l" defTabSz="987425" rtl="0" eaLnBrk="1" latinLnBrk="0" hangingPunct="1">
      <a:lnSpc>
        <a:spcPct val="100000"/>
      </a:lnSpc>
      <a:spcBef>
        <a:spcPts val="1000"/>
      </a:spcBef>
      <a:buFont typeface="Arial" panose="020B0604020202020204" pitchFamily="34" charset="0"/>
      <a:buNone/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719138" indent="0" algn="l" defTabSz="987425" rtl="0" eaLnBrk="1" latinLnBrk="0" hangingPunct="1">
      <a:lnSpc>
        <a:spcPct val="100000"/>
      </a:lnSpc>
      <a:spcBef>
        <a:spcPts val="1000"/>
      </a:spcBef>
      <a:buFont typeface="Arial" panose="020B0604020202020204" pitchFamily="34" charset="0"/>
      <a:buNone/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719138" indent="0" algn="l" defTabSz="987425" rtl="0" eaLnBrk="1" latinLnBrk="0" hangingPunct="1">
      <a:lnSpc>
        <a:spcPct val="100000"/>
      </a:lnSpc>
      <a:spcBef>
        <a:spcPts val="1000"/>
      </a:spcBef>
      <a:buFont typeface="Arial" panose="020B0604020202020204" pitchFamily="34" charset="0"/>
      <a:buNone/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5" Type="http://schemas.openxmlformats.org/officeDocument/2006/relationships/image" Target="../media/image13.png"/><Relationship Id="rId4" Type="http://schemas.openxmlformats.org/officeDocument/2006/relationships/image" Target="../media/image10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5" Type="http://schemas.openxmlformats.org/officeDocument/2006/relationships/image" Target="../media/image7.png"/><Relationship Id="rId4" Type="http://schemas.openxmlformats.org/officeDocument/2006/relationships/image" Target="../media/image10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5" Type="http://schemas.openxmlformats.org/officeDocument/2006/relationships/image" Target="../media/image8.png"/><Relationship Id="rId4" Type="http://schemas.openxmlformats.org/officeDocument/2006/relationships/image" Target="../media/image10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5" Type="http://schemas.openxmlformats.org/officeDocument/2006/relationships/image" Target="../media/image8.png"/><Relationship Id="rId4" Type="http://schemas.openxmlformats.org/officeDocument/2006/relationships/image" Target="../media/image10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5" Type="http://schemas.openxmlformats.org/officeDocument/2006/relationships/image" Target="../media/image8.png"/><Relationship Id="rId4" Type="http://schemas.openxmlformats.org/officeDocument/2006/relationships/image" Target="../media/image10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5" Type="http://schemas.openxmlformats.org/officeDocument/2006/relationships/image" Target="../media/image9.jpeg"/><Relationship Id="rId4" Type="http://schemas.openxmlformats.org/officeDocument/2006/relationships/image" Target="../media/image10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4" Type="http://schemas.openxmlformats.org/officeDocument/2006/relationships/image" Target="../media/image10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4" Type="http://schemas.openxmlformats.org/officeDocument/2006/relationships/image" Target="../media/image10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4" Type="http://schemas.openxmlformats.org/officeDocument/2006/relationships/image" Target="../media/image10.emf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5" Type="http://schemas.openxmlformats.org/officeDocument/2006/relationships/image" Target="../media/image11.emf"/><Relationship Id="rId4" Type="http://schemas.openxmlformats.org/officeDocument/2006/relationships/image" Target="../media/image10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5" Type="http://schemas.openxmlformats.org/officeDocument/2006/relationships/image" Target="../media/image11.emf"/><Relationship Id="rId4" Type="http://schemas.openxmlformats.org/officeDocument/2006/relationships/image" Target="../media/image10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Relationship Id="rId5" Type="http://schemas.openxmlformats.org/officeDocument/2006/relationships/image" Target="../media/image11.emf"/><Relationship Id="rId4" Type="http://schemas.openxmlformats.org/officeDocument/2006/relationships/image" Target="../media/image10.emf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5" Type="http://schemas.openxmlformats.org/officeDocument/2006/relationships/image" Target="../media/image11.emf"/><Relationship Id="rId4" Type="http://schemas.openxmlformats.org/officeDocument/2006/relationships/image" Target="../media/image10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Relationship Id="rId5" Type="http://schemas.openxmlformats.org/officeDocument/2006/relationships/image" Target="../media/image12.emf"/><Relationship Id="rId4" Type="http://schemas.openxmlformats.org/officeDocument/2006/relationships/image" Target="../media/image10.emf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3.pn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6.png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3.pn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7.pn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8.pn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7.pn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0.png"/><Relationship Id="rId4" Type="http://schemas.openxmlformats.org/officeDocument/2006/relationships/image" Target="../media/image25.sv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0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4.svg"/><Relationship Id="rId4" Type="http://schemas.openxmlformats.org/officeDocument/2006/relationships/image" Target="../media/image33.pn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1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4.svg"/><Relationship Id="rId4" Type="http://schemas.openxmlformats.org/officeDocument/2006/relationships/image" Target="../media/image33.pn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1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1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9.svg"/><Relationship Id="rId4" Type="http://schemas.openxmlformats.org/officeDocument/2006/relationships/image" Target="../media/image38.png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7.png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7.png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1.png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2.png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1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3.png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4.png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3.png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6.png"/><Relationship Id="rId4" Type="http://schemas.openxmlformats.org/officeDocument/2006/relationships/image" Target="../media/image25.svg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6.png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40.png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31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4.svg"/><Relationship Id="rId4" Type="http://schemas.openxmlformats.org/officeDocument/2006/relationships/image" Target="../media/image33.png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1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40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31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4.svg"/><Relationship Id="rId4" Type="http://schemas.openxmlformats.org/officeDocument/2006/relationships/image" Target="../media/image33.png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1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3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3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3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1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9.svg"/><Relationship Id="rId4" Type="http://schemas.openxmlformats.org/officeDocument/2006/relationships/image" Target="../media/image38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3.png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3.png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7.xml"/><Relationship Id="rId4" Type="http://schemas.openxmlformats.org/officeDocument/2006/relationships/image" Target="../media/image10.emf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7" Type="http://schemas.openxmlformats.org/officeDocument/2006/relationships/image" Target="../media/image5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9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53.emf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7" Type="http://schemas.openxmlformats.org/officeDocument/2006/relationships/image" Target="../media/image2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0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53.emf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7" Type="http://schemas.openxmlformats.org/officeDocument/2006/relationships/image" Target="../media/image5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1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53.emf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7" Type="http://schemas.openxmlformats.org/officeDocument/2006/relationships/image" Target="../media/image55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2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53.emf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7" Type="http://schemas.openxmlformats.org/officeDocument/2006/relationships/image" Target="../media/image5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3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53.emf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7" Type="http://schemas.openxmlformats.org/officeDocument/2006/relationships/image" Target="../media/image55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4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5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oleObject" Target="../embeddings/oleObject60.bin"/><Relationship Id="rId7" Type="http://schemas.openxmlformats.org/officeDocument/2006/relationships/image" Target="../media/image25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5.xml"/><Relationship Id="rId6" Type="http://schemas.openxmlformats.org/officeDocument/2006/relationships/image" Target="../media/image24.png"/><Relationship Id="rId5" Type="http://schemas.openxmlformats.org/officeDocument/2006/relationships/image" Target="../media/image29.png"/><Relationship Id="rId4" Type="http://schemas.openxmlformats.org/officeDocument/2006/relationships/image" Target="../media/image53.emf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7" Type="http://schemas.openxmlformats.org/officeDocument/2006/relationships/image" Target="../media/image5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6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53.emf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7.xml"/><Relationship Id="rId4" Type="http://schemas.openxmlformats.org/officeDocument/2006/relationships/image" Target="../media/image53.emf"/></Relationships>
</file>

<file path=ppt/slideLayouts/_rels/slideLayout2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oleObject" Target="../embeddings/oleObject63.bin"/><Relationship Id="rId7" Type="http://schemas.openxmlformats.org/officeDocument/2006/relationships/image" Target="../media/image5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53.emf"/><Relationship Id="rId9" Type="http://schemas.openxmlformats.org/officeDocument/2006/relationships/image" Target="../media/image20.svg"/></Relationships>
</file>

<file path=ppt/slideLayouts/_rels/slideLayout2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oleObject" Target="../embeddings/oleObject64.bin"/><Relationship Id="rId7" Type="http://schemas.openxmlformats.org/officeDocument/2006/relationships/image" Target="../media/image3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.xml"/><Relationship Id="rId6" Type="http://schemas.openxmlformats.org/officeDocument/2006/relationships/image" Target="../media/image58.png"/><Relationship Id="rId5" Type="http://schemas.openxmlformats.org/officeDocument/2006/relationships/image" Target="../media/image31.emf"/><Relationship Id="rId4" Type="http://schemas.openxmlformats.org/officeDocument/2006/relationships/image" Target="../media/image53.emf"/></Relationships>
</file>

<file path=ppt/slideLayouts/_rels/slideLayout2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oleObject" Target="../embeddings/oleObject65.bin"/><Relationship Id="rId7" Type="http://schemas.openxmlformats.org/officeDocument/2006/relationships/image" Target="../media/image19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.xml"/><Relationship Id="rId6" Type="http://schemas.openxmlformats.org/officeDocument/2006/relationships/image" Target="../media/image52.png"/><Relationship Id="rId5" Type="http://schemas.openxmlformats.org/officeDocument/2006/relationships/image" Target="../media/image31.emf"/><Relationship Id="rId4" Type="http://schemas.openxmlformats.org/officeDocument/2006/relationships/image" Target="../media/image53.emf"/></Relationships>
</file>

<file path=ppt/slideLayouts/_rels/slideLayout2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oleObject" Target="../embeddings/oleObject66.bin"/><Relationship Id="rId7" Type="http://schemas.openxmlformats.org/officeDocument/2006/relationships/image" Target="../media/image5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1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53.emf"/><Relationship Id="rId9" Type="http://schemas.openxmlformats.org/officeDocument/2006/relationships/image" Target="../media/image20.svg"/></Relationships>
</file>

<file path=ppt/slideLayouts/_rels/slideLayout2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oleObject" Target="../embeddings/oleObject67.bin"/><Relationship Id="rId7" Type="http://schemas.openxmlformats.org/officeDocument/2006/relationships/image" Target="../media/image3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.xml"/><Relationship Id="rId6" Type="http://schemas.openxmlformats.org/officeDocument/2006/relationships/image" Target="../media/image58.png"/><Relationship Id="rId5" Type="http://schemas.openxmlformats.org/officeDocument/2006/relationships/image" Target="../media/image31.emf"/><Relationship Id="rId4" Type="http://schemas.openxmlformats.org/officeDocument/2006/relationships/image" Target="../media/image53.emf"/></Relationships>
</file>

<file path=ppt/slideLayouts/_rels/slideLayout2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oleObject" Target="../embeddings/oleObject68.bin"/><Relationship Id="rId7" Type="http://schemas.openxmlformats.org/officeDocument/2006/relationships/image" Target="../media/image19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3.xml"/><Relationship Id="rId6" Type="http://schemas.openxmlformats.org/officeDocument/2006/relationships/image" Target="../media/image52.png"/><Relationship Id="rId5" Type="http://schemas.openxmlformats.org/officeDocument/2006/relationships/image" Target="../media/image31.emf"/><Relationship Id="rId4" Type="http://schemas.openxmlformats.org/officeDocument/2006/relationships/image" Target="../media/image53.emf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4.xml"/><Relationship Id="rId4" Type="http://schemas.openxmlformats.org/officeDocument/2006/relationships/image" Target="../media/image53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5.xml"/><Relationship Id="rId4" Type="http://schemas.openxmlformats.org/officeDocument/2006/relationships/image" Target="../media/image53.emf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6.xml"/><Relationship Id="rId4" Type="http://schemas.openxmlformats.org/officeDocument/2006/relationships/image" Target="../media/image53.emf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7.xml"/><Relationship Id="rId4" Type="http://schemas.openxmlformats.org/officeDocument/2006/relationships/image" Target="../media/image53.emf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8.xml"/><Relationship Id="rId4" Type="http://schemas.openxmlformats.org/officeDocument/2006/relationships/image" Target="../media/image53.emf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.xml"/><Relationship Id="rId4" Type="http://schemas.openxmlformats.org/officeDocument/2006/relationships/image" Target="../media/image53.emf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.xml"/><Relationship Id="rId4" Type="http://schemas.openxmlformats.org/officeDocument/2006/relationships/image" Target="../media/image53.emf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1.xml"/><Relationship Id="rId4" Type="http://schemas.openxmlformats.org/officeDocument/2006/relationships/image" Target="../media/image53.emf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2.xml"/><Relationship Id="rId4" Type="http://schemas.openxmlformats.org/officeDocument/2006/relationships/image" Target="../media/image53.emf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3.xml"/><Relationship Id="rId4" Type="http://schemas.openxmlformats.org/officeDocument/2006/relationships/image" Target="../media/image53.emf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4.xml"/><Relationship Id="rId4" Type="http://schemas.openxmlformats.org/officeDocument/2006/relationships/image" Target="../media/image53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5.xml"/><Relationship Id="rId5" Type="http://schemas.openxmlformats.org/officeDocument/2006/relationships/image" Target="../media/image35.png"/><Relationship Id="rId4" Type="http://schemas.openxmlformats.org/officeDocument/2006/relationships/image" Target="../media/image53.emf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6.xml"/><Relationship Id="rId5" Type="http://schemas.openxmlformats.org/officeDocument/2006/relationships/image" Target="../media/image59.png"/><Relationship Id="rId4" Type="http://schemas.openxmlformats.org/officeDocument/2006/relationships/image" Target="../media/image53.emf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7.xml"/><Relationship Id="rId5" Type="http://schemas.openxmlformats.org/officeDocument/2006/relationships/image" Target="../media/image37.png"/><Relationship Id="rId4" Type="http://schemas.openxmlformats.org/officeDocument/2006/relationships/image" Target="../media/image53.emf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8.xml"/><Relationship Id="rId4" Type="http://schemas.openxmlformats.org/officeDocument/2006/relationships/image" Target="../media/image53.emf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9.xml"/><Relationship Id="rId4" Type="http://schemas.openxmlformats.org/officeDocument/2006/relationships/image" Target="../media/image53.emf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0.xml"/><Relationship Id="rId4" Type="http://schemas.openxmlformats.org/officeDocument/2006/relationships/image" Target="../media/image53.emf"/></Relationships>
</file>

<file path=ppt/slideLayouts/_rels/slideLayout2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3" Type="http://schemas.openxmlformats.org/officeDocument/2006/relationships/oleObject" Target="../embeddings/oleObject86.bin"/><Relationship Id="rId7" Type="http://schemas.openxmlformats.org/officeDocument/2006/relationships/image" Target="../media/image3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1.xml"/><Relationship Id="rId6" Type="http://schemas.openxmlformats.org/officeDocument/2006/relationships/image" Target="../media/image52.png"/><Relationship Id="rId5" Type="http://schemas.openxmlformats.org/officeDocument/2006/relationships/image" Target="../media/image31.emf"/><Relationship Id="rId4" Type="http://schemas.openxmlformats.org/officeDocument/2006/relationships/image" Target="../media/image53.emf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7" Type="http://schemas.openxmlformats.org/officeDocument/2006/relationships/image" Target="../media/image55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2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53.emf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7" Type="http://schemas.openxmlformats.org/officeDocument/2006/relationships/image" Target="../media/image55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3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53.emf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4.xml"/><Relationship Id="rId5" Type="http://schemas.openxmlformats.org/officeDocument/2006/relationships/image" Target="../media/image11.emf"/><Relationship Id="rId4" Type="http://schemas.openxmlformats.org/officeDocument/2006/relationships/image" Target="../media/image53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5.xml"/><Relationship Id="rId4" Type="http://schemas.openxmlformats.org/officeDocument/2006/relationships/image" Target="../media/image53.emf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6.xml"/><Relationship Id="rId5" Type="http://schemas.openxmlformats.org/officeDocument/2006/relationships/image" Target="../media/image12.emf"/><Relationship Id="rId4" Type="http://schemas.openxmlformats.org/officeDocument/2006/relationships/image" Target="../media/image53.emf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7.xml"/><Relationship Id="rId4" Type="http://schemas.openxmlformats.org/officeDocument/2006/relationships/image" Target="../media/image53.emf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8.xml"/><Relationship Id="rId5" Type="http://schemas.openxmlformats.org/officeDocument/2006/relationships/image" Target="../media/image11.emf"/><Relationship Id="rId4" Type="http://schemas.openxmlformats.org/officeDocument/2006/relationships/image" Target="../media/image53.emf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9.xml"/><Relationship Id="rId5" Type="http://schemas.openxmlformats.org/officeDocument/2006/relationships/image" Target="../media/image11.emf"/><Relationship Id="rId4" Type="http://schemas.openxmlformats.org/officeDocument/2006/relationships/image" Target="../media/image53.emf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0.xml"/><Relationship Id="rId5" Type="http://schemas.openxmlformats.org/officeDocument/2006/relationships/image" Target="../media/image11.emf"/><Relationship Id="rId4" Type="http://schemas.openxmlformats.org/officeDocument/2006/relationships/image" Target="../media/image53.emf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1.xml"/><Relationship Id="rId5" Type="http://schemas.openxmlformats.org/officeDocument/2006/relationships/image" Target="../media/image11.emf"/><Relationship Id="rId4" Type="http://schemas.openxmlformats.org/officeDocument/2006/relationships/image" Target="../media/image53.emf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2.xml"/><Relationship Id="rId5" Type="http://schemas.openxmlformats.org/officeDocument/2006/relationships/image" Target="../media/image11.emf"/><Relationship Id="rId4" Type="http://schemas.openxmlformats.org/officeDocument/2006/relationships/image" Target="../media/image53.emf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3.xml"/><Relationship Id="rId5" Type="http://schemas.openxmlformats.org/officeDocument/2006/relationships/image" Target="../media/image11.emf"/><Relationship Id="rId4" Type="http://schemas.openxmlformats.org/officeDocument/2006/relationships/image" Target="../media/image53.emf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4.xml"/><Relationship Id="rId5" Type="http://schemas.openxmlformats.org/officeDocument/2006/relationships/image" Target="../media/image11.emf"/><Relationship Id="rId4" Type="http://schemas.openxmlformats.org/officeDocument/2006/relationships/image" Target="../media/image53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5.xml"/><Relationship Id="rId5" Type="http://schemas.openxmlformats.org/officeDocument/2006/relationships/image" Target="../media/image11.emf"/><Relationship Id="rId4" Type="http://schemas.openxmlformats.org/officeDocument/2006/relationships/image" Target="../media/image53.emf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6.xml"/><Relationship Id="rId5" Type="http://schemas.openxmlformats.org/officeDocument/2006/relationships/image" Target="../media/image60.emf"/><Relationship Id="rId4" Type="http://schemas.openxmlformats.org/officeDocument/2006/relationships/image" Target="../media/image53.emf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7.xml"/><Relationship Id="rId5" Type="http://schemas.openxmlformats.org/officeDocument/2006/relationships/image" Target="../media/image12.emf"/><Relationship Id="rId4" Type="http://schemas.openxmlformats.org/officeDocument/2006/relationships/image" Target="../media/image53.emf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8.xml"/><Relationship Id="rId4" Type="http://schemas.openxmlformats.org/officeDocument/2006/relationships/image" Target="../media/image53.emf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9.xml"/><Relationship Id="rId4" Type="http://schemas.openxmlformats.org/officeDocument/2006/relationships/image" Target="../media/image53.emf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0.xml"/><Relationship Id="rId4" Type="http://schemas.openxmlformats.org/officeDocument/2006/relationships/image" Target="../media/image53.emf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1.xml"/><Relationship Id="rId4" Type="http://schemas.openxmlformats.org/officeDocument/2006/relationships/image" Target="../media/image53.emf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2.xml"/><Relationship Id="rId4" Type="http://schemas.openxmlformats.org/officeDocument/2006/relationships/image" Target="../media/image53.emf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3.xml"/><Relationship Id="rId4" Type="http://schemas.openxmlformats.org/officeDocument/2006/relationships/image" Target="../media/image53.emf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4.xml"/><Relationship Id="rId4" Type="http://schemas.openxmlformats.org/officeDocument/2006/relationships/image" Target="../media/image53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5.xml"/><Relationship Id="rId4" Type="http://schemas.openxmlformats.org/officeDocument/2006/relationships/image" Target="../media/image53.emf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6.xml"/><Relationship Id="rId4" Type="http://schemas.openxmlformats.org/officeDocument/2006/relationships/image" Target="../media/image53.emf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7.xml"/><Relationship Id="rId4" Type="http://schemas.openxmlformats.org/officeDocument/2006/relationships/image" Target="../media/image53.emf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8.xml"/><Relationship Id="rId4" Type="http://schemas.openxmlformats.org/officeDocument/2006/relationships/image" Target="../media/image53.emf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9.xml"/><Relationship Id="rId4" Type="http://schemas.openxmlformats.org/officeDocument/2006/relationships/image" Target="../media/image53.emf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0.xml"/><Relationship Id="rId4" Type="http://schemas.openxmlformats.org/officeDocument/2006/relationships/image" Target="../media/image53.emf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1.xml"/><Relationship Id="rId4" Type="http://schemas.openxmlformats.org/officeDocument/2006/relationships/image" Target="../media/image53.emf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2.xml"/><Relationship Id="rId4" Type="http://schemas.openxmlformats.org/officeDocument/2006/relationships/image" Target="../media/image53.emf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3.xml"/><Relationship Id="rId4" Type="http://schemas.openxmlformats.org/officeDocument/2006/relationships/image" Target="../media/image53.emf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4.xml"/><Relationship Id="rId4" Type="http://schemas.openxmlformats.org/officeDocument/2006/relationships/image" Target="../media/image53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5.xml"/><Relationship Id="rId4" Type="http://schemas.openxmlformats.org/officeDocument/2006/relationships/image" Target="../media/image53.emf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6.xml"/><Relationship Id="rId4" Type="http://schemas.openxmlformats.org/officeDocument/2006/relationships/image" Target="../media/image53.emf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7.xml"/><Relationship Id="rId4" Type="http://schemas.openxmlformats.org/officeDocument/2006/relationships/image" Target="../media/image53.emf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8.xml"/><Relationship Id="rId4" Type="http://schemas.openxmlformats.org/officeDocument/2006/relationships/image" Target="../media/image53.emf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9.xml"/><Relationship Id="rId4" Type="http://schemas.openxmlformats.org/officeDocument/2006/relationships/image" Target="../media/image53.emf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0.xml"/><Relationship Id="rId4" Type="http://schemas.openxmlformats.org/officeDocument/2006/relationships/image" Target="../media/image53.emf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1.xml"/><Relationship Id="rId4" Type="http://schemas.openxmlformats.org/officeDocument/2006/relationships/image" Target="../media/image53.emf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2.xml"/><Relationship Id="rId4" Type="http://schemas.openxmlformats.org/officeDocument/2006/relationships/image" Target="../media/image53.emf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3.xml"/><Relationship Id="rId4" Type="http://schemas.openxmlformats.org/officeDocument/2006/relationships/image" Target="../media/image53.emf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4.xml"/><Relationship Id="rId4" Type="http://schemas.openxmlformats.org/officeDocument/2006/relationships/image" Target="../media/image53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5.xml"/><Relationship Id="rId4" Type="http://schemas.openxmlformats.org/officeDocument/2006/relationships/image" Target="../media/image53.emf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6.xml"/><Relationship Id="rId4" Type="http://schemas.openxmlformats.org/officeDocument/2006/relationships/image" Target="../media/image53.emf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7.xml"/><Relationship Id="rId4" Type="http://schemas.openxmlformats.org/officeDocument/2006/relationships/image" Target="../media/image53.emf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8.xml"/><Relationship Id="rId5" Type="http://schemas.openxmlformats.org/officeDocument/2006/relationships/image" Target="../media/image35.png"/><Relationship Id="rId4" Type="http://schemas.openxmlformats.org/officeDocument/2006/relationships/image" Target="../media/image53.emf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9.xml"/><Relationship Id="rId5" Type="http://schemas.openxmlformats.org/officeDocument/2006/relationships/image" Target="../media/image61.png"/><Relationship Id="rId4" Type="http://schemas.openxmlformats.org/officeDocument/2006/relationships/image" Target="../media/image53.emf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0.xml"/><Relationship Id="rId5" Type="http://schemas.openxmlformats.org/officeDocument/2006/relationships/image" Target="../media/image62.png"/><Relationship Id="rId4" Type="http://schemas.openxmlformats.org/officeDocument/2006/relationships/image" Target="../media/image53.emf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1.xml"/><Relationship Id="rId5" Type="http://schemas.openxmlformats.org/officeDocument/2006/relationships/image" Target="../media/image62.png"/><Relationship Id="rId4" Type="http://schemas.openxmlformats.org/officeDocument/2006/relationships/image" Target="../media/image53.emf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2.xml"/><Relationship Id="rId5" Type="http://schemas.openxmlformats.org/officeDocument/2006/relationships/image" Target="../media/image62.png"/><Relationship Id="rId4" Type="http://schemas.openxmlformats.org/officeDocument/2006/relationships/image" Target="../media/image53.emf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3.xml"/><Relationship Id="rId5" Type="http://schemas.openxmlformats.org/officeDocument/2006/relationships/image" Target="../media/image63.jpeg"/><Relationship Id="rId4" Type="http://schemas.openxmlformats.org/officeDocument/2006/relationships/image" Target="../media/image53.emf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4.xml"/><Relationship Id="rId4" Type="http://schemas.openxmlformats.org/officeDocument/2006/relationships/image" Target="../media/image53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5.xml"/><Relationship Id="rId4" Type="http://schemas.openxmlformats.org/officeDocument/2006/relationships/image" Target="../media/image53.emf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6.xml"/><Relationship Id="rId4" Type="http://schemas.openxmlformats.org/officeDocument/2006/relationships/image" Target="../media/image53.emf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7.xml"/><Relationship Id="rId4" Type="http://schemas.openxmlformats.org/officeDocument/2006/relationships/image" Target="../media/image53.emf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8.xml"/><Relationship Id="rId5" Type="http://schemas.openxmlformats.org/officeDocument/2006/relationships/image" Target="../media/image11.emf"/><Relationship Id="rId4" Type="http://schemas.openxmlformats.org/officeDocument/2006/relationships/image" Target="../media/image53.emf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9.xml"/><Relationship Id="rId5" Type="http://schemas.openxmlformats.org/officeDocument/2006/relationships/image" Target="../media/image60.emf"/><Relationship Id="rId4" Type="http://schemas.openxmlformats.org/officeDocument/2006/relationships/image" Target="../media/image53.emf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0.xml"/><Relationship Id="rId5" Type="http://schemas.openxmlformats.org/officeDocument/2006/relationships/image" Target="../media/image11.emf"/><Relationship Id="rId4" Type="http://schemas.openxmlformats.org/officeDocument/2006/relationships/image" Target="../media/image53.emf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1.xml"/><Relationship Id="rId5" Type="http://schemas.openxmlformats.org/officeDocument/2006/relationships/image" Target="../media/image11.emf"/><Relationship Id="rId4" Type="http://schemas.openxmlformats.org/officeDocument/2006/relationships/image" Target="../media/image53.emf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2.xml"/><Relationship Id="rId5" Type="http://schemas.openxmlformats.org/officeDocument/2006/relationships/image" Target="../media/image11.emf"/><Relationship Id="rId4" Type="http://schemas.openxmlformats.org/officeDocument/2006/relationships/image" Target="../media/image53.emf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3.xml"/><Relationship Id="rId4" Type="http://schemas.openxmlformats.org/officeDocument/2006/relationships/image" Target="../media/image53.emf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4.xml"/><Relationship Id="rId4" Type="http://schemas.openxmlformats.org/officeDocument/2006/relationships/image" Target="../media/image64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1.bin"/><Relationship Id="rId7" Type="http://schemas.openxmlformats.org/officeDocument/2006/relationships/image" Target="../media/image54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6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53.emf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2.bin"/><Relationship Id="rId7" Type="http://schemas.openxmlformats.org/officeDocument/2006/relationships/image" Target="../media/image2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7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53.emf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3.bin"/><Relationship Id="rId7" Type="http://schemas.openxmlformats.org/officeDocument/2006/relationships/image" Target="../media/image54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8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53.emf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4.bin"/><Relationship Id="rId7" Type="http://schemas.openxmlformats.org/officeDocument/2006/relationships/image" Target="../media/image55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9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53.emf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5.bin"/><Relationship Id="rId7" Type="http://schemas.openxmlformats.org/officeDocument/2006/relationships/image" Target="../media/image5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0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53.emf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6.bin"/><Relationship Id="rId7" Type="http://schemas.openxmlformats.org/officeDocument/2006/relationships/image" Target="../media/image55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1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53.emf"/></Relationships>
</file>

<file path=ppt/slideLayouts/_rels/slideLayout2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oleObject" Target="../embeddings/oleObject157.bin"/><Relationship Id="rId7" Type="http://schemas.openxmlformats.org/officeDocument/2006/relationships/image" Target="../media/image25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2.xml"/><Relationship Id="rId6" Type="http://schemas.openxmlformats.org/officeDocument/2006/relationships/image" Target="../media/image24.png"/><Relationship Id="rId5" Type="http://schemas.openxmlformats.org/officeDocument/2006/relationships/image" Target="../media/image29.png"/><Relationship Id="rId4" Type="http://schemas.openxmlformats.org/officeDocument/2006/relationships/image" Target="../media/image53.emf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8.bin"/><Relationship Id="rId7" Type="http://schemas.openxmlformats.org/officeDocument/2006/relationships/image" Target="../media/image5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3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53.emf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4.xml"/><Relationship Id="rId4" Type="http://schemas.openxmlformats.org/officeDocument/2006/relationships/image" Target="../media/image5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oleObject" Target="../embeddings/oleObject160.bin"/><Relationship Id="rId7" Type="http://schemas.openxmlformats.org/officeDocument/2006/relationships/image" Target="../media/image5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5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53.emf"/><Relationship Id="rId9" Type="http://schemas.openxmlformats.org/officeDocument/2006/relationships/image" Target="../media/image20.svg"/></Relationships>
</file>

<file path=ppt/slideLayouts/_rels/slideLayout3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oleObject" Target="../embeddings/oleObject161.bin"/><Relationship Id="rId7" Type="http://schemas.openxmlformats.org/officeDocument/2006/relationships/image" Target="../media/image33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6.xml"/><Relationship Id="rId6" Type="http://schemas.openxmlformats.org/officeDocument/2006/relationships/image" Target="../media/image58.png"/><Relationship Id="rId5" Type="http://schemas.openxmlformats.org/officeDocument/2006/relationships/image" Target="../media/image31.emf"/><Relationship Id="rId4" Type="http://schemas.openxmlformats.org/officeDocument/2006/relationships/image" Target="../media/image53.emf"/></Relationships>
</file>

<file path=ppt/slideLayouts/_rels/slideLayout3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oleObject" Target="../embeddings/oleObject162.bin"/><Relationship Id="rId7" Type="http://schemas.openxmlformats.org/officeDocument/2006/relationships/image" Target="../media/image19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7.xml"/><Relationship Id="rId6" Type="http://schemas.openxmlformats.org/officeDocument/2006/relationships/image" Target="../media/image52.png"/><Relationship Id="rId5" Type="http://schemas.openxmlformats.org/officeDocument/2006/relationships/image" Target="../media/image31.emf"/><Relationship Id="rId4" Type="http://schemas.openxmlformats.org/officeDocument/2006/relationships/image" Target="../media/image53.emf"/></Relationships>
</file>

<file path=ppt/slideLayouts/_rels/slideLayout3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oleObject" Target="../embeddings/oleObject163.bin"/><Relationship Id="rId7" Type="http://schemas.openxmlformats.org/officeDocument/2006/relationships/image" Target="../media/image5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8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53.emf"/><Relationship Id="rId9" Type="http://schemas.openxmlformats.org/officeDocument/2006/relationships/image" Target="../media/image20.svg"/></Relationships>
</file>

<file path=ppt/slideLayouts/_rels/slideLayout3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oleObject" Target="../embeddings/oleObject164.bin"/><Relationship Id="rId7" Type="http://schemas.openxmlformats.org/officeDocument/2006/relationships/image" Target="../media/image33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9.xml"/><Relationship Id="rId6" Type="http://schemas.openxmlformats.org/officeDocument/2006/relationships/image" Target="../media/image58.png"/><Relationship Id="rId5" Type="http://schemas.openxmlformats.org/officeDocument/2006/relationships/image" Target="../media/image31.emf"/><Relationship Id="rId4" Type="http://schemas.openxmlformats.org/officeDocument/2006/relationships/image" Target="../media/image53.emf"/></Relationships>
</file>

<file path=ppt/slideLayouts/_rels/slideLayout3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oleObject" Target="../embeddings/oleObject165.bin"/><Relationship Id="rId7" Type="http://schemas.openxmlformats.org/officeDocument/2006/relationships/image" Target="../media/image19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0.xml"/><Relationship Id="rId6" Type="http://schemas.openxmlformats.org/officeDocument/2006/relationships/image" Target="../media/image52.png"/><Relationship Id="rId5" Type="http://schemas.openxmlformats.org/officeDocument/2006/relationships/image" Target="../media/image31.emf"/><Relationship Id="rId4" Type="http://schemas.openxmlformats.org/officeDocument/2006/relationships/image" Target="../media/image53.emf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1.xml"/><Relationship Id="rId4" Type="http://schemas.openxmlformats.org/officeDocument/2006/relationships/image" Target="../media/image53.emf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2.xml"/><Relationship Id="rId4" Type="http://schemas.openxmlformats.org/officeDocument/2006/relationships/image" Target="../media/image53.emf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3.xml"/><Relationship Id="rId4" Type="http://schemas.openxmlformats.org/officeDocument/2006/relationships/image" Target="../media/image53.emf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4.xml"/><Relationship Id="rId4" Type="http://schemas.openxmlformats.org/officeDocument/2006/relationships/image" Target="../media/image53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5.xml"/><Relationship Id="rId4" Type="http://schemas.openxmlformats.org/officeDocument/2006/relationships/image" Target="../media/image53.emf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6.xml"/><Relationship Id="rId4" Type="http://schemas.openxmlformats.org/officeDocument/2006/relationships/image" Target="../media/image53.emf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7.xml"/><Relationship Id="rId4" Type="http://schemas.openxmlformats.org/officeDocument/2006/relationships/image" Target="../media/image53.emf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8.xml"/><Relationship Id="rId4" Type="http://schemas.openxmlformats.org/officeDocument/2006/relationships/image" Target="../media/image53.emf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9.xml"/><Relationship Id="rId4" Type="http://schemas.openxmlformats.org/officeDocument/2006/relationships/image" Target="../media/image53.emf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0.xml"/><Relationship Id="rId4" Type="http://schemas.openxmlformats.org/officeDocument/2006/relationships/image" Target="../media/image53.emf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1.xml"/><Relationship Id="rId4" Type="http://schemas.openxmlformats.org/officeDocument/2006/relationships/image" Target="../media/image53.emf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2.xml"/><Relationship Id="rId5" Type="http://schemas.openxmlformats.org/officeDocument/2006/relationships/image" Target="../media/image35.png"/><Relationship Id="rId4" Type="http://schemas.openxmlformats.org/officeDocument/2006/relationships/image" Target="../media/image53.emf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3.xml"/><Relationship Id="rId5" Type="http://schemas.openxmlformats.org/officeDocument/2006/relationships/image" Target="../media/image59.png"/><Relationship Id="rId4" Type="http://schemas.openxmlformats.org/officeDocument/2006/relationships/image" Target="../media/image53.emf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4.xml"/><Relationship Id="rId5" Type="http://schemas.openxmlformats.org/officeDocument/2006/relationships/image" Target="../media/image37.png"/><Relationship Id="rId4" Type="http://schemas.openxmlformats.org/officeDocument/2006/relationships/image" Target="../media/image53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5.xml"/><Relationship Id="rId4" Type="http://schemas.openxmlformats.org/officeDocument/2006/relationships/image" Target="../media/image53.emf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6.xml"/><Relationship Id="rId4" Type="http://schemas.openxmlformats.org/officeDocument/2006/relationships/image" Target="../media/image53.emf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7.xml"/><Relationship Id="rId4" Type="http://schemas.openxmlformats.org/officeDocument/2006/relationships/image" Target="../media/image53.emf"/></Relationships>
</file>

<file path=ppt/slideLayouts/_rels/slideLayout3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3" Type="http://schemas.openxmlformats.org/officeDocument/2006/relationships/oleObject" Target="../embeddings/oleObject183.bin"/><Relationship Id="rId7" Type="http://schemas.openxmlformats.org/officeDocument/2006/relationships/image" Target="../media/image38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8.xml"/><Relationship Id="rId6" Type="http://schemas.openxmlformats.org/officeDocument/2006/relationships/image" Target="../media/image52.png"/><Relationship Id="rId5" Type="http://schemas.openxmlformats.org/officeDocument/2006/relationships/image" Target="../media/image31.emf"/><Relationship Id="rId4" Type="http://schemas.openxmlformats.org/officeDocument/2006/relationships/image" Target="../media/image53.emf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4.bin"/><Relationship Id="rId7" Type="http://schemas.openxmlformats.org/officeDocument/2006/relationships/image" Target="../media/image55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9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53.emf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5.bin"/><Relationship Id="rId7" Type="http://schemas.openxmlformats.org/officeDocument/2006/relationships/image" Target="../media/image55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0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53.emf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1.xml"/><Relationship Id="rId5" Type="http://schemas.openxmlformats.org/officeDocument/2006/relationships/image" Target="../media/image11.emf"/><Relationship Id="rId4" Type="http://schemas.openxmlformats.org/officeDocument/2006/relationships/image" Target="../media/image53.emf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2.xml"/><Relationship Id="rId4" Type="http://schemas.openxmlformats.org/officeDocument/2006/relationships/image" Target="../media/image53.emf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3.xml"/><Relationship Id="rId4" Type="http://schemas.openxmlformats.org/officeDocument/2006/relationships/image" Target="../media/image53.emf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4.xml"/><Relationship Id="rId5" Type="http://schemas.openxmlformats.org/officeDocument/2006/relationships/image" Target="../media/image12.emf"/><Relationship Id="rId4" Type="http://schemas.openxmlformats.org/officeDocument/2006/relationships/image" Target="../media/image53.emf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5.xml"/><Relationship Id="rId5" Type="http://schemas.openxmlformats.org/officeDocument/2006/relationships/image" Target="../media/image11.emf"/><Relationship Id="rId4" Type="http://schemas.openxmlformats.org/officeDocument/2006/relationships/image" Target="../media/image53.emf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6.xml"/><Relationship Id="rId5" Type="http://schemas.openxmlformats.org/officeDocument/2006/relationships/image" Target="../media/image11.emf"/><Relationship Id="rId4" Type="http://schemas.openxmlformats.org/officeDocument/2006/relationships/image" Target="../media/image53.emf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7.xml"/><Relationship Id="rId5" Type="http://schemas.openxmlformats.org/officeDocument/2006/relationships/image" Target="../media/image11.emf"/><Relationship Id="rId4" Type="http://schemas.openxmlformats.org/officeDocument/2006/relationships/image" Target="../media/image53.emf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8.xml"/><Relationship Id="rId5" Type="http://schemas.openxmlformats.org/officeDocument/2006/relationships/image" Target="../media/image11.emf"/><Relationship Id="rId4" Type="http://schemas.openxmlformats.org/officeDocument/2006/relationships/image" Target="../media/image53.emf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9.xml"/><Relationship Id="rId5" Type="http://schemas.openxmlformats.org/officeDocument/2006/relationships/image" Target="../media/image11.emf"/><Relationship Id="rId4" Type="http://schemas.openxmlformats.org/officeDocument/2006/relationships/image" Target="../media/image53.emf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0.xml"/><Relationship Id="rId5" Type="http://schemas.openxmlformats.org/officeDocument/2006/relationships/image" Target="../media/image11.emf"/><Relationship Id="rId4" Type="http://schemas.openxmlformats.org/officeDocument/2006/relationships/image" Target="../media/image53.emf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1.xml"/><Relationship Id="rId5" Type="http://schemas.openxmlformats.org/officeDocument/2006/relationships/image" Target="../media/image11.emf"/><Relationship Id="rId4" Type="http://schemas.openxmlformats.org/officeDocument/2006/relationships/image" Target="../media/image53.emf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2.xml"/><Relationship Id="rId5" Type="http://schemas.openxmlformats.org/officeDocument/2006/relationships/image" Target="../media/image60.emf"/><Relationship Id="rId4" Type="http://schemas.openxmlformats.org/officeDocument/2006/relationships/image" Target="../media/image53.emf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3.xml"/><Relationship Id="rId5" Type="http://schemas.openxmlformats.org/officeDocument/2006/relationships/image" Target="../media/image12.emf"/><Relationship Id="rId4" Type="http://schemas.openxmlformats.org/officeDocument/2006/relationships/image" Target="../media/image53.emf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4.xml"/><Relationship Id="rId4" Type="http://schemas.openxmlformats.org/officeDocument/2006/relationships/image" Target="../media/image53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5.xml"/><Relationship Id="rId4" Type="http://schemas.openxmlformats.org/officeDocument/2006/relationships/image" Target="../media/image53.emf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6.xml"/><Relationship Id="rId4" Type="http://schemas.openxmlformats.org/officeDocument/2006/relationships/image" Target="../media/image53.emf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7.xml"/><Relationship Id="rId4" Type="http://schemas.openxmlformats.org/officeDocument/2006/relationships/image" Target="../media/image53.emf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8.xml"/><Relationship Id="rId4" Type="http://schemas.openxmlformats.org/officeDocument/2006/relationships/image" Target="../media/image53.emf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9.xml"/><Relationship Id="rId4" Type="http://schemas.openxmlformats.org/officeDocument/2006/relationships/image" Target="../media/image53.emf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0.xml"/><Relationship Id="rId4" Type="http://schemas.openxmlformats.org/officeDocument/2006/relationships/image" Target="../media/image53.emf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1.xml"/><Relationship Id="rId4" Type="http://schemas.openxmlformats.org/officeDocument/2006/relationships/image" Target="../media/image53.emf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2.xml"/><Relationship Id="rId4" Type="http://schemas.openxmlformats.org/officeDocument/2006/relationships/image" Target="../media/image53.emf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3.xml"/><Relationship Id="rId4" Type="http://schemas.openxmlformats.org/officeDocument/2006/relationships/image" Target="../media/image53.emf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4.xml"/><Relationship Id="rId4" Type="http://schemas.openxmlformats.org/officeDocument/2006/relationships/image" Target="../media/image53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5.xml"/><Relationship Id="rId4" Type="http://schemas.openxmlformats.org/officeDocument/2006/relationships/image" Target="../media/image53.emf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6.xml"/><Relationship Id="rId4" Type="http://schemas.openxmlformats.org/officeDocument/2006/relationships/image" Target="../media/image53.emf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7.xml"/><Relationship Id="rId4" Type="http://schemas.openxmlformats.org/officeDocument/2006/relationships/image" Target="../media/image53.emf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8.xml"/><Relationship Id="rId4" Type="http://schemas.openxmlformats.org/officeDocument/2006/relationships/image" Target="../media/image53.emf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9.xml"/><Relationship Id="rId4" Type="http://schemas.openxmlformats.org/officeDocument/2006/relationships/image" Target="../media/image53.emf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0.xml"/><Relationship Id="rId4" Type="http://schemas.openxmlformats.org/officeDocument/2006/relationships/image" Target="../media/image53.emf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1.xml"/><Relationship Id="rId4" Type="http://schemas.openxmlformats.org/officeDocument/2006/relationships/image" Target="../media/image53.emf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2.xml"/><Relationship Id="rId4" Type="http://schemas.openxmlformats.org/officeDocument/2006/relationships/image" Target="../media/image53.emf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3.xml"/><Relationship Id="rId4" Type="http://schemas.openxmlformats.org/officeDocument/2006/relationships/image" Target="../media/image53.emf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4.xml"/><Relationship Id="rId4" Type="http://schemas.openxmlformats.org/officeDocument/2006/relationships/image" Target="../media/image53.emf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5.xml"/><Relationship Id="rId4" Type="http://schemas.openxmlformats.org/officeDocument/2006/relationships/image" Target="../media/image53.emf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6.xml"/><Relationship Id="rId4" Type="http://schemas.openxmlformats.org/officeDocument/2006/relationships/image" Target="../media/image53.emf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7.xml"/><Relationship Id="rId4" Type="http://schemas.openxmlformats.org/officeDocument/2006/relationships/image" Target="../media/image53.emf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8.xml"/><Relationship Id="rId4" Type="http://schemas.openxmlformats.org/officeDocument/2006/relationships/image" Target="../media/image53.emf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9.xml"/><Relationship Id="rId4" Type="http://schemas.openxmlformats.org/officeDocument/2006/relationships/image" Target="../media/image53.emf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0.xml"/><Relationship Id="rId4" Type="http://schemas.openxmlformats.org/officeDocument/2006/relationships/image" Target="../media/image53.emf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1.xml"/><Relationship Id="rId4" Type="http://schemas.openxmlformats.org/officeDocument/2006/relationships/image" Target="../media/image53.emf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2.xml"/><Relationship Id="rId4" Type="http://schemas.openxmlformats.org/officeDocument/2006/relationships/image" Target="../media/image53.emf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3.xml"/><Relationship Id="rId4" Type="http://schemas.openxmlformats.org/officeDocument/2006/relationships/image" Target="../media/image53.emf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4.xml"/><Relationship Id="rId5" Type="http://schemas.openxmlformats.org/officeDocument/2006/relationships/image" Target="../media/image35.png"/><Relationship Id="rId4" Type="http://schemas.openxmlformats.org/officeDocument/2006/relationships/image" Target="../media/image53.em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5.xml"/><Relationship Id="rId5" Type="http://schemas.openxmlformats.org/officeDocument/2006/relationships/image" Target="../media/image61.png"/><Relationship Id="rId4" Type="http://schemas.openxmlformats.org/officeDocument/2006/relationships/image" Target="../media/image53.emf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6.xml"/><Relationship Id="rId5" Type="http://schemas.openxmlformats.org/officeDocument/2006/relationships/image" Target="../media/image62.png"/><Relationship Id="rId4" Type="http://schemas.openxmlformats.org/officeDocument/2006/relationships/image" Target="../media/image53.emf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7.xml"/><Relationship Id="rId5" Type="http://schemas.openxmlformats.org/officeDocument/2006/relationships/image" Target="../media/image62.png"/><Relationship Id="rId4" Type="http://schemas.openxmlformats.org/officeDocument/2006/relationships/image" Target="../media/image53.emf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8.xml"/><Relationship Id="rId5" Type="http://schemas.openxmlformats.org/officeDocument/2006/relationships/image" Target="../media/image62.png"/><Relationship Id="rId4" Type="http://schemas.openxmlformats.org/officeDocument/2006/relationships/image" Target="../media/image53.emf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9.xml"/><Relationship Id="rId5" Type="http://schemas.openxmlformats.org/officeDocument/2006/relationships/image" Target="../media/image63.jpeg"/><Relationship Id="rId4" Type="http://schemas.openxmlformats.org/officeDocument/2006/relationships/image" Target="../media/image53.emf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0.xml"/><Relationship Id="rId4" Type="http://schemas.openxmlformats.org/officeDocument/2006/relationships/image" Target="../media/image53.emf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1.xml"/><Relationship Id="rId4" Type="http://schemas.openxmlformats.org/officeDocument/2006/relationships/image" Target="../media/image53.emf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2.xml"/><Relationship Id="rId4" Type="http://schemas.openxmlformats.org/officeDocument/2006/relationships/image" Target="../media/image53.emf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3.xml"/><Relationship Id="rId4" Type="http://schemas.openxmlformats.org/officeDocument/2006/relationships/image" Target="../media/image53.emf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4.xml"/><Relationship Id="rId5" Type="http://schemas.openxmlformats.org/officeDocument/2006/relationships/image" Target="../media/image11.emf"/><Relationship Id="rId4" Type="http://schemas.openxmlformats.org/officeDocument/2006/relationships/image" Target="../media/image53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5.xml"/><Relationship Id="rId5" Type="http://schemas.openxmlformats.org/officeDocument/2006/relationships/image" Target="../media/image60.emf"/><Relationship Id="rId4" Type="http://schemas.openxmlformats.org/officeDocument/2006/relationships/image" Target="../media/image53.emf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6.xml"/><Relationship Id="rId5" Type="http://schemas.openxmlformats.org/officeDocument/2006/relationships/image" Target="../media/image11.emf"/><Relationship Id="rId4" Type="http://schemas.openxmlformats.org/officeDocument/2006/relationships/image" Target="../media/image53.emf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7.xml"/><Relationship Id="rId5" Type="http://schemas.openxmlformats.org/officeDocument/2006/relationships/image" Target="../media/image11.emf"/><Relationship Id="rId4" Type="http://schemas.openxmlformats.org/officeDocument/2006/relationships/image" Target="../media/image53.emf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8.xml"/><Relationship Id="rId5" Type="http://schemas.openxmlformats.org/officeDocument/2006/relationships/image" Target="../media/image11.emf"/><Relationship Id="rId4" Type="http://schemas.openxmlformats.org/officeDocument/2006/relationships/image" Target="../media/image53.emf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9.xml"/><Relationship Id="rId4" Type="http://schemas.openxmlformats.org/officeDocument/2006/relationships/image" Target="../media/image53.emf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50.xml"/><Relationship Id="rId4" Type="http://schemas.openxmlformats.org/officeDocument/2006/relationships/image" Target="../media/image64.emf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51.xml"/><Relationship Id="rId4" Type="http://schemas.openxmlformats.org/officeDocument/2006/relationships/image" Target="../media/image53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1.emf"/><Relationship Id="rId4" Type="http://schemas.openxmlformats.org/officeDocument/2006/relationships/image" Target="../media/image10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1.emf"/><Relationship Id="rId4" Type="http://schemas.openxmlformats.org/officeDocument/2006/relationships/image" Target="../media/image10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11.emf"/><Relationship Id="rId4" Type="http://schemas.openxmlformats.org/officeDocument/2006/relationships/image" Target="../media/image10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11.emf"/><Relationship Id="rId4" Type="http://schemas.openxmlformats.org/officeDocument/2006/relationships/image" Target="../media/image10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1.emf"/><Relationship Id="rId4" Type="http://schemas.openxmlformats.org/officeDocument/2006/relationships/image" Target="../media/image10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1.emf"/><Relationship Id="rId4" Type="http://schemas.openxmlformats.org/officeDocument/2006/relationships/image" Target="../media/image10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1.emf"/><Relationship Id="rId4" Type="http://schemas.openxmlformats.org/officeDocument/2006/relationships/image" Target="../media/image10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11.emf"/><Relationship Id="rId4" Type="http://schemas.openxmlformats.org/officeDocument/2006/relationships/image" Target="../media/image10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12.emf"/><Relationship Id="rId4" Type="http://schemas.openxmlformats.org/officeDocument/2006/relationships/image" Target="../media/image10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0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0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0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0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0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0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0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0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0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0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0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0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0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0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0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0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0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0.emf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0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0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10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0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10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10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10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10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10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10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4" Type="http://schemas.openxmlformats.org/officeDocument/2006/relationships/image" Target="../media/image10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6FA75A10-B5C5-2C19-D99C-06186A7CEE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3F4E37A1-342D-625C-ED9A-8001F0274075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749A8532-D44A-2847-6AB1-9CDFF5E2EDFD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C517AE82-B86C-F89F-8A9A-3FE9D4E3AA30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56DC10E0-861F-ECC0-AA5E-212888A80BB4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715F60F8-369B-0122-D63C-8456B383FE6E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399E6C6-A33C-1BB4-957A-ACC78B3A8609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FA6F5E62-C0C3-3E9B-C232-4859A49A2FF4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BAFF9E74-16D3-27DD-5698-0DD14FA4A1CD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5C926F10-0B4E-EB5E-C17E-C62012D5A958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8A7C86C1-6FC3-4129-DBE7-EA08C86F255F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7DE63222-E7B9-02A9-E577-0C8AE4054429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E626C0D6-809F-4C13-DA13-613A4ECDC87C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A3F99D6A-E179-4BED-D2DE-633D903F13D3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57C455BA-3BE0-5F03-7FCE-7F12C992671C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0D04BD46-A552-F50C-0523-DB8E4AC3A9AF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87BB209F-9504-9B60-281A-A39F85ECE60C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E06C6D85-D3E8-0B13-0BCC-28E8AFB93962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96E5E0FB-0BCB-4CFA-3CC5-9EC1246B2F1C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9252E1D7-C58F-99CE-2EFE-0298BD4E7C9C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A0FD7F40-59EA-A32B-8121-EABF5372186F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77433BE2-5179-F51C-424F-ECFBB05C61F3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0" name="Rechteck 269">
              <a:extLst>
                <a:ext uri="{FF2B5EF4-FFF2-40B4-BE49-F238E27FC236}">
                  <a16:creationId xmlns:a16="http://schemas.microsoft.com/office/drawing/2014/main" id="{006417C2-C668-21B2-444E-91B13BD3F384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1" name="Rechteck 270">
              <a:extLst>
                <a:ext uri="{FF2B5EF4-FFF2-40B4-BE49-F238E27FC236}">
                  <a16:creationId xmlns:a16="http://schemas.microsoft.com/office/drawing/2014/main" id="{CC66ACB9-1578-BF6A-552F-C14EA4BA9E74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145B6BB8-1B29-434E-AFAE-2D919CEBBE2F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2A583CE8-D438-ECED-2492-B827A4823953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1CCB26E9-6A04-4F1E-CB2A-C267FD6502D9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900D947D-0A28-B1D3-8BBB-BF176FDB0890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8438F03C-48DC-1448-C2F6-0142010A6BEF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E786201D-FEA0-0B14-4F9E-147E543794C8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84808518-DB74-C478-AA53-9BA3278F3C24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ED92EE28-778E-8C1B-F576-0E4EC0D29778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27F1B84E-2E35-70AD-111A-0EAEDDE5169C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9DDAB6BF-3AD4-604E-91E3-7379EF228518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AA1482A0-E5C6-88DC-E5FE-4D42B4D045E2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58A55EEB-4FF2-1B05-78D0-91622A21D039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EE4085B3-2645-D3D2-2E75-D9D16EEA2406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B30C2579-72CF-09F2-21DD-AA23B4AA5FE6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12AA378F-294A-79C3-3968-301CDCD16E2E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FA75ECD2-8DB6-58D8-78FB-4A470839271D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541419C2-F701-8483-3AD2-EBA1A5C18904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901C6C76-E308-0B44-8CF7-37D79D3C3856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4A68830F-6486-F2DF-C1F8-0F64F511DEAB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3AC6C713-1AA5-82B5-04F5-80CE807813D3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2520B02B-4792-6747-5DC2-117D5399D9CA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3F3E4988-F955-0FED-81F5-4F0BFFC3D846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92CD9605-524B-2628-9C38-29C5C243C4D1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C30152BC-A479-49B3-9E86-0E849AEDBC67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3CBD33B1-1EE8-8C7D-A249-818D5196FE6C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12885FFE-541F-08F7-9CD7-C52C9A3BC763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7367F317-3BC4-7517-3F5A-859D6E762B3B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A9DFF3AE-AC39-03C8-E353-4353D8EF5D73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0C9A045D-5256-1003-4144-A190B786F018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8F07F450-C945-B533-BB42-76367C2EE172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D85F99C1-FF1D-9BDD-8CA4-D9BD680E063A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55288B3C-C8D9-215E-CF77-34E5F2D5C61F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4218FFDD-F157-6B93-7FC4-FEC42BD8F7AA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E04837E2-CA60-AFCA-1688-CBBEE1516593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99B9E870-8343-07B1-48B0-267D2ECB89BE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96243A96-F6E6-91DE-9FE2-96C7FFD98B5A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12F4E61D-F3A7-EE9A-A6A3-6F9508835864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564BB9E1-7E56-79D9-D10E-52B2E37ECE5B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B292DB62-5B17-9D92-7C69-BCFCE71CD4C0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943C9315-20AB-DB3A-C094-0D4E6C5B8CFE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8E8C71F8-0495-9450-30C6-25CF3F014DC2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5A31B0AB-FDF2-D7F2-CE63-0E78DEE9468A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0FE3D638-6007-6734-EAC5-201EED2CFE96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98CC5893-5EAB-7945-0987-7E9FABD9F03B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F3973EFB-0463-BCD7-DA80-7DC7ECE1718C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3DB3CE6E-7CF3-A00E-C64A-2D76DF82C372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7CE4C48D-50C2-C249-8858-B7C5B85365A2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BDDA81F3-1380-F6B4-0CA3-3CC4DFA6FD84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F080295B-1B7E-FD58-1408-D8B75BD300DB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787D0728-68D1-7DFC-076E-FF7243C9BAF7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B867C6AE-0ED1-3C74-ADCA-7018779F3739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9C6098C2-C6C3-2DB2-7826-9BA56156C88E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64A0220A-0C47-B494-27E0-57DCE7956D53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EA6E0C18-E161-4581-9097-E1AE156FA331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FFE954CC-2488-F31B-260C-242CEB6C2862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334DD03D-E232-BCD2-C3BB-38AB5556FC0B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587632B1-A9AC-9261-84C3-57330FAB8A27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B0C263C8-233F-F1E2-DB76-FE98E165E9C1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7853E444-7D9A-079D-BE9F-586B48DE4724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7BAB2D16-02B1-DD90-4194-D1B25CEF2E92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AE76B864-D1AF-F983-6F5D-CD1A2514E967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86CC73C8-0092-6635-1009-797336FC3DF3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A43C5FDE-8450-80DA-DD25-3DE0F66B177E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E88A231C-36D3-BD7E-F53D-5B1A5AE58599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FD4B4B40-1D95-9103-C651-F13873D9B39F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1152E34A-1812-069E-9496-9CE6E20A3A80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269710A4-737C-ECB2-F3B5-D500CE17D3D6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966F5912-7834-2DE0-B444-7902F3526A1D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F17AEB2C-91E4-2D44-8952-BB3BD44266B1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1609C2B1-5326-3AF9-62AD-DEE121204817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B4CF2DF7-27C3-E119-23D7-2526B533D42E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725BA470-95D0-DE3B-B295-94619508BB53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7D47C83C-FC70-D41C-C15E-33EC17ED6831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9A0860C9-D8DA-ADBD-B235-42EA3B16D12B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0B9B195D-DD69-9F8E-5364-7CC354C9FAD3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E07E3D20-E0E3-40E4-BE85-4DBFEBC3FB2E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3166A76D-4EC7-EB8F-901F-E2F02E2A1F35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9C63A7C7-F640-ADA1-4325-6A460A25C57C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383C2BF5-9B07-D5F5-A44B-FFBCA8563513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84855EA7-A6CC-72F8-A046-B10E3532DDA1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2C0FEA31-5F71-B5CE-CF61-6525A82D7192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9CB4D90C-EC1F-B6CF-8A93-F9D014F38C23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4A5AC909-7760-5973-6F99-292A0BD78010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67420A9C-4F5D-8731-DA9A-DFCCB13FE421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A8C0D816-6D52-41A3-C59C-CA5D34F4A540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D25B6C3C-494D-84DF-AB7E-D9FF100B43CA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F8E2D8FC-051D-DA7E-1DE5-DCCA4B569E10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2367619A-9C42-2C45-0561-4FA05CE7EEE8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709217D7-35EF-F3FD-081C-937F06AB5815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38D55324-C75D-8E9C-3FA4-C9ED906F5917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FA412A2D-0977-FE39-B812-9F7362ADE5EF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CE0B4EA3-1D75-CB3B-B2C2-B72E29EBA309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1D04A2C4-4AB0-527D-4801-14EBF9885604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0" name="Rechteck 389">
              <a:extLst>
                <a:ext uri="{FF2B5EF4-FFF2-40B4-BE49-F238E27FC236}">
                  <a16:creationId xmlns:a16="http://schemas.microsoft.com/office/drawing/2014/main" id="{71696081-F9FE-07D6-5E5E-23408F838EE7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1" name="Rechteck 390">
              <a:extLst>
                <a:ext uri="{FF2B5EF4-FFF2-40B4-BE49-F238E27FC236}">
                  <a16:creationId xmlns:a16="http://schemas.microsoft.com/office/drawing/2014/main" id="{427959F4-E020-DCD5-279B-E9CE52FEA1A2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2" name="Rechteck 391">
              <a:extLst>
                <a:ext uri="{FF2B5EF4-FFF2-40B4-BE49-F238E27FC236}">
                  <a16:creationId xmlns:a16="http://schemas.microsoft.com/office/drawing/2014/main" id="{56DCE34C-DB57-2278-7514-8F8F92949078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3" name="Rechteck 392">
              <a:extLst>
                <a:ext uri="{FF2B5EF4-FFF2-40B4-BE49-F238E27FC236}">
                  <a16:creationId xmlns:a16="http://schemas.microsoft.com/office/drawing/2014/main" id="{C3410C1E-7C9A-0073-F4B5-033FBF7C0D57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4" name="Rechteck 393">
              <a:extLst>
                <a:ext uri="{FF2B5EF4-FFF2-40B4-BE49-F238E27FC236}">
                  <a16:creationId xmlns:a16="http://schemas.microsoft.com/office/drawing/2014/main" id="{2FED16A6-4BCD-E1AE-CDBA-660A2FAAE343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5" name="Rechteck 394">
              <a:extLst>
                <a:ext uri="{FF2B5EF4-FFF2-40B4-BE49-F238E27FC236}">
                  <a16:creationId xmlns:a16="http://schemas.microsoft.com/office/drawing/2014/main" id="{6F5CC1A5-96A3-578E-99F0-31156766BAB7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6" name="Rechteck 395">
              <a:extLst>
                <a:ext uri="{FF2B5EF4-FFF2-40B4-BE49-F238E27FC236}">
                  <a16:creationId xmlns:a16="http://schemas.microsoft.com/office/drawing/2014/main" id="{3A119532-7FF3-5062-3531-A972C18E1A4F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7" name="Rechteck 396">
              <a:extLst>
                <a:ext uri="{FF2B5EF4-FFF2-40B4-BE49-F238E27FC236}">
                  <a16:creationId xmlns:a16="http://schemas.microsoft.com/office/drawing/2014/main" id="{8471A79B-7EA6-4580-B496-D34A24E5C873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FD5E30FB-9F7F-D8F1-46F1-6DE230FABE8A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3636D3BB-98B5-3E74-7739-81CA8DA79928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2C9FD291-D964-7C99-04A1-1F94B3181E97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CA82C9E5-D7C7-D9D7-17E7-894F82F3898E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19437353-2F29-5964-53B4-637A0969F7B6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3" name="Rechteck 402">
              <a:extLst>
                <a:ext uri="{FF2B5EF4-FFF2-40B4-BE49-F238E27FC236}">
                  <a16:creationId xmlns:a16="http://schemas.microsoft.com/office/drawing/2014/main" id="{BA297C26-6D1F-9E39-6090-6EDF829C150F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4DDA089B-3D12-1A0E-8BE3-9EDF7C39BAF3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5" name="Rechteck 404">
              <a:extLst>
                <a:ext uri="{FF2B5EF4-FFF2-40B4-BE49-F238E27FC236}">
                  <a16:creationId xmlns:a16="http://schemas.microsoft.com/office/drawing/2014/main" id="{CDA08A04-5609-8245-DB39-417863D39FDC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6" name="Rechteck 405">
              <a:extLst>
                <a:ext uri="{FF2B5EF4-FFF2-40B4-BE49-F238E27FC236}">
                  <a16:creationId xmlns:a16="http://schemas.microsoft.com/office/drawing/2014/main" id="{D4C39CAC-249D-C198-4425-C766640DF9B7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24BD92BF-180C-5C79-C779-B20388560063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57815D92-EE66-56F0-3CD3-EE458A393967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64AD3FB1-76AB-6486-32FB-208AFE9F0552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0" name="Rechteck 409">
              <a:extLst>
                <a:ext uri="{FF2B5EF4-FFF2-40B4-BE49-F238E27FC236}">
                  <a16:creationId xmlns:a16="http://schemas.microsoft.com/office/drawing/2014/main" id="{48D341DB-88BA-2620-ACE0-6502C0E8E245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B864D029-BC2C-E623-A2E0-BC741465531E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273E0952-3AE7-2060-3485-44B957453EA6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2C5F6CD6-D8E3-F4BE-9005-6B5447464F48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60836B2C-3254-B5FA-7FD6-3F3EE9B53478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FDEB5C27-91A4-D4CF-A0C2-6C1F81D44F63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6" name="Rechteck 415">
              <a:extLst>
                <a:ext uri="{FF2B5EF4-FFF2-40B4-BE49-F238E27FC236}">
                  <a16:creationId xmlns:a16="http://schemas.microsoft.com/office/drawing/2014/main" id="{56E30CCB-A924-81CB-443F-E748985D16C9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E15B0282-BA8E-3DBE-CD1E-E9890CB1AE07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8" name="Rechteck 417">
              <a:extLst>
                <a:ext uri="{FF2B5EF4-FFF2-40B4-BE49-F238E27FC236}">
                  <a16:creationId xmlns:a16="http://schemas.microsoft.com/office/drawing/2014/main" id="{E162CDE9-3F41-F9F4-0F02-BE21C2F1E498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9" name="Rechteck 418">
              <a:extLst>
                <a:ext uri="{FF2B5EF4-FFF2-40B4-BE49-F238E27FC236}">
                  <a16:creationId xmlns:a16="http://schemas.microsoft.com/office/drawing/2014/main" id="{9A68093A-7DC7-9796-1767-28FD65FA2F76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0" name="Rechteck 419">
              <a:extLst>
                <a:ext uri="{FF2B5EF4-FFF2-40B4-BE49-F238E27FC236}">
                  <a16:creationId xmlns:a16="http://schemas.microsoft.com/office/drawing/2014/main" id="{AD0E2655-81EF-3F48-EFB3-1748A90884B7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1" name="Rechteck 420">
              <a:extLst>
                <a:ext uri="{FF2B5EF4-FFF2-40B4-BE49-F238E27FC236}">
                  <a16:creationId xmlns:a16="http://schemas.microsoft.com/office/drawing/2014/main" id="{72D66D5C-21F8-63CA-7CF5-123E645C27AB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2" name="Rechteck 421">
              <a:extLst>
                <a:ext uri="{FF2B5EF4-FFF2-40B4-BE49-F238E27FC236}">
                  <a16:creationId xmlns:a16="http://schemas.microsoft.com/office/drawing/2014/main" id="{B992ED52-F0F3-B390-9E53-6388582F5174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3" name="Rechteck 422">
              <a:extLst>
                <a:ext uri="{FF2B5EF4-FFF2-40B4-BE49-F238E27FC236}">
                  <a16:creationId xmlns:a16="http://schemas.microsoft.com/office/drawing/2014/main" id="{9C2DC23C-B8C8-44D5-D4D8-6337F8E131E9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4" name="Rechteck 423">
              <a:extLst>
                <a:ext uri="{FF2B5EF4-FFF2-40B4-BE49-F238E27FC236}">
                  <a16:creationId xmlns:a16="http://schemas.microsoft.com/office/drawing/2014/main" id="{41A9429F-845D-10CB-0F52-605DB871C7FA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5" name="Rechteck 424">
              <a:extLst>
                <a:ext uri="{FF2B5EF4-FFF2-40B4-BE49-F238E27FC236}">
                  <a16:creationId xmlns:a16="http://schemas.microsoft.com/office/drawing/2014/main" id="{042A4576-0E91-4CFB-2E1B-E926B54D7239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6" name="Rechteck 425">
              <a:extLst>
                <a:ext uri="{FF2B5EF4-FFF2-40B4-BE49-F238E27FC236}">
                  <a16:creationId xmlns:a16="http://schemas.microsoft.com/office/drawing/2014/main" id="{0CF7B528-3434-254C-F16C-72C0AE68EBFE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7" name="Rechteck 426">
              <a:extLst>
                <a:ext uri="{FF2B5EF4-FFF2-40B4-BE49-F238E27FC236}">
                  <a16:creationId xmlns:a16="http://schemas.microsoft.com/office/drawing/2014/main" id="{390AF538-C879-5CA3-AD89-4655493F8299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8" name="Rechteck 427">
              <a:extLst>
                <a:ext uri="{FF2B5EF4-FFF2-40B4-BE49-F238E27FC236}">
                  <a16:creationId xmlns:a16="http://schemas.microsoft.com/office/drawing/2014/main" id="{6C680832-6733-92C9-5992-4BBAF6A8170D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9" name="Rechteck 428">
              <a:extLst>
                <a:ext uri="{FF2B5EF4-FFF2-40B4-BE49-F238E27FC236}">
                  <a16:creationId xmlns:a16="http://schemas.microsoft.com/office/drawing/2014/main" id="{2C44D596-1094-96A7-8D32-3F5FBF1F3528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0" name="Rechteck 429">
              <a:extLst>
                <a:ext uri="{FF2B5EF4-FFF2-40B4-BE49-F238E27FC236}">
                  <a16:creationId xmlns:a16="http://schemas.microsoft.com/office/drawing/2014/main" id="{6C79F1B3-209C-BDB0-0CEA-989278C72C31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1" name="Rechteck 430">
              <a:extLst>
                <a:ext uri="{FF2B5EF4-FFF2-40B4-BE49-F238E27FC236}">
                  <a16:creationId xmlns:a16="http://schemas.microsoft.com/office/drawing/2014/main" id="{95088B22-48E1-4A94-684D-324AFC1A148E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2" name="Rechteck 431">
              <a:extLst>
                <a:ext uri="{FF2B5EF4-FFF2-40B4-BE49-F238E27FC236}">
                  <a16:creationId xmlns:a16="http://schemas.microsoft.com/office/drawing/2014/main" id="{975BE802-1453-6BFE-7C01-3E44D2C30B16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3" name="Rechteck 432">
              <a:extLst>
                <a:ext uri="{FF2B5EF4-FFF2-40B4-BE49-F238E27FC236}">
                  <a16:creationId xmlns:a16="http://schemas.microsoft.com/office/drawing/2014/main" id="{FF00F9FC-DD8D-F04F-26B3-7FFA0B404AEC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4" name="Rechteck 433">
              <a:extLst>
                <a:ext uri="{FF2B5EF4-FFF2-40B4-BE49-F238E27FC236}">
                  <a16:creationId xmlns:a16="http://schemas.microsoft.com/office/drawing/2014/main" id="{C79D7F3D-B38A-1290-E283-C415C620C808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5" name="Rechteck 434">
              <a:extLst>
                <a:ext uri="{FF2B5EF4-FFF2-40B4-BE49-F238E27FC236}">
                  <a16:creationId xmlns:a16="http://schemas.microsoft.com/office/drawing/2014/main" id="{46CFC94A-4E37-2C6E-371F-9B6460939209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6" name="Rechteck 435">
              <a:extLst>
                <a:ext uri="{FF2B5EF4-FFF2-40B4-BE49-F238E27FC236}">
                  <a16:creationId xmlns:a16="http://schemas.microsoft.com/office/drawing/2014/main" id="{F4502341-50AC-98A8-E0A3-298EB5A38A30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7" name="Rechteck 436">
              <a:extLst>
                <a:ext uri="{FF2B5EF4-FFF2-40B4-BE49-F238E27FC236}">
                  <a16:creationId xmlns:a16="http://schemas.microsoft.com/office/drawing/2014/main" id="{94E16D27-236E-5AC0-6FBC-8999E053E04E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8" name="Rechteck 437">
              <a:extLst>
                <a:ext uri="{FF2B5EF4-FFF2-40B4-BE49-F238E27FC236}">
                  <a16:creationId xmlns:a16="http://schemas.microsoft.com/office/drawing/2014/main" id="{24D55878-4364-18EB-74EF-2FC9DAF8F2CA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9" name="Rechteck 438">
              <a:extLst>
                <a:ext uri="{FF2B5EF4-FFF2-40B4-BE49-F238E27FC236}">
                  <a16:creationId xmlns:a16="http://schemas.microsoft.com/office/drawing/2014/main" id="{9259743C-18BA-BEAC-A65E-BAAE7BCC6AF4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0" name="Rechteck 439">
              <a:extLst>
                <a:ext uri="{FF2B5EF4-FFF2-40B4-BE49-F238E27FC236}">
                  <a16:creationId xmlns:a16="http://schemas.microsoft.com/office/drawing/2014/main" id="{2F1DEAD4-33E5-F51C-862F-E33D6783BD6A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1" name="Rechteck 440">
              <a:extLst>
                <a:ext uri="{FF2B5EF4-FFF2-40B4-BE49-F238E27FC236}">
                  <a16:creationId xmlns:a16="http://schemas.microsoft.com/office/drawing/2014/main" id="{B8AFA092-4C14-1843-17E1-CFB17F168E53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2" name="Rechteck 441">
              <a:extLst>
                <a:ext uri="{FF2B5EF4-FFF2-40B4-BE49-F238E27FC236}">
                  <a16:creationId xmlns:a16="http://schemas.microsoft.com/office/drawing/2014/main" id="{0A920DDC-6570-59BD-B8A2-8E98A7108F22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3" name="Rechteck 442">
              <a:extLst>
                <a:ext uri="{FF2B5EF4-FFF2-40B4-BE49-F238E27FC236}">
                  <a16:creationId xmlns:a16="http://schemas.microsoft.com/office/drawing/2014/main" id="{26268B05-E79F-3464-D0D8-CA28A8F65D95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4" name="Rechteck 443">
              <a:extLst>
                <a:ext uri="{FF2B5EF4-FFF2-40B4-BE49-F238E27FC236}">
                  <a16:creationId xmlns:a16="http://schemas.microsoft.com/office/drawing/2014/main" id="{13DA1B70-8A65-1074-7016-60FADB88E98D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5" name="Rechteck 444">
              <a:extLst>
                <a:ext uri="{FF2B5EF4-FFF2-40B4-BE49-F238E27FC236}">
                  <a16:creationId xmlns:a16="http://schemas.microsoft.com/office/drawing/2014/main" id="{73C55CC0-BF2C-5FE8-E4C0-5B3DF55AD5D8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6" name="Rechteck 445">
              <a:extLst>
                <a:ext uri="{FF2B5EF4-FFF2-40B4-BE49-F238E27FC236}">
                  <a16:creationId xmlns:a16="http://schemas.microsoft.com/office/drawing/2014/main" id="{7BF9EC48-6F7F-852D-28A2-CC43B95983BE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7" name="Rechteck 446">
              <a:extLst>
                <a:ext uri="{FF2B5EF4-FFF2-40B4-BE49-F238E27FC236}">
                  <a16:creationId xmlns:a16="http://schemas.microsoft.com/office/drawing/2014/main" id="{FBD4F565-465B-8C86-A7D2-D4EA9ECFCAB6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8" name="Rechteck 447">
              <a:extLst>
                <a:ext uri="{FF2B5EF4-FFF2-40B4-BE49-F238E27FC236}">
                  <a16:creationId xmlns:a16="http://schemas.microsoft.com/office/drawing/2014/main" id="{765C6537-8CE4-E1D3-993D-BD0AC01B7118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9" name="Rechteck 448">
              <a:extLst>
                <a:ext uri="{FF2B5EF4-FFF2-40B4-BE49-F238E27FC236}">
                  <a16:creationId xmlns:a16="http://schemas.microsoft.com/office/drawing/2014/main" id="{EBD5E735-286A-3D3D-E950-56331DC28CD2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0" name="Rechteck 449">
              <a:extLst>
                <a:ext uri="{FF2B5EF4-FFF2-40B4-BE49-F238E27FC236}">
                  <a16:creationId xmlns:a16="http://schemas.microsoft.com/office/drawing/2014/main" id="{CEA31BA6-4A75-7D3C-3FD0-37652964EE54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1" name="Rechteck 450">
              <a:extLst>
                <a:ext uri="{FF2B5EF4-FFF2-40B4-BE49-F238E27FC236}">
                  <a16:creationId xmlns:a16="http://schemas.microsoft.com/office/drawing/2014/main" id="{D4C0EDBB-A5AA-9E39-FC2C-699247FD2FA1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2" name="Rechteck 451">
              <a:extLst>
                <a:ext uri="{FF2B5EF4-FFF2-40B4-BE49-F238E27FC236}">
                  <a16:creationId xmlns:a16="http://schemas.microsoft.com/office/drawing/2014/main" id="{1BC80482-9CB7-1B6A-5C57-16ED39C96CBB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3" name="Rechteck 452">
              <a:extLst>
                <a:ext uri="{FF2B5EF4-FFF2-40B4-BE49-F238E27FC236}">
                  <a16:creationId xmlns:a16="http://schemas.microsoft.com/office/drawing/2014/main" id="{1AA4C342-583E-79AD-C0B4-CD7343D9473C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4" name="Rechteck 453">
              <a:extLst>
                <a:ext uri="{FF2B5EF4-FFF2-40B4-BE49-F238E27FC236}">
                  <a16:creationId xmlns:a16="http://schemas.microsoft.com/office/drawing/2014/main" id="{A5B33B1A-3D47-79F0-F262-FD17C7B2E956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5" name="Rechteck 454">
              <a:extLst>
                <a:ext uri="{FF2B5EF4-FFF2-40B4-BE49-F238E27FC236}">
                  <a16:creationId xmlns:a16="http://schemas.microsoft.com/office/drawing/2014/main" id="{6DB223A9-3FF3-DD44-AE90-B9F87CF2F2DC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6" name="Rechteck 455">
              <a:extLst>
                <a:ext uri="{FF2B5EF4-FFF2-40B4-BE49-F238E27FC236}">
                  <a16:creationId xmlns:a16="http://schemas.microsoft.com/office/drawing/2014/main" id="{1C7C8785-ABEF-8F4F-78C1-CEFCECEA5633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7" name="Rechteck 456">
              <a:extLst>
                <a:ext uri="{FF2B5EF4-FFF2-40B4-BE49-F238E27FC236}">
                  <a16:creationId xmlns:a16="http://schemas.microsoft.com/office/drawing/2014/main" id="{49398C12-C3AA-FD28-9432-2131F2F8A030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8" name="Rechteck 457">
              <a:extLst>
                <a:ext uri="{FF2B5EF4-FFF2-40B4-BE49-F238E27FC236}">
                  <a16:creationId xmlns:a16="http://schemas.microsoft.com/office/drawing/2014/main" id="{DA86EA77-5DC8-4245-7FE2-F50AA7FF65DF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9" name="Rechteck 458">
              <a:extLst>
                <a:ext uri="{FF2B5EF4-FFF2-40B4-BE49-F238E27FC236}">
                  <a16:creationId xmlns:a16="http://schemas.microsoft.com/office/drawing/2014/main" id="{C2A88DA6-97C7-18A0-6F4E-30ADD3B38319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0" name="Rechteck 459">
              <a:extLst>
                <a:ext uri="{FF2B5EF4-FFF2-40B4-BE49-F238E27FC236}">
                  <a16:creationId xmlns:a16="http://schemas.microsoft.com/office/drawing/2014/main" id="{66D0508B-680D-8449-81F8-119FEE81C89D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1" name="Rechteck 460">
              <a:extLst>
                <a:ext uri="{FF2B5EF4-FFF2-40B4-BE49-F238E27FC236}">
                  <a16:creationId xmlns:a16="http://schemas.microsoft.com/office/drawing/2014/main" id="{EFEFCF8A-CAA6-9072-7D3C-51515A1A78BE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2" name="Rechteck 461">
              <a:extLst>
                <a:ext uri="{FF2B5EF4-FFF2-40B4-BE49-F238E27FC236}">
                  <a16:creationId xmlns:a16="http://schemas.microsoft.com/office/drawing/2014/main" id="{578C09C7-D041-BE87-A70E-0FD035509427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cxnSp>
        <p:nvCxnSpPr>
          <p:cNvPr id="463" name="Line">
            <a:extLst>
              <a:ext uri="{FF2B5EF4-FFF2-40B4-BE49-F238E27FC236}">
                <a16:creationId xmlns:a16="http://schemas.microsoft.com/office/drawing/2014/main" id="{5F525D54-2C7C-D6BC-ADE8-6892F7CEAB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11424" y="925959"/>
            <a:ext cx="2304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695400" y="1413016"/>
            <a:ext cx="5040000" cy="2232008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tIns="36000" rIns="216000" anchor="t">
            <a:noAutofit/>
          </a:bodyPr>
          <a:lstStyle>
            <a:lvl1pPr algn="l">
              <a:lnSpc>
                <a:spcPct val="90000"/>
              </a:lnSpc>
              <a:defRPr sz="3000" baseline="0"/>
            </a:lvl1pPr>
          </a:lstStyle>
          <a:p>
            <a:r>
              <a:rPr lang="en-GB"/>
              <a:t>Insert your long title of presentation here in maximal three lines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695400" y="3717032"/>
            <a:ext cx="5040000" cy="1152168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31" name="Author"/>
          <p:cNvSpPr>
            <a:spLocks noGrp="1"/>
          </p:cNvSpPr>
          <p:nvPr userDrawn="1">
            <p:ph type="body" sz="quarter" idx="14" hasCustomPrompt="1"/>
          </p:nvPr>
        </p:nvSpPr>
        <p:spPr bwMode="gray">
          <a:xfrm>
            <a:off x="695400" y="4797152"/>
            <a:ext cx="5040000" cy="296332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tIns="36000" rIns="216000"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GB"/>
              <a:t>First name Last name</a:t>
            </a:r>
          </a:p>
        </p:txBody>
      </p:sp>
      <p:sp>
        <p:nvSpPr>
          <p:cNvPr id="34" name="Department, Date"/>
          <p:cNvSpPr>
            <a:spLocks noGrp="1"/>
          </p:cNvSpPr>
          <p:nvPr userDrawn="1">
            <p:ph type="body" sz="quarter" idx="15" hasCustomPrompt="1"/>
          </p:nvPr>
        </p:nvSpPr>
        <p:spPr bwMode="gray">
          <a:xfrm>
            <a:off x="695400" y="5084952"/>
            <a:ext cx="5040000" cy="720312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/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/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/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/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/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/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/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/>
            </a:lvl9pPr>
          </a:lstStyle>
          <a:p>
            <a:pPr lvl="0"/>
            <a:r>
              <a:rPr lang="en-GB"/>
              <a:t>Department</a:t>
            </a:r>
            <a:br>
              <a:rPr lang="en-GB"/>
            </a:br>
            <a:r>
              <a:rPr lang="en-GB"/>
              <a:t>DD/MM/YYYY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32E7BE2-0590-4921-FB51-8C093BC917F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28448" y="335757"/>
            <a:ext cx="1365736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4279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|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32534F82-1506-EBFD-8238-2A3F85566F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5D8080AE-AF83-3B4F-C0DC-1D334A29B9AF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BC326249-F777-5B56-C3FA-677BDADB4DCA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22E961BF-DA7D-4A16-47E3-2C4EB81CDD92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D6DD0E49-17F5-E90D-B347-C3CF04F8A7E7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158EF7C0-5A26-3623-35A7-8FF5FD3D1A45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15A7D909-AD3B-9783-1B2B-83A76C90172A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72" name="Rechteck 171">
              <a:extLst>
                <a:ext uri="{FF2B5EF4-FFF2-40B4-BE49-F238E27FC236}">
                  <a16:creationId xmlns:a16="http://schemas.microsoft.com/office/drawing/2014/main" id="{B479E4C1-99FA-3A5A-1F27-6EC380E4A540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73" name="Rechteck 172">
              <a:extLst>
                <a:ext uri="{FF2B5EF4-FFF2-40B4-BE49-F238E27FC236}">
                  <a16:creationId xmlns:a16="http://schemas.microsoft.com/office/drawing/2014/main" id="{49F639A4-D1E6-6C4E-17B4-DD3622FD4CCA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0AB83A91-A1D3-941E-7AB9-2AE0D3ECA3F5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63CE720C-BE12-BB10-A98A-72720E664547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1ACFEF9F-C299-4C80-DB65-19CC5F22084B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E1CC0775-7794-AAAD-52F4-1BFB1FD9337F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3" name="Rechteck 212">
              <a:extLst>
                <a:ext uri="{FF2B5EF4-FFF2-40B4-BE49-F238E27FC236}">
                  <a16:creationId xmlns:a16="http://schemas.microsoft.com/office/drawing/2014/main" id="{2CFE9583-286B-87DD-1C36-94D3295EB913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47DA1C60-D5A6-721F-C767-2D5702BD5806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5" name="Rechteck 214">
              <a:extLst>
                <a:ext uri="{FF2B5EF4-FFF2-40B4-BE49-F238E27FC236}">
                  <a16:creationId xmlns:a16="http://schemas.microsoft.com/office/drawing/2014/main" id="{2F207EC8-546F-1137-E2FA-5BF0D29DF9A6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6" name="Rechteck 215">
              <a:extLst>
                <a:ext uri="{FF2B5EF4-FFF2-40B4-BE49-F238E27FC236}">
                  <a16:creationId xmlns:a16="http://schemas.microsoft.com/office/drawing/2014/main" id="{FF3FCB96-48AB-22CB-2A7B-8D2968874F24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7" name="Rechteck 216">
              <a:extLst>
                <a:ext uri="{FF2B5EF4-FFF2-40B4-BE49-F238E27FC236}">
                  <a16:creationId xmlns:a16="http://schemas.microsoft.com/office/drawing/2014/main" id="{C6C9272E-00EC-C142-527C-15B2A6AF0D53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8" name="Rechteck 217">
              <a:extLst>
                <a:ext uri="{FF2B5EF4-FFF2-40B4-BE49-F238E27FC236}">
                  <a16:creationId xmlns:a16="http://schemas.microsoft.com/office/drawing/2014/main" id="{DA855F50-BFB6-FDCB-605D-82AEB671DFE9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9" name="Rechteck 218">
              <a:extLst>
                <a:ext uri="{FF2B5EF4-FFF2-40B4-BE49-F238E27FC236}">
                  <a16:creationId xmlns:a16="http://schemas.microsoft.com/office/drawing/2014/main" id="{4281739E-E7B7-9BDB-131F-84AC8C23BA96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0" name="Rechteck 219">
              <a:extLst>
                <a:ext uri="{FF2B5EF4-FFF2-40B4-BE49-F238E27FC236}">
                  <a16:creationId xmlns:a16="http://schemas.microsoft.com/office/drawing/2014/main" id="{C04C16CB-5373-D852-FB5B-60914E7AF52A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1" name="Rechteck 220">
              <a:extLst>
                <a:ext uri="{FF2B5EF4-FFF2-40B4-BE49-F238E27FC236}">
                  <a16:creationId xmlns:a16="http://schemas.microsoft.com/office/drawing/2014/main" id="{48C4EAAC-78ED-C7D0-8211-5405B2C8ADCA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2" name="Rechteck 221">
              <a:extLst>
                <a:ext uri="{FF2B5EF4-FFF2-40B4-BE49-F238E27FC236}">
                  <a16:creationId xmlns:a16="http://schemas.microsoft.com/office/drawing/2014/main" id="{73D46493-72AD-597A-D3CC-438D81F718DC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3" name="Rechteck 222">
              <a:extLst>
                <a:ext uri="{FF2B5EF4-FFF2-40B4-BE49-F238E27FC236}">
                  <a16:creationId xmlns:a16="http://schemas.microsoft.com/office/drawing/2014/main" id="{24D8B43D-A5A2-8CBB-5495-B660467A0AAB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4" name="Rechteck 223">
              <a:extLst>
                <a:ext uri="{FF2B5EF4-FFF2-40B4-BE49-F238E27FC236}">
                  <a16:creationId xmlns:a16="http://schemas.microsoft.com/office/drawing/2014/main" id="{EB9D1010-B747-503A-8066-C5ED5BC0E590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437ABC38-73D9-6559-0A64-5E8D0CB9476E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E8E9BA53-CCD6-0513-F591-306770708630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7" name="Rechteck 226">
              <a:extLst>
                <a:ext uri="{FF2B5EF4-FFF2-40B4-BE49-F238E27FC236}">
                  <a16:creationId xmlns:a16="http://schemas.microsoft.com/office/drawing/2014/main" id="{1468DA82-BBB6-29B8-F453-58AD471F1255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43263AA6-23B0-7397-E8C2-0EE9F0D881EB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9" name="Rechteck 228">
              <a:extLst>
                <a:ext uri="{FF2B5EF4-FFF2-40B4-BE49-F238E27FC236}">
                  <a16:creationId xmlns:a16="http://schemas.microsoft.com/office/drawing/2014/main" id="{F661DD01-F5F0-B43E-E1FF-D13097785BF3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0" name="Rechteck 229">
              <a:extLst>
                <a:ext uri="{FF2B5EF4-FFF2-40B4-BE49-F238E27FC236}">
                  <a16:creationId xmlns:a16="http://schemas.microsoft.com/office/drawing/2014/main" id="{821932BF-F2C0-F6A2-BE67-A123A05AE1CC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1" name="Rechteck 230">
              <a:extLst>
                <a:ext uri="{FF2B5EF4-FFF2-40B4-BE49-F238E27FC236}">
                  <a16:creationId xmlns:a16="http://schemas.microsoft.com/office/drawing/2014/main" id="{0B003E75-1D77-183D-6E22-FE16A2596159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2" name="Rechteck 231">
              <a:extLst>
                <a:ext uri="{FF2B5EF4-FFF2-40B4-BE49-F238E27FC236}">
                  <a16:creationId xmlns:a16="http://schemas.microsoft.com/office/drawing/2014/main" id="{96DEAB5D-90E2-4153-6B77-EA5AD8E0BE61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3" name="Rechteck 232">
              <a:extLst>
                <a:ext uri="{FF2B5EF4-FFF2-40B4-BE49-F238E27FC236}">
                  <a16:creationId xmlns:a16="http://schemas.microsoft.com/office/drawing/2014/main" id="{41168525-4BE4-965A-64B3-8819FA9D79C9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4" name="Rechteck 233">
              <a:extLst>
                <a:ext uri="{FF2B5EF4-FFF2-40B4-BE49-F238E27FC236}">
                  <a16:creationId xmlns:a16="http://schemas.microsoft.com/office/drawing/2014/main" id="{7E83C9FF-28AA-B4FE-F794-48A93886CA5B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5" name="Rechteck 234">
              <a:extLst>
                <a:ext uri="{FF2B5EF4-FFF2-40B4-BE49-F238E27FC236}">
                  <a16:creationId xmlns:a16="http://schemas.microsoft.com/office/drawing/2014/main" id="{E7462BBA-675E-BBCB-4A30-6CC137FF9F79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6" name="Rechteck 235">
              <a:extLst>
                <a:ext uri="{FF2B5EF4-FFF2-40B4-BE49-F238E27FC236}">
                  <a16:creationId xmlns:a16="http://schemas.microsoft.com/office/drawing/2014/main" id="{57AF37C3-247E-1FBD-2BA4-784ABFE9A93A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7" name="Rechteck 236">
              <a:extLst>
                <a:ext uri="{FF2B5EF4-FFF2-40B4-BE49-F238E27FC236}">
                  <a16:creationId xmlns:a16="http://schemas.microsoft.com/office/drawing/2014/main" id="{A8BF931C-C333-6389-150F-601F175977D1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8" name="Rechteck 237">
              <a:extLst>
                <a:ext uri="{FF2B5EF4-FFF2-40B4-BE49-F238E27FC236}">
                  <a16:creationId xmlns:a16="http://schemas.microsoft.com/office/drawing/2014/main" id="{702D6551-24FF-FF39-C272-C7232F56CBA7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9" name="Rechteck 238">
              <a:extLst>
                <a:ext uri="{FF2B5EF4-FFF2-40B4-BE49-F238E27FC236}">
                  <a16:creationId xmlns:a16="http://schemas.microsoft.com/office/drawing/2014/main" id="{411626C7-335D-D874-13DF-A76A12897459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0" name="Rechteck 239">
              <a:extLst>
                <a:ext uri="{FF2B5EF4-FFF2-40B4-BE49-F238E27FC236}">
                  <a16:creationId xmlns:a16="http://schemas.microsoft.com/office/drawing/2014/main" id="{8B148FB8-C0C0-A645-83CE-67E19139A152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1" name="Rechteck 240">
              <a:extLst>
                <a:ext uri="{FF2B5EF4-FFF2-40B4-BE49-F238E27FC236}">
                  <a16:creationId xmlns:a16="http://schemas.microsoft.com/office/drawing/2014/main" id="{7BA5B129-73E9-C5AB-3398-4E8FD3FE4084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2" name="Rechteck 241">
              <a:extLst>
                <a:ext uri="{FF2B5EF4-FFF2-40B4-BE49-F238E27FC236}">
                  <a16:creationId xmlns:a16="http://schemas.microsoft.com/office/drawing/2014/main" id="{6D877FEF-E81B-65FC-FEBC-62A8C582CB5B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3" name="Rechteck 242">
              <a:extLst>
                <a:ext uri="{FF2B5EF4-FFF2-40B4-BE49-F238E27FC236}">
                  <a16:creationId xmlns:a16="http://schemas.microsoft.com/office/drawing/2014/main" id="{94099468-B996-CC9D-69C1-2D7CAA5BD129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4" name="Rechteck 243">
              <a:extLst>
                <a:ext uri="{FF2B5EF4-FFF2-40B4-BE49-F238E27FC236}">
                  <a16:creationId xmlns:a16="http://schemas.microsoft.com/office/drawing/2014/main" id="{F4FA763D-3005-F2F4-10A0-ED8F132E79AE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5" name="Rechteck 244">
              <a:extLst>
                <a:ext uri="{FF2B5EF4-FFF2-40B4-BE49-F238E27FC236}">
                  <a16:creationId xmlns:a16="http://schemas.microsoft.com/office/drawing/2014/main" id="{29682364-1D4A-FB00-BA89-4D76DE584234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6" name="Rechteck 245">
              <a:extLst>
                <a:ext uri="{FF2B5EF4-FFF2-40B4-BE49-F238E27FC236}">
                  <a16:creationId xmlns:a16="http://schemas.microsoft.com/office/drawing/2014/main" id="{B58D876E-3793-7EFA-AA5B-00125CA374E0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7" name="Rechteck 246">
              <a:extLst>
                <a:ext uri="{FF2B5EF4-FFF2-40B4-BE49-F238E27FC236}">
                  <a16:creationId xmlns:a16="http://schemas.microsoft.com/office/drawing/2014/main" id="{80191F52-E13B-72FD-2E75-6B595EC2665C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8" name="Rechteck 247">
              <a:extLst>
                <a:ext uri="{FF2B5EF4-FFF2-40B4-BE49-F238E27FC236}">
                  <a16:creationId xmlns:a16="http://schemas.microsoft.com/office/drawing/2014/main" id="{C9F244E1-BF86-3DF8-9A58-4B02584B7426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9" name="Rechteck 248">
              <a:extLst>
                <a:ext uri="{FF2B5EF4-FFF2-40B4-BE49-F238E27FC236}">
                  <a16:creationId xmlns:a16="http://schemas.microsoft.com/office/drawing/2014/main" id="{D14EE24A-F952-5130-4FB5-2FBAEC086821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0" name="Rechteck 249">
              <a:extLst>
                <a:ext uri="{FF2B5EF4-FFF2-40B4-BE49-F238E27FC236}">
                  <a16:creationId xmlns:a16="http://schemas.microsoft.com/office/drawing/2014/main" id="{F8E5A96D-8D8A-97F5-96D2-399E425F19FB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1" name="Rechteck 250">
              <a:extLst>
                <a:ext uri="{FF2B5EF4-FFF2-40B4-BE49-F238E27FC236}">
                  <a16:creationId xmlns:a16="http://schemas.microsoft.com/office/drawing/2014/main" id="{EF7C7DD9-2BB0-1E23-AC5B-9FAD412BD337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2" name="Rechteck 251">
              <a:extLst>
                <a:ext uri="{FF2B5EF4-FFF2-40B4-BE49-F238E27FC236}">
                  <a16:creationId xmlns:a16="http://schemas.microsoft.com/office/drawing/2014/main" id="{AF107BAA-784B-7CF0-8A0A-F5B4CAA7DF03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3" name="Rechteck 252">
              <a:extLst>
                <a:ext uri="{FF2B5EF4-FFF2-40B4-BE49-F238E27FC236}">
                  <a16:creationId xmlns:a16="http://schemas.microsoft.com/office/drawing/2014/main" id="{F2FE2ED3-05EF-3D21-6A3A-54E4430BBBAB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4" name="Rechteck 253">
              <a:extLst>
                <a:ext uri="{FF2B5EF4-FFF2-40B4-BE49-F238E27FC236}">
                  <a16:creationId xmlns:a16="http://schemas.microsoft.com/office/drawing/2014/main" id="{36EE0479-6AF7-23B0-9143-1E7D473986E1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5" name="Rechteck 254">
              <a:extLst>
                <a:ext uri="{FF2B5EF4-FFF2-40B4-BE49-F238E27FC236}">
                  <a16:creationId xmlns:a16="http://schemas.microsoft.com/office/drawing/2014/main" id="{46634663-152C-3F16-7240-37D328C5B56F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8EBB1F17-D396-0307-26C4-B269910A49B1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23D2124E-93E5-E21B-5687-B86DDB906490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A1BFEADB-AF63-D874-2550-09EFE52467ED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F6875E95-249A-A482-36DD-1081407297C5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E5F521E5-C95D-650A-0870-FFDBB97B60BC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5FFF7890-7927-791B-DEC5-D44A8078A242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ACD3E02D-4E72-71CE-B37B-B1823D43002B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D17B773B-4EA4-4C93-EA2D-459E5A69C1F3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5DD5E1CE-A44C-223C-73B6-2F75D76784DA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48A8B844-BE83-034C-D901-8B4999184DE2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4695CB49-EDC9-1DA0-7DA9-1DEC526A17EC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66CAA2D2-895B-8940-7E52-BBEBCDEF8B73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B53D8AC4-8D17-338E-149D-BCC53BE8B5B7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0B1E8C07-A0C0-61EB-58F6-63A873E0188D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0" name="Rechteck 269">
              <a:extLst>
                <a:ext uri="{FF2B5EF4-FFF2-40B4-BE49-F238E27FC236}">
                  <a16:creationId xmlns:a16="http://schemas.microsoft.com/office/drawing/2014/main" id="{0C3C644C-1654-C9C4-A20F-414EB9929FAB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1" name="Rechteck 270">
              <a:extLst>
                <a:ext uri="{FF2B5EF4-FFF2-40B4-BE49-F238E27FC236}">
                  <a16:creationId xmlns:a16="http://schemas.microsoft.com/office/drawing/2014/main" id="{3BA8B1E7-9033-A636-6C35-71F27C815723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15FC7DDE-2878-6F09-C189-8E52B1220099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DA75147D-1D80-4CE1-D090-7A971D567216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EE9B3972-0150-DD80-45C8-A3212272D6A1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DE2D9045-F74E-1478-3EE8-00DE9D255A45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5FCE645C-4519-5755-AD97-FE310E5605E4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D74B9EDC-D7B0-A1C0-9654-18BD4185ACEE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D6463FFD-8AA6-5995-495C-77CA3159912B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93D6D3A8-B445-981B-587E-0B5323834F3D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F96E58A7-6D5A-538E-9006-8230B2F74944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AF4517F7-E5FD-D8EF-836B-5716F5C5A5FA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8A5B91A1-403C-83A8-33B4-A70A055AAA55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3" name="Rechteck 282">
              <a:extLst>
                <a:ext uri="{FF2B5EF4-FFF2-40B4-BE49-F238E27FC236}">
                  <a16:creationId xmlns:a16="http://schemas.microsoft.com/office/drawing/2014/main" id="{2E28C4FC-DA87-BEF0-4A16-9B5B34053824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5E592081-8E7C-EB64-94D5-E97C655691B0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97B31262-C004-1B77-F6B5-4A860776D4AC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055FC7A0-0700-5460-D215-DE79D3C13109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FC2029D4-6CB4-E460-E1B5-1F91D006CB75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FC1C4111-69C1-BC9C-B332-8E3A700CA0B7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5434EB44-A966-91E3-3032-FF9136855CEB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7575E3BC-19E2-DE93-EB83-A5AAE10708C3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50762871-F1DA-FB45-2F50-78F99EC73BEB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095C8337-DB1F-09E5-ED29-CD396B2CA4BF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735E28DB-B140-44A6-B165-5F6E5F7D16D5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A7916FD5-974C-0ABE-6F9F-4DC38722AD66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31C32AC5-8088-58B8-F758-9122FADDE40C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9A6753EC-91CB-BCE6-1BAA-4B9825B2E428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EB924952-E665-EC37-DAA1-CF6D07AFDADF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440850A6-C8B6-970B-F0B8-9BB820BD1698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E101BA5C-0696-874D-2424-E986E0CD6556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B5473C80-F860-7B10-EDF2-21F0718ACBF4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399EF873-220F-959C-5A9F-7504E462C386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0092FE3C-1F32-990A-8E2D-6617A13047E4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340A177D-CEC2-35A6-6637-BA783D0AA91A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8D9A015C-D984-D8EF-B43D-4A5D7CEC39B8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8F1D5FE6-9BF6-23A4-3875-0C03DC62787C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1AF14334-ED89-DC4D-A747-2A3149E95403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AF380567-1BEF-D144-E6CE-AD87A8FB1A87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A48469E2-8004-7AE7-9209-AFA2A99C3AAC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0DE39E82-0D89-D957-ECB4-063D88A8E311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2C195A2A-3F2C-046A-31BA-EDA65ABA684C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63BADE9B-4EC8-6FB4-83AC-8597CBC2FFA9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F94EC168-956C-0905-4669-1E5F3200407C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06BD54F1-F400-A51D-70B0-949B4AE5432B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1C9B8F9D-423B-53C5-7031-C0F29D2A07CF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BD9D6A2F-7F82-AA2C-B46B-F1D35116F43B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B42B637F-B697-A05B-E506-8582E04F5063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386C7AB2-3DB7-B8B0-8F8E-932BF77798B5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DF2C3921-A6EE-1564-8EB6-86E54CAE2F37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9A291F76-F9C0-4F1F-322B-F8C7B8D2649F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FA125E10-7CAF-F526-8FEC-E27E7FDC9326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5A3BF2D0-6A06-F29A-3657-BA90B3703F17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25F71FB4-D6B8-A0FE-9672-6632D2E1258C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A652998C-3EC7-BBB5-6D2F-5E7C1F96362B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09EAA50E-0B31-AC04-F6D6-F10E52B9F4E5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C525EE89-11AE-229F-69FE-298E6A89AAB7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FC309F6C-B597-5BCB-27FC-DA7C41A614DD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C0F13427-A1DE-89C9-F1A3-6998F03DFE5D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75568E60-1C8A-E7DE-1D3A-87ED86E984CF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887AF5E4-682A-B89B-E9D7-8AC515F58250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9E2B0B3C-85E5-CE06-F36C-6B63B36DADCC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5B3B5E18-1BD3-A166-84B7-EC6854E6F119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A64AEAE6-889A-8031-4AF7-77A36D6C04F5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7949AF8C-0F4C-D570-6A0C-ABAB83C5EB5E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B8BC125B-AFFC-84D5-43B2-FC41E5B561D5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19CBFE2D-1F4A-38ED-5DC4-E3C956CAD277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A037AE53-43BB-8111-F6BC-3FF00615C29C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84CF2BAA-0E7A-1A64-738A-77538E867FB3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470FBC55-675A-4E80-4401-7ED3E9BA727D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8C92ECB3-C0F5-81EB-ACBC-6DA198F6F407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FC491929-101B-B10E-C62C-AD30B5F7DD38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C32CA8D9-07C7-BA48-B2F8-863B353E9FCC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1A9B1259-B694-CD32-C2DA-85EF65E42187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7F7A2297-390D-E084-DFAA-D415006AAF07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71144E8E-2823-61C3-D930-12801B7CDA8A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19554DE5-E0F3-3D41-472F-13F3763316CC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BBE45D6E-1506-D449-DAB8-E4AC4BC4B70D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48A90556-9999-C807-3E5E-99054EAE6657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CFFF9AE8-7FFF-642E-EA0E-252110334DB4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D00C04BB-FD84-7C92-0A17-05F4C19331D2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91A5D1AD-FAD3-8920-AA6B-881738C7A579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091D4A12-1AFA-3923-1836-D29070546D4A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5E4FC953-2CD8-1F44-0AEB-C2724625531B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1F2CCFB4-C12F-CE74-57CD-FF12D420CA89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D5889B24-014C-AACD-6704-59A4A0D5C14C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48907522-1FD0-5C35-A116-15B577F49970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6CD48130-78E2-FFE6-90D2-788927EBA5B0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1A053ED9-AF37-ECE5-EEA2-04A5D1B8EA83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94F1E6CA-38D5-6415-FECE-9FE38050D140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5FB83D34-4A22-4A04-1093-571CBFDB4AC7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845ECAF5-AD2D-B461-083C-37EFC201EA98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4774FB9A-B077-63B4-8D96-87F1C21D3B01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29B5E140-51EC-3F0D-C4CF-B7ECE78D9BBE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C9AA032B-80DC-A135-6C91-B2682CCD5754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E868F3A5-6207-CAD3-B0DB-DE755FC4DE6A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ED6F84BD-2D87-DA06-692B-51F281295878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C9E9CDD8-98DD-33DF-1E5A-7178FD8BBCA6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99C36470-3EB7-2F89-9B16-F09DF70B91D7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72FC14F1-9EB7-2DE0-6785-CA0E51AA9630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AC05846F-3741-1A74-BB34-1F2924DD54F2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51F5A38E-1326-554E-20C1-4DFE94F43BCC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A87FB715-D88F-35AC-332E-06F6F985E417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EA6CB972-20D1-B212-802B-EDB7AB98A2AE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0040422A-A05C-53B1-13CC-B636F95ED3D3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666AC9D4-7B45-E1BA-A64B-FA31E7C456CF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F9915DAC-1BD3-AE4B-F004-D5A18AEA5899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2FA6E05B-0AE3-01B2-8714-7BF9DDE18533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51E06D59-CDD0-BAB1-665B-431268EA64EA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0D353E87-C263-4055-8EE9-1F7F06FA8830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B26CB989-A5A8-620B-ACAF-43DA60181597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A6764D34-83D5-1B60-6501-E750EE85E0E9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AFBD627E-5245-6945-06F3-5CED924717FB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7866DF84-586B-A0EB-8AD1-DF720D177B2C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36D8321F-48E0-27E1-0C95-9BD7853368D5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82016D08-4B10-E41B-28D8-6384695E2775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CCCCC6CB-B481-B65E-56B0-68E3EB05EF24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DCB9DB2C-53AB-B02B-A941-F1209DF9BA9B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A18DB5F0-03F5-17CA-1D04-ECB89DC7AACF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8AFC8ABD-924D-919F-73EE-7515D9B53BA6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69F1A562-3F13-F7E3-2205-7960A4ED1078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grpSp>
        <p:nvGrpSpPr>
          <p:cNvPr id="395" name="Gruppieren 394">
            <a:extLst>
              <a:ext uri="{FF2B5EF4-FFF2-40B4-BE49-F238E27FC236}">
                <a16:creationId xmlns:a16="http://schemas.microsoft.com/office/drawing/2014/main" id="{2A2B01A3-8671-A6DB-3AD5-52305CBD43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1" y="2082829"/>
            <a:ext cx="2448000" cy="0"/>
            <a:chOff x="983432" y="2082829"/>
            <a:chExt cx="2448000" cy="0"/>
          </a:xfrm>
        </p:grpSpPr>
        <p:cxnSp>
          <p:nvCxnSpPr>
            <p:cNvPr id="396" name="Line">
              <a:extLst>
                <a:ext uri="{FF2B5EF4-FFF2-40B4-BE49-F238E27FC236}">
                  <a16:creationId xmlns:a16="http://schemas.microsoft.com/office/drawing/2014/main" id="{D5CA2A2B-3AFA-2A34-9C4F-1795B8C546F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7" name="Line">
              <a:extLst>
                <a:ext uri="{FF2B5EF4-FFF2-40B4-BE49-F238E27FC236}">
                  <a16:creationId xmlns:a16="http://schemas.microsoft.com/office/drawing/2014/main" id="{499FA9B0-41DE-42A0-0D2E-9B835D55D04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rgbClr val="519FB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8" name="Shape">
            <a:extLst>
              <a:ext uri="{FF2B5EF4-FFF2-40B4-BE49-F238E27FC236}">
                <a16:creationId xmlns:a16="http://schemas.microsoft.com/office/drawing/2014/main" id="{F5321458-CC8B-D7DB-B839-3ED0BCCC26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0848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99" name="Bildplatzhalter 398">
            <a:extLst>
              <a:ext uri="{FF2B5EF4-FFF2-40B4-BE49-F238E27FC236}">
                <a16:creationId xmlns:a16="http://schemas.microsoft.com/office/drawing/2014/main" id="{548B01D6-1A79-F4B3-0D53-2E69D8FF9D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367809" y="2061400"/>
            <a:ext cx="5760640" cy="3463099"/>
          </a:xfrm>
          <a:custGeom>
            <a:avLst/>
            <a:gdLst>
              <a:gd name="connsiteX0" fmla="*/ 5760640 w 5760640"/>
              <a:gd name="connsiteY0" fmla="*/ 0 h 3463099"/>
              <a:gd name="connsiteX1" fmla="*/ 4609453 w 5760640"/>
              <a:gd name="connsiteY1" fmla="*/ 2311556 h 3463099"/>
              <a:gd name="connsiteX2" fmla="*/ 0 w 5760640"/>
              <a:gd name="connsiteY2" fmla="*/ 3463099 h 3463099"/>
              <a:gd name="connsiteX3" fmla="*/ 0 w 5760640"/>
              <a:gd name="connsiteY3" fmla="*/ 518 h 3463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60640" h="3463099">
                <a:moveTo>
                  <a:pt x="5760640" y="0"/>
                </a:moveTo>
                <a:lnTo>
                  <a:pt x="4609453" y="2311556"/>
                </a:lnTo>
                <a:lnTo>
                  <a:pt x="0" y="3463099"/>
                </a:lnTo>
                <a:lnTo>
                  <a:pt x="0" y="518"/>
                </a:lnTo>
                <a:close/>
              </a:path>
            </a:pathLst>
          </a:custGeom>
          <a:solidFill>
            <a:srgbClr val="519FBC"/>
          </a:solidFill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391" name="Title">
            <a:extLst>
              <a:ext uri="{FF2B5EF4-FFF2-40B4-BE49-F238E27FC236}">
                <a16:creationId xmlns:a16="http://schemas.microsoft.com/office/drawing/2014/main" id="{AFE8FB08-C394-0927-1635-0D7B1B1DF06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695400" y="2564904"/>
            <a:ext cx="2952000" cy="1152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tIns="36000" rIns="216000" anchor="t">
            <a:noAutofit/>
          </a:bodyPr>
          <a:lstStyle>
            <a:lvl1pPr algn="l">
              <a:lnSpc>
                <a:spcPct val="90000"/>
              </a:lnSpc>
              <a:defRPr sz="2400"/>
            </a:lvl1pPr>
          </a:lstStyle>
          <a:p>
            <a:r>
              <a:rPr lang="en-GB"/>
              <a:t>Insert your long title here in max. three lines</a:t>
            </a:r>
          </a:p>
        </p:txBody>
      </p:sp>
      <p:sp>
        <p:nvSpPr>
          <p:cNvPr id="392" name="Subtitle 2">
            <a:extLst>
              <a:ext uri="{FF2B5EF4-FFF2-40B4-BE49-F238E27FC236}">
                <a16:creationId xmlns:a16="http://schemas.microsoft.com/office/drawing/2014/main" id="{2C73C20C-0C65-985B-DA85-E7C67365D3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400" y="3717032"/>
            <a:ext cx="2952000" cy="1202385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393" name="Author">
            <a:extLst>
              <a:ext uri="{FF2B5EF4-FFF2-40B4-BE49-F238E27FC236}">
                <a16:creationId xmlns:a16="http://schemas.microsoft.com/office/drawing/2014/main" id="{B9D7B0DE-954C-8A3D-EF54-7991A0A4CE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400" y="4869160"/>
            <a:ext cx="2952000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GB"/>
              <a:t>First name Last name</a:t>
            </a:r>
          </a:p>
        </p:txBody>
      </p:sp>
      <p:sp>
        <p:nvSpPr>
          <p:cNvPr id="394" name="Department, Date">
            <a:extLst>
              <a:ext uri="{FF2B5EF4-FFF2-40B4-BE49-F238E27FC236}">
                <a16:creationId xmlns:a16="http://schemas.microsoft.com/office/drawing/2014/main" id="{ECE5E946-7FD8-F6AF-AB1B-79AA7DAF0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5085160"/>
            <a:ext cx="2952000" cy="720104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GB"/>
              <a:t>Department</a:t>
            </a:r>
            <a:br>
              <a:rPr lang="en-GB"/>
            </a:br>
            <a:r>
              <a:rPr lang="en-GB"/>
              <a:t>DD/MM/YYYY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49275C46-588D-1A19-A772-D1454E6420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28448" y="335757"/>
            <a:ext cx="1365736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2954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teboo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C975EAA-F499-14C5-039D-AAE6B34A4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2369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C975EAA-F499-14C5-039D-AAE6B34A4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">
            <a:extLst>
              <a:ext uri="{FF2B5EF4-FFF2-40B4-BE49-F238E27FC236}">
                <a16:creationId xmlns:a16="http://schemas.microsoft.com/office/drawing/2014/main" id="{688D30AF-522D-4245-9284-58DA1A6605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GB"/>
              <a:t>Insert your headline in Lato Heavy 24 pt here</a:t>
            </a:r>
          </a:p>
        </p:txBody>
      </p:sp>
      <p:sp>
        <p:nvSpPr>
          <p:cNvPr id="18" name="Shape">
            <a:extLst>
              <a:ext uri="{FF2B5EF4-FFF2-40B4-BE49-F238E27FC236}">
                <a16:creationId xmlns:a16="http://schemas.microsoft.com/office/drawing/2014/main" id="{BD5F0027-250B-42F2-867F-9FED18931B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5140717" y="1916750"/>
            <a:ext cx="5976000" cy="38882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pic>
        <p:nvPicPr>
          <p:cNvPr id="10" name="Shape">
            <a:extLst>
              <a:ext uri="{FF2B5EF4-FFF2-40B4-BE49-F238E27FC236}">
                <a16:creationId xmlns:a16="http://schemas.microsoft.com/office/drawing/2014/main" id="{5A4FDBA1-5706-4639-9AF6-B0075997EF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988718" y="1844674"/>
            <a:ext cx="8203282" cy="4327900"/>
          </a:xfrm>
          <a:prstGeom prst="rect">
            <a:avLst/>
          </a:prstGeom>
        </p:spPr>
      </p:pic>
      <p:sp>
        <p:nvSpPr>
          <p:cNvPr id="5" name="Picture Placeholder 4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196217" y="1955800"/>
            <a:ext cx="5842000" cy="3771900"/>
          </a:xfrm>
          <a:prstGeom prst="roundRect">
            <a:avLst>
              <a:gd name="adj" fmla="val 2189"/>
            </a:avLst>
          </a:prstGeom>
          <a:solidFill>
            <a:srgbClr val="D6D9DC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C839E071-7616-5600-56DC-CE85ED6560B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93F5FB56-E8F7-C3DE-AA05-291C1C7B2E8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6422AC10-4741-A3C8-1742-455DA99159F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DFD43F80-6D9E-B013-EAFE-98C07E173731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35360" y="659362"/>
            <a:ext cx="8640960" cy="360000"/>
          </a:xfrm>
          <a:prstGeom prst="rect">
            <a:avLst/>
          </a:prstGeom>
        </p:spPr>
        <p:txBody>
          <a:bodyPr wrap="none"/>
          <a:lstStyle>
            <a:lvl1pPr marL="0" indent="0" algn="l"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E100AFBF-E3D5-66C8-841D-DACF0EADC25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3" y="2060575"/>
            <a:ext cx="3457576" cy="4032250"/>
          </a:xfrm>
          <a:prstGeom prst="rect">
            <a:avLst/>
          </a:prstGeom>
        </p:spPr>
        <p:txBody>
          <a:bodyPr anchor="t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200"/>
            </a:lvl5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E56047C4-1C1F-9783-C499-D5112361786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87488" y="6525344"/>
            <a:ext cx="9217024" cy="14401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5pPr>
            <a:lvl6pPr marL="0" indent="0">
              <a:spcBef>
                <a:spcPts val="0"/>
              </a:spcBef>
              <a:buNone/>
              <a:defRPr sz="900"/>
            </a:lvl6pPr>
            <a:lvl7pPr marL="0" indent="0">
              <a:spcBef>
                <a:spcPts val="0"/>
              </a:spcBef>
              <a:buNone/>
              <a:defRPr sz="900"/>
            </a:lvl7pPr>
            <a:lvl8pPr marL="0" indent="0">
              <a:spcBef>
                <a:spcPts val="0"/>
              </a:spcBef>
              <a:buNone/>
              <a:defRPr sz="900"/>
            </a:lvl8pPr>
            <a:lvl9pPr marL="0" indent="0">
              <a:spcBef>
                <a:spcPts val="0"/>
              </a:spcBef>
              <a:buNone/>
              <a:defRPr sz="900"/>
            </a:lvl9pPr>
          </a:lstStyle>
          <a:p>
            <a:pPr lvl="0"/>
            <a:r>
              <a:rPr lang="de-DE"/>
              <a:t>Source, Footnote</a:t>
            </a:r>
            <a:endParaRPr lang="en-GB"/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4149DAE3-47E5-37F3-2B47-62F1F596A7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68768" y="-171392"/>
            <a:ext cx="12025408" cy="6264688"/>
            <a:chOff x="-168768" y="-171392"/>
            <a:chExt cx="12025408" cy="6264688"/>
          </a:xfrm>
        </p:grpSpPr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23EC7CE1-DB26-2214-392D-1D04CFEC87DF}"/>
                </a:ext>
              </a:extLst>
            </p:cNvPr>
            <p:cNvCxnSpPr/>
            <p:nvPr userDrawn="1"/>
          </p:nvCxnSpPr>
          <p:spPr bwMode="gray">
            <a:xfrm>
              <a:off x="33536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AEB0416A-EB32-7D57-8EA3-D8DCD773DFEB}"/>
                </a:ext>
              </a:extLst>
            </p:cNvPr>
            <p:cNvCxnSpPr/>
            <p:nvPr userDrawn="1"/>
          </p:nvCxnSpPr>
          <p:spPr bwMode="gray">
            <a:xfrm>
              <a:off x="436780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A246B80E-EE50-03E2-1108-82B454969762}"/>
                </a:ext>
              </a:extLst>
            </p:cNvPr>
            <p:cNvCxnSpPr/>
            <p:nvPr userDrawn="1"/>
          </p:nvCxnSpPr>
          <p:spPr bwMode="gray">
            <a:xfrm>
              <a:off x="494387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363363DE-A831-9358-5B2E-5E5582E4B880}"/>
                </a:ext>
              </a:extLst>
            </p:cNvPr>
            <p:cNvCxnSpPr/>
            <p:nvPr userDrawn="1"/>
          </p:nvCxnSpPr>
          <p:spPr bwMode="gray">
            <a:xfrm>
              <a:off x="667206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EDA38B7A-04F2-4D26-790B-9A2BF33ED1B0}"/>
                </a:ext>
              </a:extLst>
            </p:cNvPr>
            <p:cNvCxnSpPr/>
            <p:nvPr userDrawn="1"/>
          </p:nvCxnSpPr>
          <p:spPr bwMode="gray">
            <a:xfrm>
              <a:off x="609600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CFBF006B-3EDA-9447-4AE4-A909818E8D32}"/>
                </a:ext>
              </a:extLst>
            </p:cNvPr>
            <p:cNvCxnSpPr/>
            <p:nvPr userDrawn="1"/>
          </p:nvCxnSpPr>
          <p:spPr bwMode="gray">
            <a:xfrm>
              <a:off x="724812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A1E8EB84-AAF0-4AF4-58EE-94EC2C503404}"/>
                </a:ext>
              </a:extLst>
            </p:cNvPr>
            <p:cNvCxnSpPr/>
            <p:nvPr userDrawn="1"/>
          </p:nvCxnSpPr>
          <p:spPr bwMode="gray">
            <a:xfrm>
              <a:off x="782419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>
              <a:extLst>
                <a:ext uri="{FF2B5EF4-FFF2-40B4-BE49-F238E27FC236}">
                  <a16:creationId xmlns:a16="http://schemas.microsoft.com/office/drawing/2014/main" id="{86C45C0E-2487-EA80-063A-463BA753F09E}"/>
                </a:ext>
              </a:extLst>
            </p:cNvPr>
            <p:cNvCxnSpPr/>
            <p:nvPr userDrawn="1"/>
          </p:nvCxnSpPr>
          <p:spPr bwMode="gray">
            <a:xfrm>
              <a:off x="840025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>
              <a:extLst>
                <a:ext uri="{FF2B5EF4-FFF2-40B4-BE49-F238E27FC236}">
                  <a16:creationId xmlns:a16="http://schemas.microsoft.com/office/drawing/2014/main" id="{BBDF238C-7AC0-88D4-501F-B2C36F3F92A9}"/>
                </a:ext>
              </a:extLst>
            </p:cNvPr>
            <p:cNvCxnSpPr/>
            <p:nvPr userDrawn="1"/>
          </p:nvCxnSpPr>
          <p:spPr bwMode="gray">
            <a:xfrm>
              <a:off x="897632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A5791A25-B973-52A1-2F44-905DFE1CBA31}"/>
                </a:ext>
              </a:extLst>
            </p:cNvPr>
            <p:cNvCxnSpPr/>
            <p:nvPr userDrawn="1"/>
          </p:nvCxnSpPr>
          <p:spPr bwMode="gray">
            <a:xfrm>
              <a:off x="1128057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B63F9BD9-2B45-EF42-F22A-8A27D96687F6}"/>
                </a:ext>
              </a:extLst>
            </p:cNvPr>
            <p:cNvCxnSpPr/>
            <p:nvPr userDrawn="1"/>
          </p:nvCxnSpPr>
          <p:spPr bwMode="gray">
            <a:xfrm>
              <a:off x="1185664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A6FC510-64F4-4D49-238A-E4B0D8ECD566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29665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1ABD4503-60CC-803B-3503-A15C84C80AD9}"/>
                </a:ext>
              </a:extLst>
            </p:cNvPr>
            <p:cNvCxnSpPr/>
            <p:nvPr userDrawn="1"/>
          </p:nvCxnSpPr>
          <p:spPr bwMode="gray">
            <a:xfrm>
              <a:off x="321568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r Verbinder 64">
              <a:extLst>
                <a:ext uri="{FF2B5EF4-FFF2-40B4-BE49-F238E27FC236}">
                  <a16:creationId xmlns:a16="http://schemas.microsoft.com/office/drawing/2014/main" id="{5AD77527-19EE-FF14-CE36-4116EFBC650A}"/>
                </a:ext>
              </a:extLst>
            </p:cNvPr>
            <p:cNvCxnSpPr/>
            <p:nvPr userDrawn="1"/>
          </p:nvCxnSpPr>
          <p:spPr bwMode="gray">
            <a:xfrm>
              <a:off x="379174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65">
              <a:extLst>
                <a:ext uri="{FF2B5EF4-FFF2-40B4-BE49-F238E27FC236}">
                  <a16:creationId xmlns:a16="http://schemas.microsoft.com/office/drawing/2014/main" id="{1588EBAB-5FF8-C6F5-36EE-34DED81D24CA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04" y="87272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4E3FB030-241D-50C9-DE58-70D5CC05686B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12" y="202484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B937FB0E-841A-BE77-0A88-A5088E92AE9D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68" y="605729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E20F88EE-B876-64EB-E074-5EE55C5346A7}"/>
                </a:ext>
              </a:extLst>
            </p:cNvPr>
            <p:cNvCxnSpPr/>
            <p:nvPr/>
          </p:nvCxnSpPr>
          <p:spPr bwMode="gray">
            <a:xfrm>
              <a:off x="1070451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7AF7FD2F-F9D8-6B46-F072-AD749BFF8FC2}"/>
                </a:ext>
              </a:extLst>
            </p:cNvPr>
            <p:cNvCxnSpPr/>
            <p:nvPr/>
          </p:nvCxnSpPr>
          <p:spPr bwMode="gray">
            <a:xfrm>
              <a:off x="1012844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614A4D7F-353F-F70D-79A5-504FAD86BE7C}"/>
                </a:ext>
              </a:extLst>
            </p:cNvPr>
            <p:cNvCxnSpPr/>
            <p:nvPr/>
          </p:nvCxnSpPr>
          <p:spPr bwMode="gray">
            <a:xfrm>
              <a:off x="955059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2E26EFAB-4CB1-E47F-512D-2486C9E93DEF}"/>
                </a:ext>
              </a:extLst>
            </p:cNvPr>
            <p:cNvCxnSpPr/>
            <p:nvPr/>
          </p:nvCxnSpPr>
          <p:spPr bwMode="gray">
            <a:xfrm>
              <a:off x="551973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9622AE37-F92F-AFB2-169B-4F4D86D92B78}"/>
                </a:ext>
              </a:extLst>
            </p:cNvPr>
            <p:cNvCxnSpPr/>
            <p:nvPr/>
          </p:nvCxnSpPr>
          <p:spPr bwMode="gray">
            <a:xfrm>
              <a:off x="263961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AB568B55-061D-D6CF-AE0E-86D4D317538D}"/>
                </a:ext>
              </a:extLst>
            </p:cNvPr>
            <p:cNvCxnSpPr/>
            <p:nvPr/>
          </p:nvCxnSpPr>
          <p:spPr bwMode="gray">
            <a:xfrm>
              <a:off x="206355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>
              <a:extLst>
                <a:ext uri="{FF2B5EF4-FFF2-40B4-BE49-F238E27FC236}">
                  <a16:creationId xmlns:a16="http://schemas.microsoft.com/office/drawing/2014/main" id="{35C527F2-A508-6138-BBF6-5C28C8944CA1}"/>
                </a:ext>
              </a:extLst>
            </p:cNvPr>
            <p:cNvCxnSpPr/>
            <p:nvPr/>
          </p:nvCxnSpPr>
          <p:spPr bwMode="gray">
            <a:xfrm>
              <a:off x="148748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77C3EFED-B277-8C2B-932C-DEC260900EB8}"/>
                </a:ext>
              </a:extLst>
            </p:cNvPr>
            <p:cNvCxnSpPr/>
            <p:nvPr/>
          </p:nvCxnSpPr>
          <p:spPr bwMode="gray">
            <a:xfrm>
              <a:off x="91142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>
              <a:extLst>
                <a:ext uri="{FF2B5EF4-FFF2-40B4-BE49-F238E27FC236}">
                  <a16:creationId xmlns:a16="http://schemas.microsoft.com/office/drawing/2014/main" id="{57364A8D-5776-AA09-14FC-514CD0DF9617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04" y="144878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84372EF4-8DF5-516A-F80D-70FAD56BAE97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260091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r Verbinder 78">
              <a:extLst>
                <a:ext uri="{FF2B5EF4-FFF2-40B4-BE49-F238E27FC236}">
                  <a16:creationId xmlns:a16="http://schemas.microsoft.com/office/drawing/2014/main" id="{7BBB5C24-F671-EF83-CC9E-28BA68E35FA0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17697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r Verbinder 79">
              <a:extLst>
                <a:ext uri="{FF2B5EF4-FFF2-40B4-BE49-F238E27FC236}">
                  <a16:creationId xmlns:a16="http://schemas.microsoft.com/office/drawing/2014/main" id="{1142C95A-0706-4F5E-3E8C-69281E95066A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75304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r Verbinder 80">
              <a:extLst>
                <a:ext uri="{FF2B5EF4-FFF2-40B4-BE49-F238E27FC236}">
                  <a16:creationId xmlns:a16="http://schemas.microsoft.com/office/drawing/2014/main" id="{63D5D4BC-031A-8E13-B05B-74F8B210EEB5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32910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r Verbinder 81">
              <a:extLst>
                <a:ext uri="{FF2B5EF4-FFF2-40B4-BE49-F238E27FC236}">
                  <a16:creationId xmlns:a16="http://schemas.microsoft.com/office/drawing/2014/main" id="{54D698B0-7E12-E64A-3EC1-08C5714DF664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90516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r Verbinder 82">
              <a:extLst>
                <a:ext uri="{FF2B5EF4-FFF2-40B4-BE49-F238E27FC236}">
                  <a16:creationId xmlns:a16="http://schemas.microsoft.com/office/drawing/2014/main" id="{07E6679A-CFCE-52BC-CFB9-E960B8250098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548123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18921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2" orient="horz" pos="935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pos="211">
          <p15:clr>
            <a:srgbClr val="FBAE40"/>
          </p15:clr>
        </p15:guide>
        <p15:guide id="5" pos="2389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22142F6-A193-BDEC-EDAA-B2A53A8703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4236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22142F6-A193-BDEC-EDAA-B2A53A8703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">
            <a:extLst>
              <a:ext uri="{FF2B5EF4-FFF2-40B4-BE49-F238E27FC236}">
                <a16:creationId xmlns:a16="http://schemas.microsoft.com/office/drawing/2014/main" id="{F65E210A-EEA7-42E8-8FF8-1EF5E4DDE9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GB"/>
              <a:t>Insert your headline in Lato Heavy 24 pt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5361" y="2060575"/>
            <a:ext cx="3457178" cy="4032250"/>
          </a:xfrm>
          <a:prstGeom prst="rect">
            <a:avLst/>
          </a:prstGeom>
        </p:spPr>
        <p:txBody>
          <a:bodyPr anchor="t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200"/>
            </a:lvl5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9C3A763B-E2E0-485C-B3D0-6D8C1B4FC2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5104164" y="2038655"/>
            <a:ext cx="6033780" cy="4008120"/>
          </a:xfrm>
          <a:prstGeom prst="roundRect">
            <a:avLst>
              <a:gd name="adj" fmla="val 5125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pic>
        <p:nvPicPr>
          <p:cNvPr id="10" name="Shape">
            <a:extLst>
              <a:ext uri="{FF2B5EF4-FFF2-40B4-BE49-F238E27FC236}">
                <a16:creationId xmlns:a16="http://schemas.microsoft.com/office/drawing/2014/main" id="{A69542B0-BEFE-488C-BB9A-7FA4648D38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736164" y="1916832"/>
            <a:ext cx="8400000" cy="4575713"/>
          </a:xfrm>
          <a:prstGeom prst="rect">
            <a:avLst/>
          </a:prstGeom>
        </p:spPr>
      </p:pic>
      <p:sp>
        <p:nvSpPr>
          <p:cNvPr id="5" name="Picture Placeholder 4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144815" y="2072945"/>
            <a:ext cx="5935662" cy="3914774"/>
          </a:xfrm>
          <a:prstGeom prst="roundRect">
            <a:avLst>
              <a:gd name="adj" fmla="val 5313"/>
            </a:avLst>
          </a:prstGeom>
          <a:solidFill>
            <a:srgbClr val="D6D9DC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2A7A68CC-8D46-55D7-B91D-886BE6F87EC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5977E706-B439-8796-14E4-2E8DE59A894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72C601B2-D199-F55C-ACA6-464F6F21865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60245778-35C7-4E5E-2A7A-8DC6BD36488F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9362"/>
            <a:ext cx="8640959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16" name="Source">
            <a:extLst>
              <a:ext uri="{FF2B5EF4-FFF2-40B4-BE49-F238E27FC236}">
                <a16:creationId xmlns:a16="http://schemas.microsoft.com/office/drawing/2014/main" id="{C2FCE1F4-A8F7-A398-F44C-4B6BEAE8B50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487488" y="6525000"/>
            <a:ext cx="9217024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E995F00B-BC1C-FC80-C073-A640F6BD29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68768" y="-171392"/>
            <a:ext cx="12025408" cy="6264688"/>
            <a:chOff x="-168768" y="-171392"/>
            <a:chExt cx="12025408" cy="6264688"/>
          </a:xfrm>
        </p:grpSpPr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B8370242-5927-FFF0-517B-8BA0B9235ED6}"/>
                </a:ext>
              </a:extLst>
            </p:cNvPr>
            <p:cNvCxnSpPr/>
            <p:nvPr userDrawn="1"/>
          </p:nvCxnSpPr>
          <p:spPr bwMode="gray">
            <a:xfrm>
              <a:off x="33536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83FA0570-6642-6FE7-87DC-6C043CA074AC}"/>
                </a:ext>
              </a:extLst>
            </p:cNvPr>
            <p:cNvCxnSpPr/>
            <p:nvPr userDrawn="1"/>
          </p:nvCxnSpPr>
          <p:spPr bwMode="gray">
            <a:xfrm>
              <a:off x="436780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FDC6F803-C440-7899-9BB5-0F2FED10618A}"/>
                </a:ext>
              </a:extLst>
            </p:cNvPr>
            <p:cNvCxnSpPr/>
            <p:nvPr userDrawn="1"/>
          </p:nvCxnSpPr>
          <p:spPr bwMode="gray">
            <a:xfrm>
              <a:off x="494387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52360C64-2947-8697-AC3A-8A1F1AAA6C91}"/>
                </a:ext>
              </a:extLst>
            </p:cNvPr>
            <p:cNvCxnSpPr/>
            <p:nvPr userDrawn="1"/>
          </p:nvCxnSpPr>
          <p:spPr bwMode="gray">
            <a:xfrm>
              <a:off x="667206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6DE3D029-4019-76CF-D072-B51B61320D92}"/>
                </a:ext>
              </a:extLst>
            </p:cNvPr>
            <p:cNvCxnSpPr/>
            <p:nvPr userDrawn="1"/>
          </p:nvCxnSpPr>
          <p:spPr bwMode="gray">
            <a:xfrm>
              <a:off x="609600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D9EA60B6-216C-9257-7AD2-C7AF8B8BD0EC}"/>
                </a:ext>
              </a:extLst>
            </p:cNvPr>
            <p:cNvCxnSpPr/>
            <p:nvPr userDrawn="1"/>
          </p:nvCxnSpPr>
          <p:spPr bwMode="gray">
            <a:xfrm>
              <a:off x="724812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7353378B-839B-6383-A01F-63420312D717}"/>
                </a:ext>
              </a:extLst>
            </p:cNvPr>
            <p:cNvCxnSpPr/>
            <p:nvPr userDrawn="1"/>
          </p:nvCxnSpPr>
          <p:spPr bwMode="gray">
            <a:xfrm>
              <a:off x="782419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>
              <a:extLst>
                <a:ext uri="{FF2B5EF4-FFF2-40B4-BE49-F238E27FC236}">
                  <a16:creationId xmlns:a16="http://schemas.microsoft.com/office/drawing/2014/main" id="{8B9F86EC-0784-8237-2B10-2514D58C9969}"/>
                </a:ext>
              </a:extLst>
            </p:cNvPr>
            <p:cNvCxnSpPr/>
            <p:nvPr userDrawn="1"/>
          </p:nvCxnSpPr>
          <p:spPr bwMode="gray">
            <a:xfrm>
              <a:off x="840025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>
              <a:extLst>
                <a:ext uri="{FF2B5EF4-FFF2-40B4-BE49-F238E27FC236}">
                  <a16:creationId xmlns:a16="http://schemas.microsoft.com/office/drawing/2014/main" id="{40DD8A81-86F7-CC27-2ABB-8F5C9C4F5A91}"/>
                </a:ext>
              </a:extLst>
            </p:cNvPr>
            <p:cNvCxnSpPr/>
            <p:nvPr userDrawn="1"/>
          </p:nvCxnSpPr>
          <p:spPr bwMode="gray">
            <a:xfrm>
              <a:off x="897632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07EDBF4B-3718-C249-8A6A-08FAB550BE11}"/>
                </a:ext>
              </a:extLst>
            </p:cNvPr>
            <p:cNvCxnSpPr/>
            <p:nvPr userDrawn="1"/>
          </p:nvCxnSpPr>
          <p:spPr bwMode="gray">
            <a:xfrm>
              <a:off x="1128057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485CA3F9-2B91-4D59-87DC-FA60F0167E1E}"/>
                </a:ext>
              </a:extLst>
            </p:cNvPr>
            <p:cNvCxnSpPr/>
            <p:nvPr userDrawn="1"/>
          </p:nvCxnSpPr>
          <p:spPr bwMode="gray">
            <a:xfrm>
              <a:off x="1185664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384BB178-43DB-24B6-93D0-C835F02C2421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29665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D1CA2D93-8A71-31F0-BA7E-82BA87AA5689}"/>
                </a:ext>
              </a:extLst>
            </p:cNvPr>
            <p:cNvCxnSpPr/>
            <p:nvPr userDrawn="1"/>
          </p:nvCxnSpPr>
          <p:spPr bwMode="gray">
            <a:xfrm>
              <a:off x="321568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r Verbinder 61">
              <a:extLst>
                <a:ext uri="{FF2B5EF4-FFF2-40B4-BE49-F238E27FC236}">
                  <a16:creationId xmlns:a16="http://schemas.microsoft.com/office/drawing/2014/main" id="{05932F52-E586-E46E-0A81-4171B877FF02}"/>
                </a:ext>
              </a:extLst>
            </p:cNvPr>
            <p:cNvCxnSpPr/>
            <p:nvPr userDrawn="1"/>
          </p:nvCxnSpPr>
          <p:spPr bwMode="gray">
            <a:xfrm>
              <a:off x="379174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>
              <a:extLst>
                <a:ext uri="{FF2B5EF4-FFF2-40B4-BE49-F238E27FC236}">
                  <a16:creationId xmlns:a16="http://schemas.microsoft.com/office/drawing/2014/main" id="{F5BFB1C3-488B-0D27-9761-953BE02EB547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04" y="87272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BCEE7FE3-642F-EB28-A2F0-B97DF7E223C7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12" y="202484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r Verbinder 64">
              <a:extLst>
                <a:ext uri="{FF2B5EF4-FFF2-40B4-BE49-F238E27FC236}">
                  <a16:creationId xmlns:a16="http://schemas.microsoft.com/office/drawing/2014/main" id="{F8F8A872-54E9-CE55-BD7B-232761D50B04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68" y="605729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65">
              <a:extLst>
                <a:ext uri="{FF2B5EF4-FFF2-40B4-BE49-F238E27FC236}">
                  <a16:creationId xmlns:a16="http://schemas.microsoft.com/office/drawing/2014/main" id="{F08B2E03-9C04-2F64-7E93-BDEC21D258F3}"/>
                </a:ext>
              </a:extLst>
            </p:cNvPr>
            <p:cNvCxnSpPr/>
            <p:nvPr/>
          </p:nvCxnSpPr>
          <p:spPr bwMode="gray">
            <a:xfrm>
              <a:off x="1070451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C65B4CD0-2F21-BEBB-B3A3-F3BB0FE62F2E}"/>
                </a:ext>
              </a:extLst>
            </p:cNvPr>
            <p:cNvCxnSpPr/>
            <p:nvPr/>
          </p:nvCxnSpPr>
          <p:spPr bwMode="gray">
            <a:xfrm>
              <a:off x="1012844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60440B83-2937-1F96-3363-A57E73C0E3F6}"/>
                </a:ext>
              </a:extLst>
            </p:cNvPr>
            <p:cNvCxnSpPr/>
            <p:nvPr/>
          </p:nvCxnSpPr>
          <p:spPr bwMode="gray">
            <a:xfrm>
              <a:off x="955059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31939BA2-8D24-B2E5-B51F-5F9F1D0968A1}"/>
                </a:ext>
              </a:extLst>
            </p:cNvPr>
            <p:cNvCxnSpPr/>
            <p:nvPr/>
          </p:nvCxnSpPr>
          <p:spPr bwMode="gray">
            <a:xfrm>
              <a:off x="551973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816CAB54-9C37-E76C-CCC4-CEC4FAAD906E}"/>
                </a:ext>
              </a:extLst>
            </p:cNvPr>
            <p:cNvCxnSpPr/>
            <p:nvPr/>
          </p:nvCxnSpPr>
          <p:spPr bwMode="gray">
            <a:xfrm>
              <a:off x="263961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DDA5E63A-F88C-A1F8-525A-9E5F201A38D1}"/>
                </a:ext>
              </a:extLst>
            </p:cNvPr>
            <p:cNvCxnSpPr/>
            <p:nvPr/>
          </p:nvCxnSpPr>
          <p:spPr bwMode="gray">
            <a:xfrm>
              <a:off x="206355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5E64FF2A-F367-D996-4898-FF2FB5C2018D}"/>
                </a:ext>
              </a:extLst>
            </p:cNvPr>
            <p:cNvCxnSpPr/>
            <p:nvPr/>
          </p:nvCxnSpPr>
          <p:spPr bwMode="gray">
            <a:xfrm>
              <a:off x="148748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56030E14-B833-76FB-91DA-4221CFF467F1}"/>
                </a:ext>
              </a:extLst>
            </p:cNvPr>
            <p:cNvCxnSpPr/>
            <p:nvPr/>
          </p:nvCxnSpPr>
          <p:spPr bwMode="gray">
            <a:xfrm>
              <a:off x="91142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E445D4A0-BFBF-BD8B-1A02-B8C0F8F4EF2D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04" y="144878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>
              <a:extLst>
                <a:ext uri="{FF2B5EF4-FFF2-40B4-BE49-F238E27FC236}">
                  <a16:creationId xmlns:a16="http://schemas.microsoft.com/office/drawing/2014/main" id="{C64CE315-9B2F-B636-2758-4BC7A8744E3E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260091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D760A2BB-212A-903F-C3DE-767EF871438B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17697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>
              <a:extLst>
                <a:ext uri="{FF2B5EF4-FFF2-40B4-BE49-F238E27FC236}">
                  <a16:creationId xmlns:a16="http://schemas.microsoft.com/office/drawing/2014/main" id="{2F6C7C33-9064-4A65-F17F-4FFC1097EB1D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75304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C9306C92-7BB4-631B-A698-103F12C025A8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32910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r Verbinder 78">
              <a:extLst>
                <a:ext uri="{FF2B5EF4-FFF2-40B4-BE49-F238E27FC236}">
                  <a16:creationId xmlns:a16="http://schemas.microsoft.com/office/drawing/2014/main" id="{20036241-7B3E-B4B2-0715-22481273338F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90516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r Verbinder 79">
              <a:extLst>
                <a:ext uri="{FF2B5EF4-FFF2-40B4-BE49-F238E27FC236}">
                  <a16:creationId xmlns:a16="http://schemas.microsoft.com/office/drawing/2014/main" id="{A6EEC2A0-A2CB-C552-3F2D-24AB9604C3C5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548123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771583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mart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F2F25FA-910C-235A-909C-9FD78D6B67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168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F2F25FA-910C-235A-909C-9FD78D6B67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">
            <a:extLst>
              <a:ext uri="{FF2B5EF4-FFF2-40B4-BE49-F238E27FC236}">
                <a16:creationId xmlns:a16="http://schemas.microsoft.com/office/drawing/2014/main" id="{AA7BA5C5-D7C9-4AD6-8D12-B312C46B26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GB"/>
              <a:t>Insert your headline in Lato Heavy 24 pt here</a:t>
            </a:r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93C2BED1-C288-4362-A0E0-C779978ACA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7616554" y="1487274"/>
            <a:ext cx="2164080" cy="4549140"/>
          </a:xfrm>
          <a:prstGeom prst="roundRect">
            <a:avLst>
              <a:gd name="adj" fmla="val 13146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5361" y="2060575"/>
            <a:ext cx="5184575" cy="4032250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pic>
        <p:nvPicPr>
          <p:cNvPr id="18" name="Shape">
            <a:extLst>
              <a:ext uri="{FF2B5EF4-FFF2-40B4-BE49-F238E27FC236}">
                <a16:creationId xmlns:a16="http://schemas.microsoft.com/office/drawing/2014/main" id="{7F09AB9E-D3D1-4BF0-9135-508497D860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144714" y="1449492"/>
            <a:ext cx="3096000" cy="4787820"/>
          </a:xfrm>
          <a:prstGeom prst="rect">
            <a:avLst/>
          </a:prstGeom>
        </p:spPr>
      </p:pic>
      <p:sp>
        <p:nvSpPr>
          <p:cNvPr id="5" name="Picture Placeholder 4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7662274" y="1540614"/>
            <a:ext cx="2057400" cy="4450080"/>
          </a:xfrm>
          <a:prstGeom prst="roundRect">
            <a:avLst>
              <a:gd name="adj" fmla="val 12964"/>
            </a:avLst>
          </a:prstGeom>
          <a:solidFill>
            <a:srgbClr val="D6D9DC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CA6E3203-B861-EDBE-735C-EEAED71A1AB6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DEA6A808-8CD3-3567-8CB7-AADE7C63889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24AB7A57-CEE8-00D4-DC2C-A6097490F6A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2EB3D1D3-2D46-1B41-0DFB-C4EFF62C683F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9362"/>
            <a:ext cx="8640959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15" name="Source">
            <a:extLst>
              <a:ext uri="{FF2B5EF4-FFF2-40B4-BE49-F238E27FC236}">
                <a16:creationId xmlns:a16="http://schemas.microsoft.com/office/drawing/2014/main" id="{DC9177DA-21F1-AE44-ABAB-7A361B1B81D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487488" y="6525000"/>
            <a:ext cx="9217024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28144CDB-AFAA-E437-AE7D-8C4CE9C4F4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68768" y="-171392"/>
            <a:ext cx="12025408" cy="6264688"/>
            <a:chOff x="-168768" y="-171392"/>
            <a:chExt cx="12025408" cy="6264688"/>
          </a:xfrm>
        </p:grpSpPr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62CE97B5-021A-DA00-505F-C839164ED70E}"/>
                </a:ext>
              </a:extLst>
            </p:cNvPr>
            <p:cNvCxnSpPr/>
            <p:nvPr userDrawn="1"/>
          </p:nvCxnSpPr>
          <p:spPr bwMode="gray">
            <a:xfrm>
              <a:off x="33536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7896CFE7-345D-7A9E-8EFA-7C74B371BBF3}"/>
                </a:ext>
              </a:extLst>
            </p:cNvPr>
            <p:cNvCxnSpPr/>
            <p:nvPr userDrawn="1"/>
          </p:nvCxnSpPr>
          <p:spPr bwMode="gray">
            <a:xfrm>
              <a:off x="436780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86D0C055-9784-6B56-C06B-73D7046D453C}"/>
                </a:ext>
              </a:extLst>
            </p:cNvPr>
            <p:cNvCxnSpPr/>
            <p:nvPr userDrawn="1"/>
          </p:nvCxnSpPr>
          <p:spPr bwMode="gray">
            <a:xfrm>
              <a:off x="494387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1C6DBEBA-7FFC-CCA7-AC96-473D3D6BC2E9}"/>
                </a:ext>
              </a:extLst>
            </p:cNvPr>
            <p:cNvCxnSpPr/>
            <p:nvPr userDrawn="1"/>
          </p:nvCxnSpPr>
          <p:spPr bwMode="gray">
            <a:xfrm>
              <a:off x="667206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39962316-461F-3B7D-ABA0-BDE246039C46}"/>
                </a:ext>
              </a:extLst>
            </p:cNvPr>
            <p:cNvCxnSpPr/>
            <p:nvPr userDrawn="1"/>
          </p:nvCxnSpPr>
          <p:spPr bwMode="gray">
            <a:xfrm>
              <a:off x="609600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FC788843-9E5D-0079-8D56-5DDD4B093076}"/>
                </a:ext>
              </a:extLst>
            </p:cNvPr>
            <p:cNvCxnSpPr/>
            <p:nvPr userDrawn="1"/>
          </p:nvCxnSpPr>
          <p:spPr bwMode="gray">
            <a:xfrm>
              <a:off x="724812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66E723A7-7558-6B13-A38A-BD68B0461CF0}"/>
                </a:ext>
              </a:extLst>
            </p:cNvPr>
            <p:cNvCxnSpPr/>
            <p:nvPr userDrawn="1"/>
          </p:nvCxnSpPr>
          <p:spPr bwMode="gray">
            <a:xfrm>
              <a:off x="782419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>
              <a:extLst>
                <a:ext uri="{FF2B5EF4-FFF2-40B4-BE49-F238E27FC236}">
                  <a16:creationId xmlns:a16="http://schemas.microsoft.com/office/drawing/2014/main" id="{9D11E3F5-B503-7173-4A27-C10CCBA3B9E0}"/>
                </a:ext>
              </a:extLst>
            </p:cNvPr>
            <p:cNvCxnSpPr/>
            <p:nvPr userDrawn="1"/>
          </p:nvCxnSpPr>
          <p:spPr bwMode="gray">
            <a:xfrm>
              <a:off x="840025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>
              <a:extLst>
                <a:ext uri="{FF2B5EF4-FFF2-40B4-BE49-F238E27FC236}">
                  <a16:creationId xmlns:a16="http://schemas.microsoft.com/office/drawing/2014/main" id="{34485DD2-0D40-047F-0184-050E330C04BE}"/>
                </a:ext>
              </a:extLst>
            </p:cNvPr>
            <p:cNvCxnSpPr/>
            <p:nvPr userDrawn="1"/>
          </p:nvCxnSpPr>
          <p:spPr bwMode="gray">
            <a:xfrm>
              <a:off x="897632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E754EC8E-E952-E9F0-E175-D7EF1B92EDCC}"/>
                </a:ext>
              </a:extLst>
            </p:cNvPr>
            <p:cNvCxnSpPr/>
            <p:nvPr userDrawn="1"/>
          </p:nvCxnSpPr>
          <p:spPr bwMode="gray">
            <a:xfrm>
              <a:off x="1128057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6D14EABF-2BD6-5A93-232D-B3553F31D403}"/>
                </a:ext>
              </a:extLst>
            </p:cNvPr>
            <p:cNvCxnSpPr/>
            <p:nvPr userDrawn="1"/>
          </p:nvCxnSpPr>
          <p:spPr bwMode="gray">
            <a:xfrm>
              <a:off x="1185664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8291D1AC-26CD-F0DD-FD2A-227A254C6840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29665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9F287A28-C061-A6AE-DD63-2B2AD8306526}"/>
                </a:ext>
              </a:extLst>
            </p:cNvPr>
            <p:cNvCxnSpPr/>
            <p:nvPr userDrawn="1"/>
          </p:nvCxnSpPr>
          <p:spPr bwMode="gray">
            <a:xfrm>
              <a:off x="321568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r Verbinder 61">
              <a:extLst>
                <a:ext uri="{FF2B5EF4-FFF2-40B4-BE49-F238E27FC236}">
                  <a16:creationId xmlns:a16="http://schemas.microsoft.com/office/drawing/2014/main" id="{28794B54-FFE9-9650-7A25-FF3F91FD820C}"/>
                </a:ext>
              </a:extLst>
            </p:cNvPr>
            <p:cNvCxnSpPr/>
            <p:nvPr userDrawn="1"/>
          </p:nvCxnSpPr>
          <p:spPr bwMode="gray">
            <a:xfrm>
              <a:off x="379174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>
              <a:extLst>
                <a:ext uri="{FF2B5EF4-FFF2-40B4-BE49-F238E27FC236}">
                  <a16:creationId xmlns:a16="http://schemas.microsoft.com/office/drawing/2014/main" id="{1DC777C3-3AD2-8CCF-051B-E7860EAD76E1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04" y="87272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EAB5B0D3-5FD2-8CC6-4117-7A1EF531F550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12" y="202484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r Verbinder 64">
              <a:extLst>
                <a:ext uri="{FF2B5EF4-FFF2-40B4-BE49-F238E27FC236}">
                  <a16:creationId xmlns:a16="http://schemas.microsoft.com/office/drawing/2014/main" id="{4DE9D24C-ADCA-56C3-C21D-2639B4018890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68" y="605729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65">
              <a:extLst>
                <a:ext uri="{FF2B5EF4-FFF2-40B4-BE49-F238E27FC236}">
                  <a16:creationId xmlns:a16="http://schemas.microsoft.com/office/drawing/2014/main" id="{9BFCAF4E-B32D-554A-73AC-A2803F3485F6}"/>
                </a:ext>
              </a:extLst>
            </p:cNvPr>
            <p:cNvCxnSpPr/>
            <p:nvPr/>
          </p:nvCxnSpPr>
          <p:spPr bwMode="gray">
            <a:xfrm>
              <a:off x="1070451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544B1A29-2C4A-5D9A-A0C4-9C8951206515}"/>
                </a:ext>
              </a:extLst>
            </p:cNvPr>
            <p:cNvCxnSpPr/>
            <p:nvPr/>
          </p:nvCxnSpPr>
          <p:spPr bwMode="gray">
            <a:xfrm>
              <a:off x="1012844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5DF4602E-23BA-D94E-E9A3-B1D004D73FA4}"/>
                </a:ext>
              </a:extLst>
            </p:cNvPr>
            <p:cNvCxnSpPr/>
            <p:nvPr/>
          </p:nvCxnSpPr>
          <p:spPr bwMode="gray">
            <a:xfrm>
              <a:off x="955059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6E029858-3EEE-8793-BCD0-0AD20C34314C}"/>
                </a:ext>
              </a:extLst>
            </p:cNvPr>
            <p:cNvCxnSpPr/>
            <p:nvPr/>
          </p:nvCxnSpPr>
          <p:spPr bwMode="gray">
            <a:xfrm>
              <a:off x="551973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257A710C-1EDA-D5EE-3E1A-750D761265D1}"/>
                </a:ext>
              </a:extLst>
            </p:cNvPr>
            <p:cNvCxnSpPr/>
            <p:nvPr/>
          </p:nvCxnSpPr>
          <p:spPr bwMode="gray">
            <a:xfrm>
              <a:off x="263961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B9C9696F-F814-BFFA-0DA7-63DEA1BACF7B}"/>
                </a:ext>
              </a:extLst>
            </p:cNvPr>
            <p:cNvCxnSpPr/>
            <p:nvPr/>
          </p:nvCxnSpPr>
          <p:spPr bwMode="gray">
            <a:xfrm>
              <a:off x="206355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C4A4718D-E596-60CD-1BF0-F0A9C9E0FC8A}"/>
                </a:ext>
              </a:extLst>
            </p:cNvPr>
            <p:cNvCxnSpPr/>
            <p:nvPr/>
          </p:nvCxnSpPr>
          <p:spPr bwMode="gray">
            <a:xfrm>
              <a:off x="148748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220A8188-9647-35AB-B4EF-A0EBB52779D1}"/>
                </a:ext>
              </a:extLst>
            </p:cNvPr>
            <p:cNvCxnSpPr/>
            <p:nvPr/>
          </p:nvCxnSpPr>
          <p:spPr bwMode="gray">
            <a:xfrm>
              <a:off x="91142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877D06ED-2F26-F2B9-C37B-C87E9C8E55F0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04" y="144878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>
              <a:extLst>
                <a:ext uri="{FF2B5EF4-FFF2-40B4-BE49-F238E27FC236}">
                  <a16:creationId xmlns:a16="http://schemas.microsoft.com/office/drawing/2014/main" id="{6C9B06A9-6DEB-5F3F-A0D6-A44AD5E4DF34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260091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7BE38DDE-C836-BBCB-D668-774480BBE069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17697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>
              <a:extLst>
                <a:ext uri="{FF2B5EF4-FFF2-40B4-BE49-F238E27FC236}">
                  <a16:creationId xmlns:a16="http://schemas.microsoft.com/office/drawing/2014/main" id="{042C45F1-AF65-33CD-D98B-C3830B024306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75304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7380FE33-4387-67B5-C1BC-9F71BB2B0D98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32910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r Verbinder 78">
              <a:extLst>
                <a:ext uri="{FF2B5EF4-FFF2-40B4-BE49-F238E27FC236}">
                  <a16:creationId xmlns:a16="http://schemas.microsoft.com/office/drawing/2014/main" id="{5DA19DB1-2EA5-C470-587B-3CCFDA7B4C9F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90516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r Verbinder 79">
              <a:extLst>
                <a:ext uri="{FF2B5EF4-FFF2-40B4-BE49-F238E27FC236}">
                  <a16:creationId xmlns:a16="http://schemas.microsoft.com/office/drawing/2014/main" id="{E1F3E396-FC8D-BD81-DBAE-D68CD77C4BF0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548123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944430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mart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8940B8A-25D7-0D70-22DD-99455781E0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463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8940B8A-25D7-0D70-22DD-99455781E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">
            <a:extLst>
              <a:ext uri="{FF2B5EF4-FFF2-40B4-BE49-F238E27FC236}">
                <a16:creationId xmlns:a16="http://schemas.microsoft.com/office/drawing/2014/main" id="{AA7BA5C5-D7C9-4AD6-8D12-B312C46B26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GB"/>
              <a:t>Insert your headline in Lato Heavy 24 pt here</a:t>
            </a:r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93C2BED1-C288-4362-A0E0-C779978ACA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2823424" y="1487274"/>
            <a:ext cx="2164080" cy="4549140"/>
          </a:xfrm>
          <a:prstGeom prst="roundRect">
            <a:avLst>
              <a:gd name="adj" fmla="val 13146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pic>
        <p:nvPicPr>
          <p:cNvPr id="18" name="Shape">
            <a:extLst>
              <a:ext uri="{FF2B5EF4-FFF2-40B4-BE49-F238E27FC236}">
                <a16:creationId xmlns:a16="http://schemas.microsoft.com/office/drawing/2014/main" id="{7F09AB9E-D3D1-4BF0-9135-508497D860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351584" y="1449492"/>
            <a:ext cx="3096000" cy="4787820"/>
          </a:xfrm>
          <a:prstGeom prst="rect">
            <a:avLst/>
          </a:prstGeom>
        </p:spPr>
      </p:pic>
      <p:sp>
        <p:nvSpPr>
          <p:cNvPr id="5" name="Picture Placeholder 4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2869144" y="1540614"/>
            <a:ext cx="2057400" cy="4450080"/>
          </a:xfrm>
          <a:prstGeom prst="roundRect">
            <a:avLst>
              <a:gd name="adj" fmla="val 12964"/>
            </a:avLst>
          </a:prstGeom>
          <a:solidFill>
            <a:srgbClr val="D6D9DC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3" name="Rechteck: abgerundete Ecken 19">
            <a:extLst>
              <a:ext uri="{FF2B5EF4-FFF2-40B4-BE49-F238E27FC236}">
                <a16:creationId xmlns:a16="http://schemas.microsoft.com/office/drawing/2014/main" id="{E9916D98-3C6E-F067-BDD5-1A4A849EF1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6639504" y="1487274"/>
            <a:ext cx="2164080" cy="4549140"/>
          </a:xfrm>
          <a:prstGeom prst="roundRect">
            <a:avLst>
              <a:gd name="adj" fmla="val 13146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pic>
        <p:nvPicPr>
          <p:cNvPr id="14" name="Shape">
            <a:extLst>
              <a:ext uri="{FF2B5EF4-FFF2-40B4-BE49-F238E27FC236}">
                <a16:creationId xmlns:a16="http://schemas.microsoft.com/office/drawing/2014/main" id="{7A9D731A-95B3-E07F-A903-A04AB7A419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167664" y="1449492"/>
            <a:ext cx="3096000" cy="4787820"/>
          </a:xfrm>
          <a:prstGeom prst="rect">
            <a:avLst/>
          </a:prstGeom>
        </p:spPr>
      </p:pic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1F57A2C4-BAF7-31E5-99FC-C96242B3320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685224" y="1540614"/>
            <a:ext cx="2057400" cy="4450080"/>
          </a:xfrm>
          <a:prstGeom prst="roundRect">
            <a:avLst>
              <a:gd name="adj" fmla="val 12964"/>
            </a:avLst>
          </a:prstGeom>
          <a:solidFill>
            <a:srgbClr val="D6D9DC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20C548C-EDAE-479B-E7A6-CE9484CA425F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1E8F747-8B4A-906D-3BB1-CB3DE31FBBD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1B84CE6-773F-6556-E744-51668749B963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2F0B8978-9525-C8F8-6EE6-615AC2DFA9C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9362"/>
            <a:ext cx="8640959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19" name="Source">
            <a:extLst>
              <a:ext uri="{FF2B5EF4-FFF2-40B4-BE49-F238E27FC236}">
                <a16:creationId xmlns:a16="http://schemas.microsoft.com/office/drawing/2014/main" id="{574A5C71-6879-FF69-09BF-DE6F01DA7B1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487488" y="6525000"/>
            <a:ext cx="9217024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E27C35BA-E6B5-6330-758E-DE734F71A6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68768" y="-171392"/>
            <a:ext cx="12025408" cy="6264688"/>
            <a:chOff x="-168768" y="-171392"/>
            <a:chExt cx="12025408" cy="6264688"/>
          </a:xfrm>
        </p:grpSpPr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2B06448B-B6EE-BEC4-3826-F9B7D06FCD0B}"/>
                </a:ext>
              </a:extLst>
            </p:cNvPr>
            <p:cNvCxnSpPr/>
            <p:nvPr userDrawn="1"/>
          </p:nvCxnSpPr>
          <p:spPr bwMode="gray">
            <a:xfrm>
              <a:off x="33536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71DFE41D-D1FB-F7A2-F326-7723B05AFFFC}"/>
                </a:ext>
              </a:extLst>
            </p:cNvPr>
            <p:cNvCxnSpPr/>
            <p:nvPr userDrawn="1"/>
          </p:nvCxnSpPr>
          <p:spPr bwMode="gray">
            <a:xfrm>
              <a:off x="436780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BADC093D-2186-5134-9DD9-198132F0C7DD}"/>
                </a:ext>
              </a:extLst>
            </p:cNvPr>
            <p:cNvCxnSpPr/>
            <p:nvPr userDrawn="1"/>
          </p:nvCxnSpPr>
          <p:spPr bwMode="gray">
            <a:xfrm>
              <a:off x="494387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81F055BE-2FE7-0EC2-25CC-468ED3543F7E}"/>
                </a:ext>
              </a:extLst>
            </p:cNvPr>
            <p:cNvCxnSpPr/>
            <p:nvPr userDrawn="1"/>
          </p:nvCxnSpPr>
          <p:spPr bwMode="gray">
            <a:xfrm>
              <a:off x="667206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C19CB197-4723-56C0-BC01-7B80B7A0F142}"/>
                </a:ext>
              </a:extLst>
            </p:cNvPr>
            <p:cNvCxnSpPr/>
            <p:nvPr userDrawn="1"/>
          </p:nvCxnSpPr>
          <p:spPr bwMode="gray">
            <a:xfrm>
              <a:off x="609600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>
              <a:extLst>
                <a:ext uri="{FF2B5EF4-FFF2-40B4-BE49-F238E27FC236}">
                  <a16:creationId xmlns:a16="http://schemas.microsoft.com/office/drawing/2014/main" id="{7A04D335-567C-28C0-A42C-6D1E9AEB79C7}"/>
                </a:ext>
              </a:extLst>
            </p:cNvPr>
            <p:cNvCxnSpPr/>
            <p:nvPr userDrawn="1"/>
          </p:nvCxnSpPr>
          <p:spPr bwMode="gray">
            <a:xfrm>
              <a:off x="724812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>
              <a:extLst>
                <a:ext uri="{FF2B5EF4-FFF2-40B4-BE49-F238E27FC236}">
                  <a16:creationId xmlns:a16="http://schemas.microsoft.com/office/drawing/2014/main" id="{0720A087-7F11-ECBF-F537-B6AEECB64BA8}"/>
                </a:ext>
              </a:extLst>
            </p:cNvPr>
            <p:cNvCxnSpPr/>
            <p:nvPr userDrawn="1"/>
          </p:nvCxnSpPr>
          <p:spPr bwMode="gray">
            <a:xfrm>
              <a:off x="782419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53EE7A5D-418D-2C47-2CB5-0F7A3BDAE752}"/>
                </a:ext>
              </a:extLst>
            </p:cNvPr>
            <p:cNvCxnSpPr/>
            <p:nvPr userDrawn="1"/>
          </p:nvCxnSpPr>
          <p:spPr bwMode="gray">
            <a:xfrm>
              <a:off x="840025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5EED6CE8-EAED-7DDC-A7DD-4D4791D33F19}"/>
                </a:ext>
              </a:extLst>
            </p:cNvPr>
            <p:cNvCxnSpPr/>
            <p:nvPr userDrawn="1"/>
          </p:nvCxnSpPr>
          <p:spPr bwMode="gray">
            <a:xfrm>
              <a:off x="897632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3CB72407-BA86-438B-0CF7-1DBFF28D8FD1}"/>
                </a:ext>
              </a:extLst>
            </p:cNvPr>
            <p:cNvCxnSpPr/>
            <p:nvPr userDrawn="1"/>
          </p:nvCxnSpPr>
          <p:spPr bwMode="gray">
            <a:xfrm>
              <a:off x="1128057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616F94A6-FD73-0C14-DFD1-24CC9E3E9FC5}"/>
                </a:ext>
              </a:extLst>
            </p:cNvPr>
            <p:cNvCxnSpPr/>
            <p:nvPr userDrawn="1"/>
          </p:nvCxnSpPr>
          <p:spPr bwMode="gray">
            <a:xfrm>
              <a:off x="1185664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085B4DA4-800F-130F-FF34-0A71243ACBF9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29665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r Verbinder 44">
              <a:extLst>
                <a:ext uri="{FF2B5EF4-FFF2-40B4-BE49-F238E27FC236}">
                  <a16:creationId xmlns:a16="http://schemas.microsoft.com/office/drawing/2014/main" id="{3F6E7AC1-F2EA-2497-20DE-2196E142F2AF}"/>
                </a:ext>
              </a:extLst>
            </p:cNvPr>
            <p:cNvCxnSpPr/>
            <p:nvPr userDrawn="1"/>
          </p:nvCxnSpPr>
          <p:spPr bwMode="gray">
            <a:xfrm>
              <a:off x="321568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r Verbinder 45">
              <a:extLst>
                <a:ext uri="{FF2B5EF4-FFF2-40B4-BE49-F238E27FC236}">
                  <a16:creationId xmlns:a16="http://schemas.microsoft.com/office/drawing/2014/main" id="{3306D381-4B44-44AD-7109-03745A2006D9}"/>
                </a:ext>
              </a:extLst>
            </p:cNvPr>
            <p:cNvCxnSpPr/>
            <p:nvPr userDrawn="1"/>
          </p:nvCxnSpPr>
          <p:spPr bwMode="gray">
            <a:xfrm>
              <a:off x="379174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r Verbinder 64">
              <a:extLst>
                <a:ext uri="{FF2B5EF4-FFF2-40B4-BE49-F238E27FC236}">
                  <a16:creationId xmlns:a16="http://schemas.microsoft.com/office/drawing/2014/main" id="{DC8FD78B-2FA5-AA6A-9EDC-C4B87F81779D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04" y="87272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65">
              <a:extLst>
                <a:ext uri="{FF2B5EF4-FFF2-40B4-BE49-F238E27FC236}">
                  <a16:creationId xmlns:a16="http://schemas.microsoft.com/office/drawing/2014/main" id="{20D89F46-4DB7-052D-BEA1-172FA177D7AE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12" y="202484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96318475-B6F8-1F4C-B97D-6BC5125ACCBB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68" y="605729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187AAD40-1FC2-F97D-2E02-60A45CBABFEB}"/>
                </a:ext>
              </a:extLst>
            </p:cNvPr>
            <p:cNvCxnSpPr/>
            <p:nvPr/>
          </p:nvCxnSpPr>
          <p:spPr bwMode="gray">
            <a:xfrm>
              <a:off x="1070451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4CEF5F49-579C-AF17-0418-DD5DF3D1F287}"/>
                </a:ext>
              </a:extLst>
            </p:cNvPr>
            <p:cNvCxnSpPr/>
            <p:nvPr/>
          </p:nvCxnSpPr>
          <p:spPr bwMode="gray">
            <a:xfrm>
              <a:off x="1012844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2D4895F2-35B8-B271-8219-CF96B68F35D9}"/>
                </a:ext>
              </a:extLst>
            </p:cNvPr>
            <p:cNvCxnSpPr/>
            <p:nvPr/>
          </p:nvCxnSpPr>
          <p:spPr bwMode="gray">
            <a:xfrm>
              <a:off x="955059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853444F5-3353-D2C1-D89B-6A88DF07B716}"/>
                </a:ext>
              </a:extLst>
            </p:cNvPr>
            <p:cNvCxnSpPr/>
            <p:nvPr/>
          </p:nvCxnSpPr>
          <p:spPr bwMode="gray">
            <a:xfrm>
              <a:off x="551973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803946A7-7F1F-D292-69B9-FEBCABC7FA69}"/>
                </a:ext>
              </a:extLst>
            </p:cNvPr>
            <p:cNvCxnSpPr/>
            <p:nvPr/>
          </p:nvCxnSpPr>
          <p:spPr bwMode="gray">
            <a:xfrm>
              <a:off x="263961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E747E0D5-349C-0002-9BDF-4B9264C2433D}"/>
                </a:ext>
              </a:extLst>
            </p:cNvPr>
            <p:cNvCxnSpPr/>
            <p:nvPr/>
          </p:nvCxnSpPr>
          <p:spPr bwMode="gray">
            <a:xfrm>
              <a:off x="206355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07C47570-F162-E592-5DA5-BBAFC2644942}"/>
                </a:ext>
              </a:extLst>
            </p:cNvPr>
            <p:cNvCxnSpPr/>
            <p:nvPr/>
          </p:nvCxnSpPr>
          <p:spPr bwMode="gray">
            <a:xfrm>
              <a:off x="148748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>
              <a:extLst>
                <a:ext uri="{FF2B5EF4-FFF2-40B4-BE49-F238E27FC236}">
                  <a16:creationId xmlns:a16="http://schemas.microsoft.com/office/drawing/2014/main" id="{917D9530-859B-D13B-E8CC-669A61F1C050}"/>
                </a:ext>
              </a:extLst>
            </p:cNvPr>
            <p:cNvCxnSpPr/>
            <p:nvPr/>
          </p:nvCxnSpPr>
          <p:spPr bwMode="gray">
            <a:xfrm>
              <a:off x="91142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B85E43DC-3BEE-D5F8-D2E3-8574F365B16D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04" y="144878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>
              <a:extLst>
                <a:ext uri="{FF2B5EF4-FFF2-40B4-BE49-F238E27FC236}">
                  <a16:creationId xmlns:a16="http://schemas.microsoft.com/office/drawing/2014/main" id="{86F71AD4-29A5-A60F-BABA-9D9CF72D1536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260091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14399CDA-59E2-5935-01D2-B88EA2762823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17697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r Verbinder 78">
              <a:extLst>
                <a:ext uri="{FF2B5EF4-FFF2-40B4-BE49-F238E27FC236}">
                  <a16:creationId xmlns:a16="http://schemas.microsoft.com/office/drawing/2014/main" id="{0DE44655-8FA6-E323-5DA5-BFD66BC1FF35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75304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r Verbinder 79">
              <a:extLst>
                <a:ext uri="{FF2B5EF4-FFF2-40B4-BE49-F238E27FC236}">
                  <a16:creationId xmlns:a16="http://schemas.microsoft.com/office/drawing/2014/main" id="{062B8A7E-8CA3-558A-4837-F921E2619D96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32910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r Verbinder 80">
              <a:extLst>
                <a:ext uri="{FF2B5EF4-FFF2-40B4-BE49-F238E27FC236}">
                  <a16:creationId xmlns:a16="http://schemas.microsoft.com/office/drawing/2014/main" id="{77708F18-09B5-4CDB-6A03-739EC02B9FA0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90516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r Verbinder 81">
              <a:extLst>
                <a:ext uri="{FF2B5EF4-FFF2-40B4-BE49-F238E27FC236}">
                  <a16:creationId xmlns:a16="http://schemas.microsoft.com/office/drawing/2014/main" id="{D9EE6094-ABF2-77D1-1EB5-EA9E52D8AFC2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548123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076477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mart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703FECC-2786-4FE9-4617-A48B067067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5152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703FECC-2786-4FE9-4617-A48B06706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">
            <a:extLst>
              <a:ext uri="{FF2B5EF4-FFF2-40B4-BE49-F238E27FC236}">
                <a16:creationId xmlns:a16="http://schemas.microsoft.com/office/drawing/2014/main" id="{AA7BA5C5-D7C9-4AD6-8D12-B312C46B26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GB"/>
              <a:t>Insert your headline in Lato Heavy 24 pt here</a:t>
            </a:r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93C2BED1-C288-4362-A0E0-C779978ACA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7898236" y="1487274"/>
            <a:ext cx="2164080" cy="4549140"/>
          </a:xfrm>
          <a:prstGeom prst="roundRect">
            <a:avLst>
              <a:gd name="adj" fmla="val 13146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pic>
        <p:nvPicPr>
          <p:cNvPr id="18" name="Shape">
            <a:extLst>
              <a:ext uri="{FF2B5EF4-FFF2-40B4-BE49-F238E27FC236}">
                <a16:creationId xmlns:a16="http://schemas.microsoft.com/office/drawing/2014/main" id="{7F09AB9E-D3D1-4BF0-9135-508497D860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426396" y="1449492"/>
            <a:ext cx="3096000" cy="4787820"/>
          </a:xfrm>
          <a:prstGeom prst="rect">
            <a:avLst/>
          </a:prstGeom>
        </p:spPr>
      </p:pic>
      <p:sp>
        <p:nvSpPr>
          <p:cNvPr id="5" name="Picture Placeholder 4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7943956" y="1540614"/>
            <a:ext cx="2057400" cy="4450080"/>
          </a:xfrm>
          <a:prstGeom prst="roundRect">
            <a:avLst>
              <a:gd name="adj" fmla="val 12964"/>
            </a:avLst>
          </a:prstGeom>
          <a:solidFill>
            <a:srgbClr val="D6D9DC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3" name="Rechteck: abgerundete Ecken 19">
            <a:extLst>
              <a:ext uri="{FF2B5EF4-FFF2-40B4-BE49-F238E27FC236}">
                <a16:creationId xmlns:a16="http://schemas.microsoft.com/office/drawing/2014/main" id="{83B6B1DD-3BB2-05F1-F33D-74DC95727A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1564616" y="1487274"/>
            <a:ext cx="2164080" cy="4549140"/>
          </a:xfrm>
          <a:prstGeom prst="roundRect">
            <a:avLst>
              <a:gd name="adj" fmla="val 13146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pic>
        <p:nvPicPr>
          <p:cNvPr id="14" name="Shape">
            <a:extLst>
              <a:ext uri="{FF2B5EF4-FFF2-40B4-BE49-F238E27FC236}">
                <a16:creationId xmlns:a16="http://schemas.microsoft.com/office/drawing/2014/main" id="{880E8645-6288-AE19-6DBF-172F4C2CDE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92776" y="1449492"/>
            <a:ext cx="3096000" cy="4787820"/>
          </a:xfrm>
          <a:prstGeom prst="rect">
            <a:avLst/>
          </a:prstGeom>
        </p:spPr>
      </p:pic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07FD78D1-0288-20BD-C346-3808CDF3B9C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610336" y="1540614"/>
            <a:ext cx="2057400" cy="4450080"/>
          </a:xfrm>
          <a:prstGeom prst="roundRect">
            <a:avLst>
              <a:gd name="adj" fmla="val 12964"/>
            </a:avLst>
          </a:prstGeom>
          <a:solidFill>
            <a:srgbClr val="D6D9DC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6" name="Rechteck: abgerundete Ecken 19">
            <a:extLst>
              <a:ext uri="{FF2B5EF4-FFF2-40B4-BE49-F238E27FC236}">
                <a16:creationId xmlns:a16="http://schemas.microsoft.com/office/drawing/2014/main" id="{DB994C57-CEE0-8540-5583-CD8BBFB852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4767296" y="1487274"/>
            <a:ext cx="2164080" cy="4549140"/>
          </a:xfrm>
          <a:prstGeom prst="roundRect">
            <a:avLst>
              <a:gd name="adj" fmla="val 13146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pic>
        <p:nvPicPr>
          <p:cNvPr id="17" name="Shape">
            <a:extLst>
              <a:ext uri="{FF2B5EF4-FFF2-40B4-BE49-F238E27FC236}">
                <a16:creationId xmlns:a16="http://schemas.microsoft.com/office/drawing/2014/main" id="{29B3C5F7-8DA9-D126-B8E6-0E97A57FDE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295456" y="1449492"/>
            <a:ext cx="3096000" cy="4787820"/>
          </a:xfrm>
          <a:prstGeom prst="rect">
            <a:avLst/>
          </a:prstGeom>
        </p:spPr>
      </p:pic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EB2D0007-2615-90B5-A926-694D8882C5F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4813016" y="1540614"/>
            <a:ext cx="2057400" cy="4450080"/>
          </a:xfrm>
          <a:prstGeom prst="roundRect">
            <a:avLst>
              <a:gd name="adj" fmla="val 12964"/>
            </a:avLst>
          </a:prstGeom>
          <a:solidFill>
            <a:srgbClr val="D6D9DC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9FDAB83-C7AE-43A3-3F89-9028A1A063E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74231BE-AF9E-B77A-C538-EAF45C87E22B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FBFAB22-D1B2-3E55-7A21-5521A2468A0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1" name="Subtitle">
            <a:extLst>
              <a:ext uri="{FF2B5EF4-FFF2-40B4-BE49-F238E27FC236}">
                <a16:creationId xmlns:a16="http://schemas.microsoft.com/office/drawing/2014/main" id="{302B82D0-A2D0-AA40-C5AE-143C87D7F39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9362"/>
            <a:ext cx="8640959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23" name="Source">
            <a:extLst>
              <a:ext uri="{FF2B5EF4-FFF2-40B4-BE49-F238E27FC236}">
                <a16:creationId xmlns:a16="http://schemas.microsoft.com/office/drawing/2014/main" id="{B150FC98-3E02-448F-D9A3-2CF7FFEE54A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487488" y="6525000"/>
            <a:ext cx="9217024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33DBA3B2-027A-8B4F-E7D8-F6E552F81B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68768" y="-171392"/>
            <a:ext cx="12025408" cy="6264688"/>
            <a:chOff x="-168768" y="-171392"/>
            <a:chExt cx="12025408" cy="6264688"/>
          </a:xfrm>
        </p:grpSpPr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9B165887-BE7E-8C75-878A-315646055378}"/>
                </a:ext>
              </a:extLst>
            </p:cNvPr>
            <p:cNvCxnSpPr/>
            <p:nvPr userDrawn="1"/>
          </p:nvCxnSpPr>
          <p:spPr bwMode="gray">
            <a:xfrm>
              <a:off x="33536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A6AE8FFB-F541-DF2F-0D37-1D4AF2FDA5B7}"/>
                </a:ext>
              </a:extLst>
            </p:cNvPr>
            <p:cNvCxnSpPr/>
            <p:nvPr userDrawn="1"/>
          </p:nvCxnSpPr>
          <p:spPr bwMode="gray">
            <a:xfrm>
              <a:off x="436780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>
              <a:extLst>
                <a:ext uri="{FF2B5EF4-FFF2-40B4-BE49-F238E27FC236}">
                  <a16:creationId xmlns:a16="http://schemas.microsoft.com/office/drawing/2014/main" id="{6710A66C-B07A-534C-C734-9EE5D4FC95E4}"/>
                </a:ext>
              </a:extLst>
            </p:cNvPr>
            <p:cNvCxnSpPr/>
            <p:nvPr userDrawn="1"/>
          </p:nvCxnSpPr>
          <p:spPr bwMode="gray">
            <a:xfrm>
              <a:off x="494387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>
              <a:extLst>
                <a:ext uri="{FF2B5EF4-FFF2-40B4-BE49-F238E27FC236}">
                  <a16:creationId xmlns:a16="http://schemas.microsoft.com/office/drawing/2014/main" id="{6E89EABA-5218-10F5-2822-5931E57D6FC3}"/>
                </a:ext>
              </a:extLst>
            </p:cNvPr>
            <p:cNvCxnSpPr/>
            <p:nvPr userDrawn="1"/>
          </p:nvCxnSpPr>
          <p:spPr bwMode="gray">
            <a:xfrm>
              <a:off x="667206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CD335AB5-F5CE-B4DB-C17D-8D66EDB04F45}"/>
                </a:ext>
              </a:extLst>
            </p:cNvPr>
            <p:cNvCxnSpPr/>
            <p:nvPr userDrawn="1"/>
          </p:nvCxnSpPr>
          <p:spPr bwMode="gray">
            <a:xfrm>
              <a:off x="609600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C67352D5-26F2-B6BD-CC75-EF1A7EAF775A}"/>
                </a:ext>
              </a:extLst>
            </p:cNvPr>
            <p:cNvCxnSpPr/>
            <p:nvPr userDrawn="1"/>
          </p:nvCxnSpPr>
          <p:spPr bwMode="gray">
            <a:xfrm>
              <a:off x="724812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C82F200-B789-3A78-7BD3-A5D086309B29}"/>
                </a:ext>
              </a:extLst>
            </p:cNvPr>
            <p:cNvCxnSpPr/>
            <p:nvPr userDrawn="1"/>
          </p:nvCxnSpPr>
          <p:spPr bwMode="gray">
            <a:xfrm>
              <a:off x="782419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5010EB30-4FF4-147F-2F88-7BC2EEFDE0B6}"/>
                </a:ext>
              </a:extLst>
            </p:cNvPr>
            <p:cNvCxnSpPr/>
            <p:nvPr userDrawn="1"/>
          </p:nvCxnSpPr>
          <p:spPr bwMode="gray">
            <a:xfrm>
              <a:off x="840025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DDA7930D-25F6-7D9A-5982-DBE7BA65058B}"/>
                </a:ext>
              </a:extLst>
            </p:cNvPr>
            <p:cNvCxnSpPr/>
            <p:nvPr userDrawn="1"/>
          </p:nvCxnSpPr>
          <p:spPr bwMode="gray">
            <a:xfrm>
              <a:off x="897632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r Verbinder 44">
              <a:extLst>
                <a:ext uri="{FF2B5EF4-FFF2-40B4-BE49-F238E27FC236}">
                  <a16:creationId xmlns:a16="http://schemas.microsoft.com/office/drawing/2014/main" id="{45398A82-177E-33EE-5A85-44C7C8CF375F}"/>
                </a:ext>
              </a:extLst>
            </p:cNvPr>
            <p:cNvCxnSpPr/>
            <p:nvPr userDrawn="1"/>
          </p:nvCxnSpPr>
          <p:spPr bwMode="gray">
            <a:xfrm>
              <a:off x="1128057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r Verbinder 45">
              <a:extLst>
                <a:ext uri="{FF2B5EF4-FFF2-40B4-BE49-F238E27FC236}">
                  <a16:creationId xmlns:a16="http://schemas.microsoft.com/office/drawing/2014/main" id="{36208CFE-8380-DE9E-189A-733C48CC5C24}"/>
                </a:ext>
              </a:extLst>
            </p:cNvPr>
            <p:cNvCxnSpPr/>
            <p:nvPr userDrawn="1"/>
          </p:nvCxnSpPr>
          <p:spPr bwMode="gray">
            <a:xfrm>
              <a:off x="1185664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7F6774CE-04E9-52DA-2E86-5482EFA8E0E9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29665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r Verbinder 47">
              <a:extLst>
                <a:ext uri="{FF2B5EF4-FFF2-40B4-BE49-F238E27FC236}">
                  <a16:creationId xmlns:a16="http://schemas.microsoft.com/office/drawing/2014/main" id="{C0411B10-4457-ADC7-8D02-D8C8ABEC38BB}"/>
                </a:ext>
              </a:extLst>
            </p:cNvPr>
            <p:cNvCxnSpPr/>
            <p:nvPr userDrawn="1"/>
          </p:nvCxnSpPr>
          <p:spPr bwMode="gray">
            <a:xfrm>
              <a:off x="321568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r Verbinder 48">
              <a:extLst>
                <a:ext uri="{FF2B5EF4-FFF2-40B4-BE49-F238E27FC236}">
                  <a16:creationId xmlns:a16="http://schemas.microsoft.com/office/drawing/2014/main" id="{6993C2B8-C5D3-FC0A-3675-A9B054353839}"/>
                </a:ext>
              </a:extLst>
            </p:cNvPr>
            <p:cNvCxnSpPr/>
            <p:nvPr userDrawn="1"/>
          </p:nvCxnSpPr>
          <p:spPr bwMode="gray">
            <a:xfrm>
              <a:off x="379174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E7F05387-D30D-B793-8063-E2D883A0BAB7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04" y="87272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91B29ED1-0D06-11E7-06EC-AFCAF0B68331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12" y="202484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2014E8F2-B9F3-D1C9-1A1B-96941A9F60A5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68" y="605729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D0E30AD7-D23E-4CAC-D666-0F794E2C8226}"/>
                </a:ext>
              </a:extLst>
            </p:cNvPr>
            <p:cNvCxnSpPr/>
            <p:nvPr/>
          </p:nvCxnSpPr>
          <p:spPr bwMode="gray">
            <a:xfrm>
              <a:off x="1070451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79C8B59E-6CB0-00C3-78D7-CBEF242DF58C}"/>
                </a:ext>
              </a:extLst>
            </p:cNvPr>
            <p:cNvCxnSpPr/>
            <p:nvPr/>
          </p:nvCxnSpPr>
          <p:spPr bwMode="gray">
            <a:xfrm>
              <a:off x="1012844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7316112F-5076-A000-6184-B3EB5F57ACB3}"/>
                </a:ext>
              </a:extLst>
            </p:cNvPr>
            <p:cNvCxnSpPr/>
            <p:nvPr/>
          </p:nvCxnSpPr>
          <p:spPr bwMode="gray">
            <a:xfrm>
              <a:off x="955059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45AEFB9E-E8E5-CF30-95EC-B2B1B55DC25D}"/>
                </a:ext>
              </a:extLst>
            </p:cNvPr>
            <p:cNvCxnSpPr/>
            <p:nvPr/>
          </p:nvCxnSpPr>
          <p:spPr bwMode="gray">
            <a:xfrm>
              <a:off x="551973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>
              <a:extLst>
                <a:ext uri="{FF2B5EF4-FFF2-40B4-BE49-F238E27FC236}">
                  <a16:creationId xmlns:a16="http://schemas.microsoft.com/office/drawing/2014/main" id="{3079D5FC-C593-0D06-4653-572E026023AA}"/>
                </a:ext>
              </a:extLst>
            </p:cNvPr>
            <p:cNvCxnSpPr/>
            <p:nvPr/>
          </p:nvCxnSpPr>
          <p:spPr bwMode="gray">
            <a:xfrm>
              <a:off x="263961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960E3542-F1C4-6C46-F92C-68D5E0B5AC3F}"/>
                </a:ext>
              </a:extLst>
            </p:cNvPr>
            <p:cNvCxnSpPr/>
            <p:nvPr/>
          </p:nvCxnSpPr>
          <p:spPr bwMode="gray">
            <a:xfrm>
              <a:off x="206355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>
              <a:extLst>
                <a:ext uri="{FF2B5EF4-FFF2-40B4-BE49-F238E27FC236}">
                  <a16:creationId xmlns:a16="http://schemas.microsoft.com/office/drawing/2014/main" id="{52048EB5-1445-DF44-F607-1C10FC29E4A6}"/>
                </a:ext>
              </a:extLst>
            </p:cNvPr>
            <p:cNvCxnSpPr/>
            <p:nvPr/>
          </p:nvCxnSpPr>
          <p:spPr bwMode="gray">
            <a:xfrm>
              <a:off x="148748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FC804D84-3B5C-8D80-97BA-50035E6045D9}"/>
                </a:ext>
              </a:extLst>
            </p:cNvPr>
            <p:cNvCxnSpPr/>
            <p:nvPr/>
          </p:nvCxnSpPr>
          <p:spPr bwMode="gray">
            <a:xfrm>
              <a:off x="91142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r Verbinder 78">
              <a:extLst>
                <a:ext uri="{FF2B5EF4-FFF2-40B4-BE49-F238E27FC236}">
                  <a16:creationId xmlns:a16="http://schemas.microsoft.com/office/drawing/2014/main" id="{A5292F03-60A5-3633-18E6-D6F4758B5277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04" y="144878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r Verbinder 79">
              <a:extLst>
                <a:ext uri="{FF2B5EF4-FFF2-40B4-BE49-F238E27FC236}">
                  <a16:creationId xmlns:a16="http://schemas.microsoft.com/office/drawing/2014/main" id="{4D3E44EC-DC88-6CC0-1C2D-4A0FA2BBB1F5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260091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r Verbinder 80">
              <a:extLst>
                <a:ext uri="{FF2B5EF4-FFF2-40B4-BE49-F238E27FC236}">
                  <a16:creationId xmlns:a16="http://schemas.microsoft.com/office/drawing/2014/main" id="{3D2DA83C-DE4C-0A7C-C40F-FBFFA0AA32FD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17697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r Verbinder 81">
              <a:extLst>
                <a:ext uri="{FF2B5EF4-FFF2-40B4-BE49-F238E27FC236}">
                  <a16:creationId xmlns:a16="http://schemas.microsoft.com/office/drawing/2014/main" id="{BF5B9F43-FD5F-C45D-D7A0-082D4359639F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75304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r Verbinder 82">
              <a:extLst>
                <a:ext uri="{FF2B5EF4-FFF2-40B4-BE49-F238E27FC236}">
                  <a16:creationId xmlns:a16="http://schemas.microsoft.com/office/drawing/2014/main" id="{72C7C762-A8BE-C75C-0EB0-14D484F0CEAD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32910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r Verbinder 83">
              <a:extLst>
                <a:ext uri="{FF2B5EF4-FFF2-40B4-BE49-F238E27FC236}">
                  <a16:creationId xmlns:a16="http://schemas.microsoft.com/office/drawing/2014/main" id="{C076A826-1D51-7F3A-CAC5-06373077E0C8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90516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>
              <a:extLst>
                <a:ext uri="{FF2B5EF4-FFF2-40B4-BE49-F238E27FC236}">
                  <a16:creationId xmlns:a16="http://schemas.microsoft.com/office/drawing/2014/main" id="{4B90B68C-A8EA-D44D-5109-BA4C5F3536A4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548123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156372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453509A-BA01-3F1F-76DD-A97EA0C15E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5011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453509A-BA01-3F1F-76DD-A97EA0C15E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">
            <a:extLst>
              <a:ext uri="{FF2B5EF4-FFF2-40B4-BE49-F238E27FC236}">
                <a16:creationId xmlns:a16="http://schemas.microsoft.com/office/drawing/2014/main" id="{ED4DEA22-86AB-4055-9D31-EB6A5698AB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GB"/>
              <a:t>Insert your headline in Lato Heavy 24 pt here</a:t>
            </a:r>
          </a:p>
        </p:txBody>
      </p:sp>
      <p:sp>
        <p:nvSpPr>
          <p:cNvPr id="6" name="Shape">
            <a:extLst>
              <a:ext uri="{FF2B5EF4-FFF2-40B4-BE49-F238E27FC236}">
                <a16:creationId xmlns:a16="http://schemas.microsoft.com/office/drawing/2014/main" id="{9DA19E0A-630E-4703-A2E3-311F8429CE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335360" y="1485537"/>
            <a:ext cx="5184775" cy="201547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BD8E93B3-990F-934D-BD7B-A37DC1324EE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51335" y="1701537"/>
            <a:ext cx="1368000" cy="1584000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GB"/>
              <a:t> 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BB3E6D75-1EC4-1B44-B491-E581CC62B05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07632" y="1701537"/>
            <a:ext cx="3023998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Country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9C0EC6CE-70D2-D940-9547-3F776BCF57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207631" y="2060848"/>
            <a:ext cx="3023998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D3260424-7049-BF4D-AA75-2D68FBC04D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207631" y="2277537"/>
            <a:ext cx="3023998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Job Position</a:t>
            </a:r>
          </a:p>
        </p:txBody>
      </p:sp>
      <p:sp>
        <p:nvSpPr>
          <p:cNvPr id="39" name="Text Placeholder 5">
            <a:extLst>
              <a:ext uri="{FF2B5EF4-FFF2-40B4-BE49-F238E27FC236}">
                <a16:creationId xmlns:a16="http://schemas.microsoft.com/office/drawing/2014/main" id="{F3664B3A-842D-8146-B7A8-6EE203E6050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207631" y="2853537"/>
            <a:ext cx="3024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Phone number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B42C9151-00E7-8F44-BDA2-330D9B9791A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2207631" y="3069537"/>
            <a:ext cx="3024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Email address</a:t>
            </a:r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096000" y="1484313"/>
            <a:ext cx="5184576" cy="4608512"/>
          </a:xfrm>
          <a:prstGeom prst="rect">
            <a:avLst/>
          </a:prstGeom>
        </p:spPr>
        <p:txBody>
          <a:bodyPr/>
          <a:lstStyle>
            <a:lvl1pPr>
              <a:defRPr sz="1600" baseline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200"/>
            </a:lvl5pPr>
          </a:lstStyle>
          <a:p>
            <a:pPr lvl="0"/>
            <a:r>
              <a:rPr lang="en-GB"/>
              <a:t>Additional information (if needed)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E003BD7A-F01A-06D5-1347-142D6718027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D21CEA3-6DCB-39EF-785E-B6D8351B516B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C8F70AC2-5CCA-5E12-AE3F-E9AB5AAE0AB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0BFDA517-75E5-B2F6-DAB1-0789ABE60D1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9362"/>
            <a:ext cx="8640959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D471A336-E78E-212B-11DB-66B6C69691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68768" y="-171392"/>
            <a:ext cx="12025408" cy="6264688"/>
            <a:chOff x="-168768" y="-171392"/>
            <a:chExt cx="12025408" cy="6264688"/>
          </a:xfrm>
        </p:grpSpPr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614AA37C-058C-D8C1-FAC4-3578BB6E6146}"/>
                </a:ext>
              </a:extLst>
            </p:cNvPr>
            <p:cNvCxnSpPr/>
            <p:nvPr userDrawn="1"/>
          </p:nvCxnSpPr>
          <p:spPr bwMode="gray">
            <a:xfrm>
              <a:off x="33536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7C777EDE-9DAA-6FBD-8EE5-03529F09B9EA}"/>
                </a:ext>
              </a:extLst>
            </p:cNvPr>
            <p:cNvCxnSpPr/>
            <p:nvPr userDrawn="1"/>
          </p:nvCxnSpPr>
          <p:spPr bwMode="gray">
            <a:xfrm>
              <a:off x="436780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BBB69102-39E3-F6F2-7E1A-17ED9D1931F7}"/>
                </a:ext>
              </a:extLst>
            </p:cNvPr>
            <p:cNvCxnSpPr/>
            <p:nvPr userDrawn="1"/>
          </p:nvCxnSpPr>
          <p:spPr bwMode="gray">
            <a:xfrm>
              <a:off x="494387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97222382-B0AE-7B98-FE0E-AB5EED352E8C}"/>
                </a:ext>
              </a:extLst>
            </p:cNvPr>
            <p:cNvCxnSpPr/>
            <p:nvPr userDrawn="1"/>
          </p:nvCxnSpPr>
          <p:spPr bwMode="gray">
            <a:xfrm>
              <a:off x="667206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r Verbinder 44">
              <a:extLst>
                <a:ext uri="{FF2B5EF4-FFF2-40B4-BE49-F238E27FC236}">
                  <a16:creationId xmlns:a16="http://schemas.microsoft.com/office/drawing/2014/main" id="{3A791548-9C94-179E-E0DB-98BA87A66926}"/>
                </a:ext>
              </a:extLst>
            </p:cNvPr>
            <p:cNvCxnSpPr/>
            <p:nvPr userDrawn="1"/>
          </p:nvCxnSpPr>
          <p:spPr bwMode="gray">
            <a:xfrm>
              <a:off x="609600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r Verbinder 45">
              <a:extLst>
                <a:ext uri="{FF2B5EF4-FFF2-40B4-BE49-F238E27FC236}">
                  <a16:creationId xmlns:a16="http://schemas.microsoft.com/office/drawing/2014/main" id="{6B2097C2-6B96-FA99-2DBE-97C8525F8CDA}"/>
                </a:ext>
              </a:extLst>
            </p:cNvPr>
            <p:cNvCxnSpPr/>
            <p:nvPr userDrawn="1"/>
          </p:nvCxnSpPr>
          <p:spPr bwMode="gray">
            <a:xfrm>
              <a:off x="724812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F83C5958-6DE3-C846-17E5-591C616466CA}"/>
                </a:ext>
              </a:extLst>
            </p:cNvPr>
            <p:cNvCxnSpPr/>
            <p:nvPr userDrawn="1"/>
          </p:nvCxnSpPr>
          <p:spPr bwMode="gray">
            <a:xfrm>
              <a:off x="782419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r Verbinder 47">
              <a:extLst>
                <a:ext uri="{FF2B5EF4-FFF2-40B4-BE49-F238E27FC236}">
                  <a16:creationId xmlns:a16="http://schemas.microsoft.com/office/drawing/2014/main" id="{4B5F3795-A7E6-A396-B330-9CF9231F68C1}"/>
                </a:ext>
              </a:extLst>
            </p:cNvPr>
            <p:cNvCxnSpPr/>
            <p:nvPr userDrawn="1"/>
          </p:nvCxnSpPr>
          <p:spPr bwMode="gray">
            <a:xfrm>
              <a:off x="840025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r Verbinder 48">
              <a:extLst>
                <a:ext uri="{FF2B5EF4-FFF2-40B4-BE49-F238E27FC236}">
                  <a16:creationId xmlns:a16="http://schemas.microsoft.com/office/drawing/2014/main" id="{FA3167DB-FCA9-1157-EA8C-9AABB52FD83C}"/>
                </a:ext>
              </a:extLst>
            </p:cNvPr>
            <p:cNvCxnSpPr/>
            <p:nvPr userDrawn="1"/>
          </p:nvCxnSpPr>
          <p:spPr bwMode="gray">
            <a:xfrm>
              <a:off x="897632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8AE3CBFF-A992-82F6-5756-2978F2E0E0E5}"/>
                </a:ext>
              </a:extLst>
            </p:cNvPr>
            <p:cNvCxnSpPr/>
            <p:nvPr userDrawn="1"/>
          </p:nvCxnSpPr>
          <p:spPr bwMode="gray">
            <a:xfrm>
              <a:off x="1128057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4130D2C9-C787-6CB7-6601-3C5B43012295}"/>
                </a:ext>
              </a:extLst>
            </p:cNvPr>
            <p:cNvCxnSpPr/>
            <p:nvPr userDrawn="1"/>
          </p:nvCxnSpPr>
          <p:spPr bwMode="gray">
            <a:xfrm>
              <a:off x="1185664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B91FD76D-2DA8-0BEE-2C31-6701388B4322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29665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81CB9413-3AD6-BADD-FFCE-AFA50B56A366}"/>
                </a:ext>
              </a:extLst>
            </p:cNvPr>
            <p:cNvCxnSpPr/>
            <p:nvPr userDrawn="1"/>
          </p:nvCxnSpPr>
          <p:spPr bwMode="gray">
            <a:xfrm>
              <a:off x="321568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A6D1D4E1-D217-12DB-15FD-AEC5277E80E1}"/>
                </a:ext>
              </a:extLst>
            </p:cNvPr>
            <p:cNvCxnSpPr/>
            <p:nvPr userDrawn="1"/>
          </p:nvCxnSpPr>
          <p:spPr bwMode="gray">
            <a:xfrm>
              <a:off x="379174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65F5C977-A5F0-AD9D-7C45-012F66A7C090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04" y="87272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F6FAF055-CE3A-AECE-96E1-1074327C5F50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12" y="202484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>
              <a:extLst>
                <a:ext uri="{FF2B5EF4-FFF2-40B4-BE49-F238E27FC236}">
                  <a16:creationId xmlns:a16="http://schemas.microsoft.com/office/drawing/2014/main" id="{6DB07415-13D3-620C-DCE1-E5B0BB7D4990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68" y="605729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17AB6F6D-E354-1308-F69A-F9E6B6593863}"/>
                </a:ext>
              </a:extLst>
            </p:cNvPr>
            <p:cNvCxnSpPr/>
            <p:nvPr/>
          </p:nvCxnSpPr>
          <p:spPr bwMode="gray">
            <a:xfrm>
              <a:off x="1070451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>
              <a:extLst>
                <a:ext uri="{FF2B5EF4-FFF2-40B4-BE49-F238E27FC236}">
                  <a16:creationId xmlns:a16="http://schemas.microsoft.com/office/drawing/2014/main" id="{249D62AA-0A19-BFD3-D192-A521BB017667}"/>
                </a:ext>
              </a:extLst>
            </p:cNvPr>
            <p:cNvCxnSpPr/>
            <p:nvPr/>
          </p:nvCxnSpPr>
          <p:spPr bwMode="gray">
            <a:xfrm>
              <a:off x="1012844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29A66BF4-1DC1-7B93-4F5A-2665C980CD34}"/>
                </a:ext>
              </a:extLst>
            </p:cNvPr>
            <p:cNvCxnSpPr/>
            <p:nvPr/>
          </p:nvCxnSpPr>
          <p:spPr bwMode="gray">
            <a:xfrm>
              <a:off x="955059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r Verbinder 78">
              <a:extLst>
                <a:ext uri="{FF2B5EF4-FFF2-40B4-BE49-F238E27FC236}">
                  <a16:creationId xmlns:a16="http://schemas.microsoft.com/office/drawing/2014/main" id="{6AE0F9F6-69B5-7CA0-3769-59366F124202}"/>
                </a:ext>
              </a:extLst>
            </p:cNvPr>
            <p:cNvCxnSpPr/>
            <p:nvPr/>
          </p:nvCxnSpPr>
          <p:spPr bwMode="gray">
            <a:xfrm>
              <a:off x="551973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r Verbinder 79">
              <a:extLst>
                <a:ext uri="{FF2B5EF4-FFF2-40B4-BE49-F238E27FC236}">
                  <a16:creationId xmlns:a16="http://schemas.microsoft.com/office/drawing/2014/main" id="{29C52264-647E-491D-E96E-512712512056}"/>
                </a:ext>
              </a:extLst>
            </p:cNvPr>
            <p:cNvCxnSpPr/>
            <p:nvPr/>
          </p:nvCxnSpPr>
          <p:spPr bwMode="gray">
            <a:xfrm>
              <a:off x="263961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r Verbinder 80">
              <a:extLst>
                <a:ext uri="{FF2B5EF4-FFF2-40B4-BE49-F238E27FC236}">
                  <a16:creationId xmlns:a16="http://schemas.microsoft.com/office/drawing/2014/main" id="{6619F630-0836-D6D3-0058-564120FFA883}"/>
                </a:ext>
              </a:extLst>
            </p:cNvPr>
            <p:cNvCxnSpPr/>
            <p:nvPr/>
          </p:nvCxnSpPr>
          <p:spPr bwMode="gray">
            <a:xfrm>
              <a:off x="206355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r Verbinder 81">
              <a:extLst>
                <a:ext uri="{FF2B5EF4-FFF2-40B4-BE49-F238E27FC236}">
                  <a16:creationId xmlns:a16="http://schemas.microsoft.com/office/drawing/2014/main" id="{B2BD9DCE-906B-E91C-0DC8-85B7BBF5F31D}"/>
                </a:ext>
              </a:extLst>
            </p:cNvPr>
            <p:cNvCxnSpPr/>
            <p:nvPr/>
          </p:nvCxnSpPr>
          <p:spPr bwMode="gray">
            <a:xfrm>
              <a:off x="148748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r Verbinder 82">
              <a:extLst>
                <a:ext uri="{FF2B5EF4-FFF2-40B4-BE49-F238E27FC236}">
                  <a16:creationId xmlns:a16="http://schemas.microsoft.com/office/drawing/2014/main" id="{C5F906B0-4EB3-05AA-16C1-D9306595B522}"/>
                </a:ext>
              </a:extLst>
            </p:cNvPr>
            <p:cNvCxnSpPr/>
            <p:nvPr/>
          </p:nvCxnSpPr>
          <p:spPr bwMode="gray">
            <a:xfrm>
              <a:off x="91142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r Verbinder 83">
              <a:extLst>
                <a:ext uri="{FF2B5EF4-FFF2-40B4-BE49-F238E27FC236}">
                  <a16:creationId xmlns:a16="http://schemas.microsoft.com/office/drawing/2014/main" id="{3A372DE1-7026-DFCE-06AC-C6EB3B562CF0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04" y="144878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>
              <a:extLst>
                <a:ext uri="{FF2B5EF4-FFF2-40B4-BE49-F238E27FC236}">
                  <a16:creationId xmlns:a16="http://schemas.microsoft.com/office/drawing/2014/main" id="{EA07537A-B615-F10B-7B03-61B5D4DD7DEB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260091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>
              <a:extLst>
                <a:ext uri="{FF2B5EF4-FFF2-40B4-BE49-F238E27FC236}">
                  <a16:creationId xmlns:a16="http://schemas.microsoft.com/office/drawing/2014/main" id="{2EEEE6A8-C2E3-6E60-C7DE-66758AA1CBAF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17697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>
              <a:extLst>
                <a:ext uri="{FF2B5EF4-FFF2-40B4-BE49-F238E27FC236}">
                  <a16:creationId xmlns:a16="http://schemas.microsoft.com/office/drawing/2014/main" id="{3C592C6B-FF47-4240-CF42-615E6E95A10B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75304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>
              <a:extLst>
                <a:ext uri="{FF2B5EF4-FFF2-40B4-BE49-F238E27FC236}">
                  <a16:creationId xmlns:a16="http://schemas.microsoft.com/office/drawing/2014/main" id="{32C23859-3170-3C61-1D60-D6865E266654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32910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>
              <a:extLst>
                <a:ext uri="{FF2B5EF4-FFF2-40B4-BE49-F238E27FC236}">
                  <a16:creationId xmlns:a16="http://schemas.microsoft.com/office/drawing/2014/main" id="{8DFAC45E-46A2-2596-F3FC-F801F4E9C3BA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90516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>
              <a:extLst>
                <a:ext uri="{FF2B5EF4-FFF2-40B4-BE49-F238E27FC236}">
                  <a16:creationId xmlns:a16="http://schemas.microsoft.com/office/drawing/2014/main" id="{83BE0038-749F-F5EF-C7EA-87AB3FF1C85C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548123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341620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F05397D-3687-D9A7-1C30-D93F5F9664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6209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F05397D-3687-D9A7-1C30-D93F5F9664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9" name="Shape">
            <a:extLst>
              <a:ext uri="{FF2B5EF4-FFF2-40B4-BE49-F238E27FC236}">
                <a16:creationId xmlns:a16="http://schemas.microsoft.com/office/drawing/2014/main" id="{A308B59F-C74A-41A0-8B1E-7A5EFCC4D0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335360" y="1485537"/>
            <a:ext cx="5184824" cy="201547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sp>
        <p:nvSpPr>
          <p:cNvPr id="110" name="Shape">
            <a:extLst>
              <a:ext uri="{FF2B5EF4-FFF2-40B4-BE49-F238E27FC236}">
                <a16:creationId xmlns:a16="http://schemas.microsoft.com/office/drawing/2014/main" id="{4BF4C20B-694A-46F7-9866-549844DD6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6096868" y="1485537"/>
            <a:ext cx="5183708" cy="201547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7C9F81EF-6E6B-4C6B-8728-D3ABC0E420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GB"/>
              <a:t>Insert your headline in Lato Heavy 24 pt here</a:t>
            </a:r>
          </a:p>
        </p:txBody>
      </p:sp>
      <p:sp>
        <p:nvSpPr>
          <p:cNvPr id="88" name="Picture Placeholder 3">
            <a:extLst>
              <a:ext uri="{FF2B5EF4-FFF2-40B4-BE49-F238E27FC236}">
                <a16:creationId xmlns:a16="http://schemas.microsoft.com/office/drawing/2014/main" id="{FE641735-A1C5-43D0-BD73-1778301964C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51672" y="1701537"/>
            <a:ext cx="1368000" cy="1584000"/>
          </a:xfrm>
          <a:prstGeom prst="rect">
            <a:avLst/>
          </a:prstGeom>
          <a:solidFill>
            <a:srgbClr val="D6D9DC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GB"/>
              <a:t> </a:t>
            </a:r>
          </a:p>
        </p:txBody>
      </p:sp>
      <p:sp>
        <p:nvSpPr>
          <p:cNvPr id="89" name="Text Placeholder 5">
            <a:extLst>
              <a:ext uri="{FF2B5EF4-FFF2-40B4-BE49-F238E27FC236}">
                <a16:creationId xmlns:a16="http://schemas.microsoft.com/office/drawing/2014/main" id="{35F3426A-8179-413F-A089-EDC85F7AE52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07904" y="1701537"/>
            <a:ext cx="302400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Country</a:t>
            </a:r>
          </a:p>
        </p:txBody>
      </p:sp>
      <p:sp>
        <p:nvSpPr>
          <p:cNvPr id="90" name="Text Placeholder 5">
            <a:extLst>
              <a:ext uri="{FF2B5EF4-FFF2-40B4-BE49-F238E27FC236}">
                <a16:creationId xmlns:a16="http://schemas.microsoft.com/office/drawing/2014/main" id="{77DE9175-08EB-4DE9-AF2A-082DE24F91B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207904" y="2060848"/>
            <a:ext cx="3024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91" name="Text Placeholder 5">
            <a:extLst>
              <a:ext uri="{FF2B5EF4-FFF2-40B4-BE49-F238E27FC236}">
                <a16:creationId xmlns:a16="http://schemas.microsoft.com/office/drawing/2014/main" id="{D5EF4277-ADF9-4E2E-B2BE-1A7E9852139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207904" y="2277537"/>
            <a:ext cx="302400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Job Position</a:t>
            </a:r>
          </a:p>
        </p:txBody>
      </p:sp>
      <p:sp>
        <p:nvSpPr>
          <p:cNvPr id="92" name="Text Placeholder 5">
            <a:extLst>
              <a:ext uri="{FF2B5EF4-FFF2-40B4-BE49-F238E27FC236}">
                <a16:creationId xmlns:a16="http://schemas.microsoft.com/office/drawing/2014/main" id="{7BDBE224-C61A-4B63-ACB4-6021E55B9D3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207903" y="2853537"/>
            <a:ext cx="3024001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Phone number</a:t>
            </a:r>
          </a:p>
        </p:txBody>
      </p:sp>
      <p:sp>
        <p:nvSpPr>
          <p:cNvPr id="93" name="Text Placeholder 5">
            <a:extLst>
              <a:ext uri="{FF2B5EF4-FFF2-40B4-BE49-F238E27FC236}">
                <a16:creationId xmlns:a16="http://schemas.microsoft.com/office/drawing/2014/main" id="{12C39AE6-6E95-408F-AB43-27C17926E0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2207903" y="3069537"/>
            <a:ext cx="3024001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Email address</a:t>
            </a:r>
          </a:p>
        </p:txBody>
      </p:sp>
      <p:sp>
        <p:nvSpPr>
          <p:cNvPr id="107" name="Text Placeholder 34">
            <a:extLst>
              <a:ext uri="{FF2B5EF4-FFF2-40B4-BE49-F238E27FC236}">
                <a16:creationId xmlns:a16="http://schemas.microsoft.com/office/drawing/2014/main" id="{7A67B2C7-A9D1-420E-A686-D67FE2D6C26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2063553" y="4077073"/>
            <a:ext cx="3456384" cy="2015752"/>
          </a:xfrm>
          <a:prstGeom prst="rect">
            <a:avLst/>
          </a:prstGeom>
        </p:spPr>
        <p:txBody>
          <a:bodyPr/>
          <a:lstStyle>
            <a:lvl1pPr>
              <a:defRPr sz="1600" baseline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200"/>
            </a:lvl5pPr>
          </a:lstStyle>
          <a:p>
            <a:pPr lvl="0"/>
            <a:r>
              <a:rPr lang="en-GB"/>
              <a:t>Additional information (if needed)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1" name="Picture Placeholder 3">
            <a:extLst>
              <a:ext uri="{FF2B5EF4-FFF2-40B4-BE49-F238E27FC236}">
                <a16:creationId xmlns:a16="http://schemas.microsoft.com/office/drawing/2014/main" id="{2F3F9AB8-A6A9-4914-B176-D5301D8AD889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6313338" y="1701537"/>
            <a:ext cx="1368000" cy="1584000"/>
          </a:xfrm>
          <a:prstGeom prst="rect">
            <a:avLst/>
          </a:prstGeom>
          <a:solidFill>
            <a:srgbClr val="D6D9DC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GB"/>
              <a:t> </a:t>
            </a:r>
          </a:p>
        </p:txBody>
      </p:sp>
      <p:sp>
        <p:nvSpPr>
          <p:cNvPr id="102" name="Text Placeholder 5">
            <a:extLst>
              <a:ext uri="{FF2B5EF4-FFF2-40B4-BE49-F238E27FC236}">
                <a16:creationId xmlns:a16="http://schemas.microsoft.com/office/drawing/2014/main" id="{60D53D97-2F4B-4FF3-BB08-6DE88C7D08D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7969522" y="1701537"/>
            <a:ext cx="302400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Country</a:t>
            </a:r>
          </a:p>
        </p:txBody>
      </p:sp>
      <p:sp>
        <p:nvSpPr>
          <p:cNvPr id="103" name="Text Placeholder 5">
            <a:extLst>
              <a:ext uri="{FF2B5EF4-FFF2-40B4-BE49-F238E27FC236}">
                <a16:creationId xmlns:a16="http://schemas.microsoft.com/office/drawing/2014/main" id="{912FAF1E-DB1C-42D7-9953-A4E2639C864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7968208" y="2060848"/>
            <a:ext cx="3024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104" name="Text Placeholder 5">
            <a:extLst>
              <a:ext uri="{FF2B5EF4-FFF2-40B4-BE49-F238E27FC236}">
                <a16:creationId xmlns:a16="http://schemas.microsoft.com/office/drawing/2014/main" id="{4BEAEA15-5204-41C5-AEFB-5901E9232BC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7969522" y="2277537"/>
            <a:ext cx="302400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Job Position</a:t>
            </a:r>
          </a:p>
        </p:txBody>
      </p:sp>
      <p:sp>
        <p:nvSpPr>
          <p:cNvPr id="105" name="Text Placeholder 5">
            <a:extLst>
              <a:ext uri="{FF2B5EF4-FFF2-40B4-BE49-F238E27FC236}">
                <a16:creationId xmlns:a16="http://schemas.microsoft.com/office/drawing/2014/main" id="{268C1B9F-921F-461C-A9B2-8860F57E26D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7969522" y="2853537"/>
            <a:ext cx="3024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Phone number</a:t>
            </a:r>
          </a:p>
        </p:txBody>
      </p:sp>
      <p:sp>
        <p:nvSpPr>
          <p:cNvPr id="106" name="Text Placeholder 5">
            <a:extLst>
              <a:ext uri="{FF2B5EF4-FFF2-40B4-BE49-F238E27FC236}">
                <a16:creationId xmlns:a16="http://schemas.microsoft.com/office/drawing/2014/main" id="{DF6DB13D-A16B-44FD-BBA4-181841B2C8E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7969522" y="3069537"/>
            <a:ext cx="3024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Email address</a:t>
            </a:r>
          </a:p>
        </p:txBody>
      </p:sp>
      <p:sp>
        <p:nvSpPr>
          <p:cNvPr id="108" name="Text Placeholder 34">
            <a:extLst>
              <a:ext uri="{FF2B5EF4-FFF2-40B4-BE49-F238E27FC236}">
                <a16:creationId xmlns:a16="http://schemas.microsoft.com/office/drawing/2014/main" id="{0739D20A-6CD2-4EFD-BFD8-AC097164997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7823696" y="4077073"/>
            <a:ext cx="3456880" cy="2015752"/>
          </a:xfrm>
          <a:prstGeom prst="rect">
            <a:avLst/>
          </a:prstGeom>
        </p:spPr>
        <p:txBody>
          <a:bodyPr/>
          <a:lstStyle>
            <a:lvl1pPr>
              <a:defRPr sz="1600" baseline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200"/>
            </a:lvl5pPr>
          </a:lstStyle>
          <a:p>
            <a:pPr lvl="0"/>
            <a:r>
              <a:rPr lang="en-GB"/>
              <a:t>Additional information (if needed)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2713F7A-5C35-B887-9F08-85A23FD350E8}"/>
              </a:ext>
            </a:extLst>
          </p:cNvPr>
          <p:cNvSpPr>
            <a:spLocks noGrp="1"/>
          </p:cNvSpPr>
          <p:nvPr>
            <p:ph type="dt" sz="half" idx="43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657E96E2-5EA8-24B2-EA54-495B181B0451}"/>
              </a:ext>
            </a:extLst>
          </p:cNvPr>
          <p:cNvSpPr>
            <a:spLocks noGrp="1"/>
          </p:cNvSpPr>
          <p:nvPr>
            <p:ph type="ftr" sz="quarter" idx="44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6CF8160-F9AF-86D0-3053-8F8EAED79D7C}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3" name="Subtitle">
            <a:extLst>
              <a:ext uri="{FF2B5EF4-FFF2-40B4-BE49-F238E27FC236}">
                <a16:creationId xmlns:a16="http://schemas.microsoft.com/office/drawing/2014/main" id="{3D4E36E5-F733-2802-B6B7-B993A9A4C347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9362"/>
            <a:ext cx="8640959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7BA08125-7EE7-2C3E-8DF3-AD871BACC4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68768" y="-171392"/>
            <a:ext cx="12025408" cy="6264688"/>
            <a:chOff x="-168768" y="-171392"/>
            <a:chExt cx="12025408" cy="6264688"/>
          </a:xfrm>
        </p:grpSpPr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A63EB47B-48F1-4F0D-CA39-C5C4657A3AAE}"/>
                </a:ext>
              </a:extLst>
            </p:cNvPr>
            <p:cNvCxnSpPr/>
            <p:nvPr userDrawn="1"/>
          </p:nvCxnSpPr>
          <p:spPr bwMode="gray">
            <a:xfrm>
              <a:off x="33536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BAF29743-DC5B-F663-198D-EE185689E8FE}"/>
                </a:ext>
              </a:extLst>
            </p:cNvPr>
            <p:cNvCxnSpPr/>
            <p:nvPr userDrawn="1"/>
          </p:nvCxnSpPr>
          <p:spPr bwMode="gray">
            <a:xfrm>
              <a:off x="436780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B7F96642-175F-F984-FF1C-836167D1AF85}"/>
                </a:ext>
              </a:extLst>
            </p:cNvPr>
            <p:cNvCxnSpPr/>
            <p:nvPr userDrawn="1"/>
          </p:nvCxnSpPr>
          <p:spPr bwMode="gray">
            <a:xfrm>
              <a:off x="494387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r Verbinder 44">
              <a:extLst>
                <a:ext uri="{FF2B5EF4-FFF2-40B4-BE49-F238E27FC236}">
                  <a16:creationId xmlns:a16="http://schemas.microsoft.com/office/drawing/2014/main" id="{3BE06527-59D7-682D-5217-C3F4D93E8144}"/>
                </a:ext>
              </a:extLst>
            </p:cNvPr>
            <p:cNvCxnSpPr/>
            <p:nvPr userDrawn="1"/>
          </p:nvCxnSpPr>
          <p:spPr bwMode="gray">
            <a:xfrm>
              <a:off x="667206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r Verbinder 45">
              <a:extLst>
                <a:ext uri="{FF2B5EF4-FFF2-40B4-BE49-F238E27FC236}">
                  <a16:creationId xmlns:a16="http://schemas.microsoft.com/office/drawing/2014/main" id="{CF2B8E3A-F94B-DA1C-1E11-CBF254A36770}"/>
                </a:ext>
              </a:extLst>
            </p:cNvPr>
            <p:cNvCxnSpPr/>
            <p:nvPr userDrawn="1"/>
          </p:nvCxnSpPr>
          <p:spPr bwMode="gray">
            <a:xfrm>
              <a:off x="609600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ED487374-447E-EA87-96D4-72788F9EADA3}"/>
                </a:ext>
              </a:extLst>
            </p:cNvPr>
            <p:cNvCxnSpPr/>
            <p:nvPr userDrawn="1"/>
          </p:nvCxnSpPr>
          <p:spPr bwMode="gray">
            <a:xfrm>
              <a:off x="724812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r Verbinder 47">
              <a:extLst>
                <a:ext uri="{FF2B5EF4-FFF2-40B4-BE49-F238E27FC236}">
                  <a16:creationId xmlns:a16="http://schemas.microsoft.com/office/drawing/2014/main" id="{047C5ED3-2F44-0429-26F6-A1BC58A4F6FA}"/>
                </a:ext>
              </a:extLst>
            </p:cNvPr>
            <p:cNvCxnSpPr/>
            <p:nvPr userDrawn="1"/>
          </p:nvCxnSpPr>
          <p:spPr bwMode="gray">
            <a:xfrm>
              <a:off x="782419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r Verbinder 48">
              <a:extLst>
                <a:ext uri="{FF2B5EF4-FFF2-40B4-BE49-F238E27FC236}">
                  <a16:creationId xmlns:a16="http://schemas.microsoft.com/office/drawing/2014/main" id="{576018A4-244C-064D-D399-540C7D55C3CB}"/>
                </a:ext>
              </a:extLst>
            </p:cNvPr>
            <p:cNvCxnSpPr/>
            <p:nvPr userDrawn="1"/>
          </p:nvCxnSpPr>
          <p:spPr bwMode="gray">
            <a:xfrm>
              <a:off x="840025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r Verbinder 49">
              <a:extLst>
                <a:ext uri="{FF2B5EF4-FFF2-40B4-BE49-F238E27FC236}">
                  <a16:creationId xmlns:a16="http://schemas.microsoft.com/office/drawing/2014/main" id="{8D7D2905-272D-4856-E1A7-78CEEF93A2EE}"/>
                </a:ext>
              </a:extLst>
            </p:cNvPr>
            <p:cNvCxnSpPr/>
            <p:nvPr userDrawn="1"/>
          </p:nvCxnSpPr>
          <p:spPr bwMode="gray">
            <a:xfrm>
              <a:off x="897632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D18A054D-07F2-D93E-B14F-F85D9F104C6F}"/>
                </a:ext>
              </a:extLst>
            </p:cNvPr>
            <p:cNvCxnSpPr/>
            <p:nvPr userDrawn="1"/>
          </p:nvCxnSpPr>
          <p:spPr bwMode="gray">
            <a:xfrm>
              <a:off x="1128057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944E1B69-9971-B70D-3FE9-CF02DA52AB3E}"/>
                </a:ext>
              </a:extLst>
            </p:cNvPr>
            <p:cNvCxnSpPr/>
            <p:nvPr userDrawn="1"/>
          </p:nvCxnSpPr>
          <p:spPr bwMode="gray">
            <a:xfrm>
              <a:off x="1185664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71E43C26-43B9-6C35-39AC-2E845039CC4D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29665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421E4475-FFD3-2512-8444-9C898AFE40C3}"/>
                </a:ext>
              </a:extLst>
            </p:cNvPr>
            <p:cNvCxnSpPr/>
            <p:nvPr userDrawn="1"/>
          </p:nvCxnSpPr>
          <p:spPr bwMode="gray">
            <a:xfrm>
              <a:off x="321568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E1037DF9-8870-38FA-5D07-784353C93133}"/>
                </a:ext>
              </a:extLst>
            </p:cNvPr>
            <p:cNvCxnSpPr/>
            <p:nvPr userDrawn="1"/>
          </p:nvCxnSpPr>
          <p:spPr bwMode="gray">
            <a:xfrm>
              <a:off x="379174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4BA03DE7-52EF-3925-FB09-75AABA13C108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04" y="87272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>
              <a:extLst>
                <a:ext uri="{FF2B5EF4-FFF2-40B4-BE49-F238E27FC236}">
                  <a16:creationId xmlns:a16="http://schemas.microsoft.com/office/drawing/2014/main" id="{015FF6DE-77DF-E7A4-6392-886F005BA770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12" y="202484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19714360-1C88-C497-CB2B-1AC73C16FB6F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68" y="605729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>
              <a:extLst>
                <a:ext uri="{FF2B5EF4-FFF2-40B4-BE49-F238E27FC236}">
                  <a16:creationId xmlns:a16="http://schemas.microsoft.com/office/drawing/2014/main" id="{ABC11D07-DA96-CF44-E243-01D51D0803D3}"/>
                </a:ext>
              </a:extLst>
            </p:cNvPr>
            <p:cNvCxnSpPr/>
            <p:nvPr/>
          </p:nvCxnSpPr>
          <p:spPr bwMode="gray">
            <a:xfrm>
              <a:off x="1070451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D0EDB25F-FC82-D8FF-F38B-3DC0A5C35908}"/>
                </a:ext>
              </a:extLst>
            </p:cNvPr>
            <p:cNvCxnSpPr/>
            <p:nvPr/>
          </p:nvCxnSpPr>
          <p:spPr bwMode="gray">
            <a:xfrm>
              <a:off x="1012844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r Verbinder 78">
              <a:extLst>
                <a:ext uri="{FF2B5EF4-FFF2-40B4-BE49-F238E27FC236}">
                  <a16:creationId xmlns:a16="http://schemas.microsoft.com/office/drawing/2014/main" id="{20814C5E-3771-ADF3-6472-F72D9415AB10}"/>
                </a:ext>
              </a:extLst>
            </p:cNvPr>
            <p:cNvCxnSpPr/>
            <p:nvPr/>
          </p:nvCxnSpPr>
          <p:spPr bwMode="gray">
            <a:xfrm>
              <a:off x="955059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r Verbinder 79">
              <a:extLst>
                <a:ext uri="{FF2B5EF4-FFF2-40B4-BE49-F238E27FC236}">
                  <a16:creationId xmlns:a16="http://schemas.microsoft.com/office/drawing/2014/main" id="{5965A344-B930-F141-E35D-CF38ABC09AF6}"/>
                </a:ext>
              </a:extLst>
            </p:cNvPr>
            <p:cNvCxnSpPr/>
            <p:nvPr/>
          </p:nvCxnSpPr>
          <p:spPr bwMode="gray">
            <a:xfrm>
              <a:off x="551973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r Verbinder 80">
              <a:extLst>
                <a:ext uri="{FF2B5EF4-FFF2-40B4-BE49-F238E27FC236}">
                  <a16:creationId xmlns:a16="http://schemas.microsoft.com/office/drawing/2014/main" id="{564B4EDB-4AE0-712F-1385-1BC8DCA7D11E}"/>
                </a:ext>
              </a:extLst>
            </p:cNvPr>
            <p:cNvCxnSpPr/>
            <p:nvPr/>
          </p:nvCxnSpPr>
          <p:spPr bwMode="gray">
            <a:xfrm>
              <a:off x="263961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r Verbinder 81">
              <a:extLst>
                <a:ext uri="{FF2B5EF4-FFF2-40B4-BE49-F238E27FC236}">
                  <a16:creationId xmlns:a16="http://schemas.microsoft.com/office/drawing/2014/main" id="{DDB8D53C-DF1A-A9F5-08B0-6A4E543D2C1F}"/>
                </a:ext>
              </a:extLst>
            </p:cNvPr>
            <p:cNvCxnSpPr/>
            <p:nvPr/>
          </p:nvCxnSpPr>
          <p:spPr bwMode="gray">
            <a:xfrm>
              <a:off x="206355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r Verbinder 82">
              <a:extLst>
                <a:ext uri="{FF2B5EF4-FFF2-40B4-BE49-F238E27FC236}">
                  <a16:creationId xmlns:a16="http://schemas.microsoft.com/office/drawing/2014/main" id="{37270D82-F775-CAD8-DF14-FA3009CD7F3B}"/>
                </a:ext>
              </a:extLst>
            </p:cNvPr>
            <p:cNvCxnSpPr/>
            <p:nvPr/>
          </p:nvCxnSpPr>
          <p:spPr bwMode="gray">
            <a:xfrm>
              <a:off x="148748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r Verbinder 83">
              <a:extLst>
                <a:ext uri="{FF2B5EF4-FFF2-40B4-BE49-F238E27FC236}">
                  <a16:creationId xmlns:a16="http://schemas.microsoft.com/office/drawing/2014/main" id="{F502EC40-7322-8A63-B513-55B9F07640C6}"/>
                </a:ext>
              </a:extLst>
            </p:cNvPr>
            <p:cNvCxnSpPr/>
            <p:nvPr/>
          </p:nvCxnSpPr>
          <p:spPr bwMode="gray">
            <a:xfrm>
              <a:off x="91142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>
              <a:extLst>
                <a:ext uri="{FF2B5EF4-FFF2-40B4-BE49-F238E27FC236}">
                  <a16:creationId xmlns:a16="http://schemas.microsoft.com/office/drawing/2014/main" id="{9C4992A9-051E-70B2-94A4-652D3D379EF2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04" y="144878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>
              <a:extLst>
                <a:ext uri="{FF2B5EF4-FFF2-40B4-BE49-F238E27FC236}">
                  <a16:creationId xmlns:a16="http://schemas.microsoft.com/office/drawing/2014/main" id="{86B5A0F3-3CAA-ADAC-0FF7-5EBAC246CEC0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260091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>
              <a:extLst>
                <a:ext uri="{FF2B5EF4-FFF2-40B4-BE49-F238E27FC236}">
                  <a16:creationId xmlns:a16="http://schemas.microsoft.com/office/drawing/2014/main" id="{4893B2CD-1737-51CD-3E35-B36404D6668E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17697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>
              <a:extLst>
                <a:ext uri="{FF2B5EF4-FFF2-40B4-BE49-F238E27FC236}">
                  <a16:creationId xmlns:a16="http://schemas.microsoft.com/office/drawing/2014/main" id="{D89CAAAF-A199-CDF6-761C-D504587EB31B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75304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>
              <a:extLst>
                <a:ext uri="{FF2B5EF4-FFF2-40B4-BE49-F238E27FC236}">
                  <a16:creationId xmlns:a16="http://schemas.microsoft.com/office/drawing/2014/main" id="{D1CDE91A-803E-A38E-F98C-3F190B8BC150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32910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r Verbinder 95">
              <a:extLst>
                <a:ext uri="{FF2B5EF4-FFF2-40B4-BE49-F238E27FC236}">
                  <a16:creationId xmlns:a16="http://schemas.microsoft.com/office/drawing/2014/main" id="{D5FC61C6-EFE3-5D02-5E56-ACE89948925B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90516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r Verbinder 96">
              <a:extLst>
                <a:ext uri="{FF2B5EF4-FFF2-40B4-BE49-F238E27FC236}">
                  <a16:creationId xmlns:a16="http://schemas.microsoft.com/office/drawing/2014/main" id="{8F538CFD-67EB-985E-734C-5D34BBCE8FBE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548123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934449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334A277-72C3-E467-A2EF-5303E1A519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2119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334A277-72C3-E467-A2EF-5303E1A519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">
            <a:extLst>
              <a:ext uri="{FF2B5EF4-FFF2-40B4-BE49-F238E27FC236}">
                <a16:creationId xmlns:a16="http://schemas.microsoft.com/office/drawing/2014/main" id="{03F187D5-78CE-4CB4-97FD-A8472D948E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GB"/>
              <a:t>Insert your headline in Lato Heavy 24 pt here</a:t>
            </a:r>
          </a:p>
        </p:txBody>
      </p:sp>
      <p:sp>
        <p:nvSpPr>
          <p:cNvPr id="48" name="Shape">
            <a:extLst>
              <a:ext uri="{FF2B5EF4-FFF2-40B4-BE49-F238E27FC236}">
                <a16:creationId xmlns:a16="http://schemas.microsoft.com/office/drawing/2014/main" id="{62E7F382-C6C4-485A-83D1-B2DF463F3B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335360" y="1485364"/>
            <a:ext cx="5184824" cy="201513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sp>
        <p:nvSpPr>
          <p:cNvPr id="94" name="Picture Placeholder 3">
            <a:extLst>
              <a:ext uri="{FF2B5EF4-FFF2-40B4-BE49-F238E27FC236}">
                <a16:creationId xmlns:a16="http://schemas.microsoft.com/office/drawing/2014/main" id="{96D1107F-3E3A-3C4B-8256-95C871BFFA2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51672" y="1701363"/>
            <a:ext cx="1368000" cy="1584000"/>
          </a:xfrm>
          <a:prstGeom prst="rect">
            <a:avLst/>
          </a:prstGeom>
          <a:solidFill>
            <a:srgbClr val="D6D9DC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GB"/>
              <a:t> </a:t>
            </a:r>
          </a:p>
        </p:txBody>
      </p:sp>
      <p:sp>
        <p:nvSpPr>
          <p:cNvPr id="95" name="Text Placeholder 5">
            <a:extLst>
              <a:ext uri="{FF2B5EF4-FFF2-40B4-BE49-F238E27FC236}">
                <a16:creationId xmlns:a16="http://schemas.microsoft.com/office/drawing/2014/main" id="{9E6D6A14-7FC7-2E46-8CC2-5CA4E52119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07904" y="1701363"/>
            <a:ext cx="302400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Country</a:t>
            </a:r>
          </a:p>
        </p:txBody>
      </p:sp>
      <p:sp>
        <p:nvSpPr>
          <p:cNvPr id="96" name="Text Placeholder 5">
            <a:extLst>
              <a:ext uri="{FF2B5EF4-FFF2-40B4-BE49-F238E27FC236}">
                <a16:creationId xmlns:a16="http://schemas.microsoft.com/office/drawing/2014/main" id="{F98B3B28-1889-DA4F-A2D1-BD173114DC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207904" y="2061363"/>
            <a:ext cx="3024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97" name="Text Placeholder 5">
            <a:extLst>
              <a:ext uri="{FF2B5EF4-FFF2-40B4-BE49-F238E27FC236}">
                <a16:creationId xmlns:a16="http://schemas.microsoft.com/office/drawing/2014/main" id="{8AAA19EE-9DB4-474A-A321-C8153907CCE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207904" y="2277363"/>
            <a:ext cx="302400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Job Position</a:t>
            </a:r>
          </a:p>
        </p:txBody>
      </p:sp>
      <p:sp>
        <p:nvSpPr>
          <p:cNvPr id="98" name="Text Placeholder 5">
            <a:extLst>
              <a:ext uri="{FF2B5EF4-FFF2-40B4-BE49-F238E27FC236}">
                <a16:creationId xmlns:a16="http://schemas.microsoft.com/office/drawing/2014/main" id="{B143D523-493C-BC4E-B1AA-5DB95154E3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207904" y="2853363"/>
            <a:ext cx="3024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Phone number</a:t>
            </a:r>
          </a:p>
        </p:txBody>
      </p:sp>
      <p:sp>
        <p:nvSpPr>
          <p:cNvPr id="99" name="Text Placeholder 5">
            <a:extLst>
              <a:ext uri="{FF2B5EF4-FFF2-40B4-BE49-F238E27FC236}">
                <a16:creationId xmlns:a16="http://schemas.microsoft.com/office/drawing/2014/main" id="{9D91B60C-53AD-284C-95D2-EDFB9B2E1C5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2207904" y="3069363"/>
            <a:ext cx="3024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Email address</a:t>
            </a:r>
          </a:p>
        </p:txBody>
      </p:sp>
      <p:sp>
        <p:nvSpPr>
          <p:cNvPr id="49" name="Shape">
            <a:extLst>
              <a:ext uri="{FF2B5EF4-FFF2-40B4-BE49-F238E27FC236}">
                <a16:creationId xmlns:a16="http://schemas.microsoft.com/office/drawing/2014/main" id="{FA2307D6-B00C-4CF8-B22E-11BF9AF7DE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6095801" y="1485877"/>
            <a:ext cx="5184775" cy="201513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sp>
        <p:nvSpPr>
          <p:cNvPr id="119" name="Picture Placeholder 3">
            <a:extLst>
              <a:ext uri="{FF2B5EF4-FFF2-40B4-BE49-F238E27FC236}">
                <a16:creationId xmlns:a16="http://schemas.microsoft.com/office/drawing/2014/main" id="{B5007B33-0681-7C4B-8C02-A2115D4F5A8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6312272" y="1701363"/>
            <a:ext cx="1368000" cy="1584000"/>
          </a:xfrm>
          <a:prstGeom prst="rect">
            <a:avLst/>
          </a:prstGeom>
          <a:solidFill>
            <a:srgbClr val="D6D9DC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GB"/>
              <a:t> </a:t>
            </a:r>
          </a:p>
        </p:txBody>
      </p:sp>
      <p:sp>
        <p:nvSpPr>
          <p:cNvPr id="120" name="Text Placeholder 5">
            <a:extLst>
              <a:ext uri="{FF2B5EF4-FFF2-40B4-BE49-F238E27FC236}">
                <a16:creationId xmlns:a16="http://schemas.microsoft.com/office/drawing/2014/main" id="{7947A278-4541-C145-8A1A-805C82E2BEB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7968792" y="1701363"/>
            <a:ext cx="302400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Country</a:t>
            </a:r>
          </a:p>
        </p:txBody>
      </p:sp>
      <p:sp>
        <p:nvSpPr>
          <p:cNvPr id="121" name="Text Placeholder 5">
            <a:extLst>
              <a:ext uri="{FF2B5EF4-FFF2-40B4-BE49-F238E27FC236}">
                <a16:creationId xmlns:a16="http://schemas.microsoft.com/office/drawing/2014/main" id="{AB572493-73FB-0646-BCF6-467CE0D18D0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7968208" y="2060848"/>
            <a:ext cx="3024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122" name="Text Placeholder 5">
            <a:extLst>
              <a:ext uri="{FF2B5EF4-FFF2-40B4-BE49-F238E27FC236}">
                <a16:creationId xmlns:a16="http://schemas.microsoft.com/office/drawing/2014/main" id="{160A0CE4-A4A1-664B-B2A5-3BEEF22E242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7968792" y="2277363"/>
            <a:ext cx="302400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Job Position</a:t>
            </a:r>
          </a:p>
        </p:txBody>
      </p:sp>
      <p:sp>
        <p:nvSpPr>
          <p:cNvPr id="123" name="Text Placeholder 5">
            <a:extLst>
              <a:ext uri="{FF2B5EF4-FFF2-40B4-BE49-F238E27FC236}">
                <a16:creationId xmlns:a16="http://schemas.microsoft.com/office/drawing/2014/main" id="{595B26DC-2F0F-0741-AD06-D75BE5AE795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7968792" y="2853363"/>
            <a:ext cx="3024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Phone number</a:t>
            </a:r>
          </a:p>
        </p:txBody>
      </p:sp>
      <p:sp>
        <p:nvSpPr>
          <p:cNvPr id="124" name="Text Placeholder 5">
            <a:extLst>
              <a:ext uri="{FF2B5EF4-FFF2-40B4-BE49-F238E27FC236}">
                <a16:creationId xmlns:a16="http://schemas.microsoft.com/office/drawing/2014/main" id="{727EE54C-753A-284A-8B4F-9C5FDDC2D63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7968792" y="3069363"/>
            <a:ext cx="3024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Email address</a:t>
            </a:r>
          </a:p>
        </p:txBody>
      </p:sp>
      <p:sp>
        <p:nvSpPr>
          <p:cNvPr id="51" name="Shape">
            <a:extLst>
              <a:ext uri="{FF2B5EF4-FFF2-40B4-BE49-F238E27FC236}">
                <a16:creationId xmlns:a16="http://schemas.microsoft.com/office/drawing/2014/main" id="{09F29F29-FEC9-4927-AB9A-F17180449E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335360" y="4077825"/>
            <a:ext cx="5184824" cy="201547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sp>
        <p:nvSpPr>
          <p:cNvPr id="106" name="Picture Placeholder 3">
            <a:extLst>
              <a:ext uri="{FF2B5EF4-FFF2-40B4-BE49-F238E27FC236}">
                <a16:creationId xmlns:a16="http://schemas.microsoft.com/office/drawing/2014/main" id="{B6FE670F-20AA-EF43-93FE-D8EBD89F9D8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551672" y="4293387"/>
            <a:ext cx="1368000" cy="1584000"/>
          </a:xfrm>
          <a:prstGeom prst="rect">
            <a:avLst/>
          </a:prstGeom>
          <a:solidFill>
            <a:srgbClr val="D6D9DC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GB"/>
              <a:t> </a:t>
            </a:r>
          </a:p>
        </p:txBody>
      </p:sp>
      <p:sp>
        <p:nvSpPr>
          <p:cNvPr id="107" name="Text Placeholder 5">
            <a:extLst>
              <a:ext uri="{FF2B5EF4-FFF2-40B4-BE49-F238E27FC236}">
                <a16:creationId xmlns:a16="http://schemas.microsoft.com/office/drawing/2014/main" id="{62E04480-8830-0F40-AE67-E9D2BB0BFD4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207904" y="4293387"/>
            <a:ext cx="302400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Country</a:t>
            </a:r>
          </a:p>
        </p:txBody>
      </p:sp>
      <p:sp>
        <p:nvSpPr>
          <p:cNvPr id="108" name="Text Placeholder 5">
            <a:extLst>
              <a:ext uri="{FF2B5EF4-FFF2-40B4-BE49-F238E27FC236}">
                <a16:creationId xmlns:a16="http://schemas.microsoft.com/office/drawing/2014/main" id="{8E37D29D-067C-6F40-8722-813FC5CCB6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207904" y="4653387"/>
            <a:ext cx="3024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109" name="Text Placeholder 5">
            <a:extLst>
              <a:ext uri="{FF2B5EF4-FFF2-40B4-BE49-F238E27FC236}">
                <a16:creationId xmlns:a16="http://schemas.microsoft.com/office/drawing/2014/main" id="{9F2507A6-1822-8441-AF42-6F32CAD5309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2207904" y="4869387"/>
            <a:ext cx="302400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Job Position</a:t>
            </a:r>
          </a:p>
        </p:txBody>
      </p:sp>
      <p:sp>
        <p:nvSpPr>
          <p:cNvPr id="110" name="Text Placeholder 5">
            <a:extLst>
              <a:ext uri="{FF2B5EF4-FFF2-40B4-BE49-F238E27FC236}">
                <a16:creationId xmlns:a16="http://schemas.microsoft.com/office/drawing/2014/main" id="{B1FAFD4D-A617-1D4B-A22B-92EA6E00239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2207904" y="5445387"/>
            <a:ext cx="3024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Phone number</a:t>
            </a:r>
          </a:p>
        </p:txBody>
      </p:sp>
      <p:sp>
        <p:nvSpPr>
          <p:cNvPr id="111" name="Text Placeholder 5">
            <a:extLst>
              <a:ext uri="{FF2B5EF4-FFF2-40B4-BE49-F238E27FC236}">
                <a16:creationId xmlns:a16="http://schemas.microsoft.com/office/drawing/2014/main" id="{1758521F-192E-8E46-9355-9EA0AC42A50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207904" y="5661387"/>
            <a:ext cx="3024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Email address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1594FE4-B02E-64B2-681E-D972615FF489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844A26C-A24B-87AD-F82E-4B3DE3C249B1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FF3E89F-08CC-AAD7-2AE7-D0A1B159960E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8" name="Subtitle">
            <a:extLst>
              <a:ext uri="{FF2B5EF4-FFF2-40B4-BE49-F238E27FC236}">
                <a16:creationId xmlns:a16="http://schemas.microsoft.com/office/drawing/2014/main" id="{54B7EA01-9203-F16C-2FBD-98890D19113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9362"/>
            <a:ext cx="8640959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6A2D3814-36F5-4808-CD70-C6C83E081C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68768" y="-171392"/>
            <a:ext cx="12025408" cy="6264688"/>
            <a:chOff x="-168768" y="-171392"/>
            <a:chExt cx="12025408" cy="6264688"/>
          </a:xfrm>
        </p:grpSpPr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D4383731-CC5D-4F80-C1A0-449556EBB124}"/>
                </a:ext>
              </a:extLst>
            </p:cNvPr>
            <p:cNvCxnSpPr/>
            <p:nvPr userDrawn="1"/>
          </p:nvCxnSpPr>
          <p:spPr bwMode="gray">
            <a:xfrm>
              <a:off x="33536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r Verbinder 49">
              <a:extLst>
                <a:ext uri="{FF2B5EF4-FFF2-40B4-BE49-F238E27FC236}">
                  <a16:creationId xmlns:a16="http://schemas.microsoft.com/office/drawing/2014/main" id="{4B98AAA9-1F6E-E4F3-F469-203C3E364F5E}"/>
                </a:ext>
              </a:extLst>
            </p:cNvPr>
            <p:cNvCxnSpPr/>
            <p:nvPr userDrawn="1"/>
          </p:nvCxnSpPr>
          <p:spPr bwMode="gray">
            <a:xfrm>
              <a:off x="436780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r Verbinder 51">
              <a:extLst>
                <a:ext uri="{FF2B5EF4-FFF2-40B4-BE49-F238E27FC236}">
                  <a16:creationId xmlns:a16="http://schemas.microsoft.com/office/drawing/2014/main" id="{AC8CF1BC-D234-6235-392A-63F614A23764}"/>
                </a:ext>
              </a:extLst>
            </p:cNvPr>
            <p:cNvCxnSpPr/>
            <p:nvPr userDrawn="1"/>
          </p:nvCxnSpPr>
          <p:spPr bwMode="gray">
            <a:xfrm>
              <a:off x="494387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E3C7C86B-73BB-89EB-EEFE-AD1DD8C8083D}"/>
                </a:ext>
              </a:extLst>
            </p:cNvPr>
            <p:cNvCxnSpPr/>
            <p:nvPr userDrawn="1"/>
          </p:nvCxnSpPr>
          <p:spPr bwMode="gray">
            <a:xfrm>
              <a:off x="667206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r Verbinder 53">
              <a:extLst>
                <a:ext uri="{FF2B5EF4-FFF2-40B4-BE49-F238E27FC236}">
                  <a16:creationId xmlns:a16="http://schemas.microsoft.com/office/drawing/2014/main" id="{E7BBE137-7F98-2CCF-07EE-9F73C737917F}"/>
                </a:ext>
              </a:extLst>
            </p:cNvPr>
            <p:cNvCxnSpPr/>
            <p:nvPr userDrawn="1"/>
          </p:nvCxnSpPr>
          <p:spPr bwMode="gray">
            <a:xfrm>
              <a:off x="609600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r Verbinder 54">
              <a:extLst>
                <a:ext uri="{FF2B5EF4-FFF2-40B4-BE49-F238E27FC236}">
                  <a16:creationId xmlns:a16="http://schemas.microsoft.com/office/drawing/2014/main" id="{DEF9905F-64D0-EB83-8588-64D99D757A79}"/>
                </a:ext>
              </a:extLst>
            </p:cNvPr>
            <p:cNvCxnSpPr/>
            <p:nvPr userDrawn="1"/>
          </p:nvCxnSpPr>
          <p:spPr bwMode="gray">
            <a:xfrm>
              <a:off x="724812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r Verbinder 55">
              <a:extLst>
                <a:ext uri="{FF2B5EF4-FFF2-40B4-BE49-F238E27FC236}">
                  <a16:creationId xmlns:a16="http://schemas.microsoft.com/office/drawing/2014/main" id="{8F525A38-A20A-442D-3183-36DBB938D9DE}"/>
                </a:ext>
              </a:extLst>
            </p:cNvPr>
            <p:cNvCxnSpPr/>
            <p:nvPr userDrawn="1"/>
          </p:nvCxnSpPr>
          <p:spPr bwMode="gray">
            <a:xfrm>
              <a:off x="782419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r Verbinder 56">
              <a:extLst>
                <a:ext uri="{FF2B5EF4-FFF2-40B4-BE49-F238E27FC236}">
                  <a16:creationId xmlns:a16="http://schemas.microsoft.com/office/drawing/2014/main" id="{964D1572-3238-DB5F-3C30-2AFDBE6321BF}"/>
                </a:ext>
              </a:extLst>
            </p:cNvPr>
            <p:cNvCxnSpPr/>
            <p:nvPr userDrawn="1"/>
          </p:nvCxnSpPr>
          <p:spPr bwMode="gray">
            <a:xfrm>
              <a:off x="840025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r Verbinder 57">
              <a:extLst>
                <a:ext uri="{FF2B5EF4-FFF2-40B4-BE49-F238E27FC236}">
                  <a16:creationId xmlns:a16="http://schemas.microsoft.com/office/drawing/2014/main" id="{7E6C5602-0949-EC54-1A04-704313A7C851}"/>
                </a:ext>
              </a:extLst>
            </p:cNvPr>
            <p:cNvCxnSpPr/>
            <p:nvPr userDrawn="1"/>
          </p:nvCxnSpPr>
          <p:spPr bwMode="gray">
            <a:xfrm>
              <a:off x="897632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>
              <a:extLst>
                <a:ext uri="{FF2B5EF4-FFF2-40B4-BE49-F238E27FC236}">
                  <a16:creationId xmlns:a16="http://schemas.microsoft.com/office/drawing/2014/main" id="{249F37EF-3412-AA4C-445E-44DB5D33CFDF}"/>
                </a:ext>
              </a:extLst>
            </p:cNvPr>
            <p:cNvCxnSpPr/>
            <p:nvPr userDrawn="1"/>
          </p:nvCxnSpPr>
          <p:spPr bwMode="gray">
            <a:xfrm>
              <a:off x="1128057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827D47E8-7317-E294-9BE6-0152A8BF43FB}"/>
                </a:ext>
              </a:extLst>
            </p:cNvPr>
            <p:cNvCxnSpPr/>
            <p:nvPr userDrawn="1"/>
          </p:nvCxnSpPr>
          <p:spPr bwMode="gray">
            <a:xfrm>
              <a:off x="1185664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r Verbinder 78">
              <a:extLst>
                <a:ext uri="{FF2B5EF4-FFF2-40B4-BE49-F238E27FC236}">
                  <a16:creationId xmlns:a16="http://schemas.microsoft.com/office/drawing/2014/main" id="{480B83E7-EAF8-C5EE-98A0-0EF8174EDC66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29665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r Verbinder 79">
              <a:extLst>
                <a:ext uri="{FF2B5EF4-FFF2-40B4-BE49-F238E27FC236}">
                  <a16:creationId xmlns:a16="http://schemas.microsoft.com/office/drawing/2014/main" id="{43D3872F-8E2C-D52C-82E2-35F3DF8CFA30}"/>
                </a:ext>
              </a:extLst>
            </p:cNvPr>
            <p:cNvCxnSpPr/>
            <p:nvPr userDrawn="1"/>
          </p:nvCxnSpPr>
          <p:spPr bwMode="gray">
            <a:xfrm>
              <a:off x="321568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r Verbinder 80">
              <a:extLst>
                <a:ext uri="{FF2B5EF4-FFF2-40B4-BE49-F238E27FC236}">
                  <a16:creationId xmlns:a16="http://schemas.microsoft.com/office/drawing/2014/main" id="{10266E6B-0065-C5E5-124B-78757557C8CB}"/>
                </a:ext>
              </a:extLst>
            </p:cNvPr>
            <p:cNvCxnSpPr/>
            <p:nvPr userDrawn="1"/>
          </p:nvCxnSpPr>
          <p:spPr bwMode="gray">
            <a:xfrm>
              <a:off x="379174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r Verbinder 81">
              <a:extLst>
                <a:ext uri="{FF2B5EF4-FFF2-40B4-BE49-F238E27FC236}">
                  <a16:creationId xmlns:a16="http://schemas.microsoft.com/office/drawing/2014/main" id="{7377018F-65C1-5B64-C9AB-2C6C12F1622F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04" y="87272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r Verbinder 82">
              <a:extLst>
                <a:ext uri="{FF2B5EF4-FFF2-40B4-BE49-F238E27FC236}">
                  <a16:creationId xmlns:a16="http://schemas.microsoft.com/office/drawing/2014/main" id="{43A97E38-C238-EFE4-A9CA-2AC955B7628A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12" y="202484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r Verbinder 83">
              <a:extLst>
                <a:ext uri="{FF2B5EF4-FFF2-40B4-BE49-F238E27FC236}">
                  <a16:creationId xmlns:a16="http://schemas.microsoft.com/office/drawing/2014/main" id="{5777158B-9E4D-0BA7-6217-F1CECD96BEFC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68" y="605729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>
              <a:extLst>
                <a:ext uri="{FF2B5EF4-FFF2-40B4-BE49-F238E27FC236}">
                  <a16:creationId xmlns:a16="http://schemas.microsoft.com/office/drawing/2014/main" id="{761E4D7C-1D8F-583A-E179-DDB798093A6C}"/>
                </a:ext>
              </a:extLst>
            </p:cNvPr>
            <p:cNvCxnSpPr/>
            <p:nvPr/>
          </p:nvCxnSpPr>
          <p:spPr bwMode="gray">
            <a:xfrm>
              <a:off x="1070451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>
              <a:extLst>
                <a:ext uri="{FF2B5EF4-FFF2-40B4-BE49-F238E27FC236}">
                  <a16:creationId xmlns:a16="http://schemas.microsoft.com/office/drawing/2014/main" id="{F9984295-0CFE-DF10-8B94-25F08392AE49}"/>
                </a:ext>
              </a:extLst>
            </p:cNvPr>
            <p:cNvCxnSpPr/>
            <p:nvPr/>
          </p:nvCxnSpPr>
          <p:spPr bwMode="gray">
            <a:xfrm>
              <a:off x="1012844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>
              <a:extLst>
                <a:ext uri="{FF2B5EF4-FFF2-40B4-BE49-F238E27FC236}">
                  <a16:creationId xmlns:a16="http://schemas.microsoft.com/office/drawing/2014/main" id="{D584AA2D-CC7D-1C7A-3B2C-1E5740DE1709}"/>
                </a:ext>
              </a:extLst>
            </p:cNvPr>
            <p:cNvCxnSpPr/>
            <p:nvPr/>
          </p:nvCxnSpPr>
          <p:spPr bwMode="gray">
            <a:xfrm>
              <a:off x="955059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>
              <a:extLst>
                <a:ext uri="{FF2B5EF4-FFF2-40B4-BE49-F238E27FC236}">
                  <a16:creationId xmlns:a16="http://schemas.microsoft.com/office/drawing/2014/main" id="{3DC2A407-D182-3E68-9208-56797207AE0D}"/>
                </a:ext>
              </a:extLst>
            </p:cNvPr>
            <p:cNvCxnSpPr/>
            <p:nvPr/>
          </p:nvCxnSpPr>
          <p:spPr bwMode="gray">
            <a:xfrm>
              <a:off x="551973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>
              <a:extLst>
                <a:ext uri="{FF2B5EF4-FFF2-40B4-BE49-F238E27FC236}">
                  <a16:creationId xmlns:a16="http://schemas.microsoft.com/office/drawing/2014/main" id="{FD0767B5-635C-8863-F492-F16366F592ED}"/>
                </a:ext>
              </a:extLst>
            </p:cNvPr>
            <p:cNvCxnSpPr/>
            <p:nvPr/>
          </p:nvCxnSpPr>
          <p:spPr bwMode="gray">
            <a:xfrm>
              <a:off x="263961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>
              <a:extLst>
                <a:ext uri="{FF2B5EF4-FFF2-40B4-BE49-F238E27FC236}">
                  <a16:creationId xmlns:a16="http://schemas.microsoft.com/office/drawing/2014/main" id="{6B76C9B6-79BE-BE9E-7E95-6A8648B6E60F}"/>
                </a:ext>
              </a:extLst>
            </p:cNvPr>
            <p:cNvCxnSpPr/>
            <p:nvPr/>
          </p:nvCxnSpPr>
          <p:spPr bwMode="gray">
            <a:xfrm>
              <a:off x="206355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>
              <a:extLst>
                <a:ext uri="{FF2B5EF4-FFF2-40B4-BE49-F238E27FC236}">
                  <a16:creationId xmlns:a16="http://schemas.microsoft.com/office/drawing/2014/main" id="{FA1BF189-3B96-37DB-75A9-158BAC1AE777}"/>
                </a:ext>
              </a:extLst>
            </p:cNvPr>
            <p:cNvCxnSpPr/>
            <p:nvPr/>
          </p:nvCxnSpPr>
          <p:spPr bwMode="gray">
            <a:xfrm>
              <a:off x="148748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>
              <a:extLst>
                <a:ext uri="{FF2B5EF4-FFF2-40B4-BE49-F238E27FC236}">
                  <a16:creationId xmlns:a16="http://schemas.microsoft.com/office/drawing/2014/main" id="{1632A2A1-093B-0F7A-3A17-953D159072D3}"/>
                </a:ext>
              </a:extLst>
            </p:cNvPr>
            <p:cNvCxnSpPr/>
            <p:nvPr/>
          </p:nvCxnSpPr>
          <p:spPr bwMode="gray">
            <a:xfrm>
              <a:off x="91142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>
              <a:extLst>
                <a:ext uri="{FF2B5EF4-FFF2-40B4-BE49-F238E27FC236}">
                  <a16:creationId xmlns:a16="http://schemas.microsoft.com/office/drawing/2014/main" id="{F2258F64-19BD-B572-7DEB-043AA28549FC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04" y="144878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r Verbinder 99">
              <a:extLst>
                <a:ext uri="{FF2B5EF4-FFF2-40B4-BE49-F238E27FC236}">
                  <a16:creationId xmlns:a16="http://schemas.microsoft.com/office/drawing/2014/main" id="{6E592B7C-28E4-0D26-55D8-6C7AC358E0FC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260091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r Verbinder 100">
              <a:extLst>
                <a:ext uri="{FF2B5EF4-FFF2-40B4-BE49-F238E27FC236}">
                  <a16:creationId xmlns:a16="http://schemas.microsoft.com/office/drawing/2014/main" id="{A344E091-8F94-A518-9BB4-814BC420DA3A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17697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>
              <a:extLst>
                <a:ext uri="{FF2B5EF4-FFF2-40B4-BE49-F238E27FC236}">
                  <a16:creationId xmlns:a16="http://schemas.microsoft.com/office/drawing/2014/main" id="{A0130ECA-B1DE-3FB4-A461-3C8A5ACEA46A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75304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r Verbinder 102">
              <a:extLst>
                <a:ext uri="{FF2B5EF4-FFF2-40B4-BE49-F238E27FC236}">
                  <a16:creationId xmlns:a16="http://schemas.microsoft.com/office/drawing/2014/main" id="{C3787ECA-951D-9E65-19A6-AC81527DBD4E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32910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D3B43370-BA36-663A-4F98-EF20D21CFC71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90516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D69795CB-C84C-30E6-72A1-856272DA849F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548123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9588719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D37E9F0-6A5F-BA9A-72DA-7D1215B559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237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D37E9F0-6A5F-BA9A-72DA-7D1215B559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">
            <a:extLst>
              <a:ext uri="{FF2B5EF4-FFF2-40B4-BE49-F238E27FC236}">
                <a16:creationId xmlns:a16="http://schemas.microsoft.com/office/drawing/2014/main" id="{CA5E4281-7DAB-4B66-B128-B1580F2596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GB"/>
              <a:t>Insert your headline in Lato Heavy 24 pt here</a:t>
            </a:r>
          </a:p>
        </p:txBody>
      </p:sp>
      <p:sp>
        <p:nvSpPr>
          <p:cNvPr id="62" name="Shape">
            <a:extLst>
              <a:ext uri="{FF2B5EF4-FFF2-40B4-BE49-F238E27FC236}">
                <a16:creationId xmlns:a16="http://schemas.microsoft.com/office/drawing/2014/main" id="{16825BDD-BB1B-4D1C-B52B-7933359BD6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335360" y="1484784"/>
            <a:ext cx="5184824" cy="20162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sp>
        <p:nvSpPr>
          <p:cNvPr id="94" name="Picture Placeholder 3">
            <a:extLst>
              <a:ext uri="{FF2B5EF4-FFF2-40B4-BE49-F238E27FC236}">
                <a16:creationId xmlns:a16="http://schemas.microsoft.com/office/drawing/2014/main" id="{96D1107F-3E3A-3C4B-8256-95C871BFFA2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51672" y="1700784"/>
            <a:ext cx="1368000" cy="158400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GB"/>
              <a:t> </a:t>
            </a:r>
          </a:p>
        </p:txBody>
      </p:sp>
      <p:sp>
        <p:nvSpPr>
          <p:cNvPr id="95" name="Text Placeholder 5">
            <a:extLst>
              <a:ext uri="{FF2B5EF4-FFF2-40B4-BE49-F238E27FC236}">
                <a16:creationId xmlns:a16="http://schemas.microsoft.com/office/drawing/2014/main" id="{9E6D6A14-7FC7-2E46-8CC2-5CA4E52119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07904" y="1700784"/>
            <a:ext cx="302400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Country</a:t>
            </a:r>
          </a:p>
        </p:txBody>
      </p:sp>
      <p:sp>
        <p:nvSpPr>
          <p:cNvPr id="96" name="Text Placeholder 5">
            <a:extLst>
              <a:ext uri="{FF2B5EF4-FFF2-40B4-BE49-F238E27FC236}">
                <a16:creationId xmlns:a16="http://schemas.microsoft.com/office/drawing/2014/main" id="{F98B3B28-1889-DA4F-A2D1-BD173114DC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207904" y="2060784"/>
            <a:ext cx="3024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97" name="Text Placeholder 5">
            <a:extLst>
              <a:ext uri="{FF2B5EF4-FFF2-40B4-BE49-F238E27FC236}">
                <a16:creationId xmlns:a16="http://schemas.microsoft.com/office/drawing/2014/main" id="{8AAA19EE-9DB4-474A-A321-C8153907CCE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207904" y="2276784"/>
            <a:ext cx="302400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Job Position</a:t>
            </a:r>
          </a:p>
        </p:txBody>
      </p:sp>
      <p:sp>
        <p:nvSpPr>
          <p:cNvPr id="98" name="Text Placeholder 5">
            <a:extLst>
              <a:ext uri="{FF2B5EF4-FFF2-40B4-BE49-F238E27FC236}">
                <a16:creationId xmlns:a16="http://schemas.microsoft.com/office/drawing/2014/main" id="{B143D523-493C-BC4E-B1AA-5DB95154E3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207904" y="2852784"/>
            <a:ext cx="3024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Phone number</a:t>
            </a:r>
          </a:p>
        </p:txBody>
      </p:sp>
      <p:sp>
        <p:nvSpPr>
          <p:cNvPr id="99" name="Text Placeholder 5">
            <a:extLst>
              <a:ext uri="{FF2B5EF4-FFF2-40B4-BE49-F238E27FC236}">
                <a16:creationId xmlns:a16="http://schemas.microsoft.com/office/drawing/2014/main" id="{9D91B60C-53AD-284C-95D2-EDFB9B2E1C5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2207904" y="3068784"/>
            <a:ext cx="3024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Email address</a:t>
            </a:r>
          </a:p>
        </p:txBody>
      </p:sp>
      <p:sp>
        <p:nvSpPr>
          <p:cNvPr id="63" name="Shape">
            <a:extLst>
              <a:ext uri="{FF2B5EF4-FFF2-40B4-BE49-F238E27FC236}">
                <a16:creationId xmlns:a16="http://schemas.microsoft.com/office/drawing/2014/main" id="{B3761F59-E702-400C-BB3D-7C2F7DFAF9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6095752" y="1485297"/>
            <a:ext cx="5184824" cy="201547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sp>
        <p:nvSpPr>
          <p:cNvPr id="119" name="Picture Placeholder 3">
            <a:extLst>
              <a:ext uri="{FF2B5EF4-FFF2-40B4-BE49-F238E27FC236}">
                <a16:creationId xmlns:a16="http://schemas.microsoft.com/office/drawing/2014/main" id="{B5007B33-0681-7C4B-8C02-A2115D4F5A8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6312514" y="1700784"/>
            <a:ext cx="1368000" cy="158400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GB"/>
              <a:t> </a:t>
            </a:r>
          </a:p>
        </p:txBody>
      </p:sp>
      <p:sp>
        <p:nvSpPr>
          <p:cNvPr id="120" name="Text Placeholder 5">
            <a:extLst>
              <a:ext uri="{FF2B5EF4-FFF2-40B4-BE49-F238E27FC236}">
                <a16:creationId xmlns:a16="http://schemas.microsoft.com/office/drawing/2014/main" id="{7947A278-4541-C145-8A1A-805C82E2BEB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7968296" y="1700784"/>
            <a:ext cx="302400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Country</a:t>
            </a:r>
          </a:p>
        </p:txBody>
      </p:sp>
      <p:sp>
        <p:nvSpPr>
          <p:cNvPr id="121" name="Text Placeholder 5">
            <a:extLst>
              <a:ext uri="{FF2B5EF4-FFF2-40B4-BE49-F238E27FC236}">
                <a16:creationId xmlns:a16="http://schemas.microsoft.com/office/drawing/2014/main" id="{AB572493-73FB-0646-BCF6-467CE0D18D0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7968296" y="2060784"/>
            <a:ext cx="3024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122" name="Text Placeholder 5">
            <a:extLst>
              <a:ext uri="{FF2B5EF4-FFF2-40B4-BE49-F238E27FC236}">
                <a16:creationId xmlns:a16="http://schemas.microsoft.com/office/drawing/2014/main" id="{160A0CE4-A4A1-664B-B2A5-3BEEF22E242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7968296" y="2276784"/>
            <a:ext cx="302400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Job Position</a:t>
            </a:r>
          </a:p>
        </p:txBody>
      </p:sp>
      <p:sp>
        <p:nvSpPr>
          <p:cNvPr id="123" name="Text Placeholder 5">
            <a:extLst>
              <a:ext uri="{FF2B5EF4-FFF2-40B4-BE49-F238E27FC236}">
                <a16:creationId xmlns:a16="http://schemas.microsoft.com/office/drawing/2014/main" id="{595B26DC-2F0F-0741-AD06-D75BE5AE795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7968296" y="2852784"/>
            <a:ext cx="3024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Phone number</a:t>
            </a:r>
          </a:p>
        </p:txBody>
      </p:sp>
      <p:sp>
        <p:nvSpPr>
          <p:cNvPr id="124" name="Text Placeholder 5">
            <a:extLst>
              <a:ext uri="{FF2B5EF4-FFF2-40B4-BE49-F238E27FC236}">
                <a16:creationId xmlns:a16="http://schemas.microsoft.com/office/drawing/2014/main" id="{727EE54C-753A-284A-8B4F-9C5FDDC2D63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7968296" y="3068784"/>
            <a:ext cx="3024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Email address</a:t>
            </a:r>
          </a:p>
        </p:txBody>
      </p:sp>
      <p:sp>
        <p:nvSpPr>
          <p:cNvPr id="61" name="Shape">
            <a:extLst>
              <a:ext uri="{FF2B5EF4-FFF2-40B4-BE49-F238E27FC236}">
                <a16:creationId xmlns:a16="http://schemas.microsoft.com/office/drawing/2014/main" id="{6902CA4F-7D42-4F6B-8E46-F2707F4EA0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335360" y="4077825"/>
            <a:ext cx="5184824" cy="201547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sp>
        <p:nvSpPr>
          <p:cNvPr id="106" name="Picture Placeholder 3">
            <a:extLst>
              <a:ext uri="{FF2B5EF4-FFF2-40B4-BE49-F238E27FC236}">
                <a16:creationId xmlns:a16="http://schemas.microsoft.com/office/drawing/2014/main" id="{B6FE670F-20AA-EF43-93FE-D8EBD89F9D8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551672" y="4293387"/>
            <a:ext cx="1368000" cy="158400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GB"/>
              <a:t> </a:t>
            </a:r>
          </a:p>
        </p:txBody>
      </p:sp>
      <p:sp>
        <p:nvSpPr>
          <p:cNvPr id="107" name="Text Placeholder 5">
            <a:extLst>
              <a:ext uri="{FF2B5EF4-FFF2-40B4-BE49-F238E27FC236}">
                <a16:creationId xmlns:a16="http://schemas.microsoft.com/office/drawing/2014/main" id="{62E04480-8830-0F40-AE67-E9D2BB0BFD4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207904" y="4293387"/>
            <a:ext cx="302400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Country</a:t>
            </a:r>
          </a:p>
        </p:txBody>
      </p:sp>
      <p:sp>
        <p:nvSpPr>
          <p:cNvPr id="108" name="Text Placeholder 5">
            <a:extLst>
              <a:ext uri="{FF2B5EF4-FFF2-40B4-BE49-F238E27FC236}">
                <a16:creationId xmlns:a16="http://schemas.microsoft.com/office/drawing/2014/main" id="{8E37D29D-067C-6F40-8722-813FC5CCB6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207904" y="4653387"/>
            <a:ext cx="3024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109" name="Text Placeholder 5">
            <a:extLst>
              <a:ext uri="{FF2B5EF4-FFF2-40B4-BE49-F238E27FC236}">
                <a16:creationId xmlns:a16="http://schemas.microsoft.com/office/drawing/2014/main" id="{9F2507A6-1822-8441-AF42-6F32CAD5309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2207904" y="4869387"/>
            <a:ext cx="302400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Job Position</a:t>
            </a:r>
          </a:p>
        </p:txBody>
      </p:sp>
      <p:sp>
        <p:nvSpPr>
          <p:cNvPr id="110" name="Text Placeholder 5">
            <a:extLst>
              <a:ext uri="{FF2B5EF4-FFF2-40B4-BE49-F238E27FC236}">
                <a16:creationId xmlns:a16="http://schemas.microsoft.com/office/drawing/2014/main" id="{B1FAFD4D-A617-1D4B-A22B-92EA6E00239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2207904" y="5445387"/>
            <a:ext cx="3024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Phone number</a:t>
            </a:r>
          </a:p>
        </p:txBody>
      </p:sp>
      <p:sp>
        <p:nvSpPr>
          <p:cNvPr id="111" name="Text Placeholder 5">
            <a:extLst>
              <a:ext uri="{FF2B5EF4-FFF2-40B4-BE49-F238E27FC236}">
                <a16:creationId xmlns:a16="http://schemas.microsoft.com/office/drawing/2014/main" id="{1758521F-192E-8E46-9355-9EA0AC42A50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207904" y="5661387"/>
            <a:ext cx="3024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Email address</a:t>
            </a:r>
          </a:p>
        </p:txBody>
      </p:sp>
      <p:sp>
        <p:nvSpPr>
          <p:cNvPr id="65" name="Shape">
            <a:extLst>
              <a:ext uri="{FF2B5EF4-FFF2-40B4-BE49-F238E27FC236}">
                <a16:creationId xmlns:a16="http://schemas.microsoft.com/office/drawing/2014/main" id="{B4AE5ACA-7F4B-4818-955D-31E8DD6155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6095752" y="4077825"/>
            <a:ext cx="5184824" cy="201547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sp>
        <p:nvSpPr>
          <p:cNvPr id="131" name="Picture Placeholder 3">
            <a:extLst>
              <a:ext uri="{FF2B5EF4-FFF2-40B4-BE49-F238E27FC236}">
                <a16:creationId xmlns:a16="http://schemas.microsoft.com/office/drawing/2014/main" id="{805973E7-6E2A-9147-9EEF-11EA3705FB9B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312514" y="4276487"/>
            <a:ext cx="1368000" cy="158400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GB"/>
              <a:t> </a:t>
            </a:r>
          </a:p>
        </p:txBody>
      </p:sp>
      <p:sp>
        <p:nvSpPr>
          <p:cNvPr id="132" name="Text Placeholder 5">
            <a:extLst>
              <a:ext uri="{FF2B5EF4-FFF2-40B4-BE49-F238E27FC236}">
                <a16:creationId xmlns:a16="http://schemas.microsoft.com/office/drawing/2014/main" id="{8962C3D4-A44F-C143-8800-C613E37B77C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7968296" y="4276487"/>
            <a:ext cx="302400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Country</a:t>
            </a:r>
          </a:p>
        </p:txBody>
      </p:sp>
      <p:sp>
        <p:nvSpPr>
          <p:cNvPr id="133" name="Text Placeholder 5">
            <a:extLst>
              <a:ext uri="{FF2B5EF4-FFF2-40B4-BE49-F238E27FC236}">
                <a16:creationId xmlns:a16="http://schemas.microsoft.com/office/drawing/2014/main" id="{A8F8F8A4-0708-D740-9016-1F49549FDC6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7968296" y="4636487"/>
            <a:ext cx="3024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134" name="Text Placeholder 5">
            <a:extLst>
              <a:ext uri="{FF2B5EF4-FFF2-40B4-BE49-F238E27FC236}">
                <a16:creationId xmlns:a16="http://schemas.microsoft.com/office/drawing/2014/main" id="{57164E9F-FD59-6846-BB9E-D6BE603E2F6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7968296" y="4852487"/>
            <a:ext cx="302400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Job Position</a:t>
            </a:r>
          </a:p>
        </p:txBody>
      </p:sp>
      <p:sp>
        <p:nvSpPr>
          <p:cNvPr id="135" name="Text Placeholder 5">
            <a:extLst>
              <a:ext uri="{FF2B5EF4-FFF2-40B4-BE49-F238E27FC236}">
                <a16:creationId xmlns:a16="http://schemas.microsoft.com/office/drawing/2014/main" id="{BFAABD29-99A4-AF4F-847D-F82B682D01B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7968296" y="5428487"/>
            <a:ext cx="3024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Phone number</a:t>
            </a:r>
          </a:p>
        </p:txBody>
      </p:sp>
      <p:sp>
        <p:nvSpPr>
          <p:cNvPr id="136" name="Text Placeholder 5">
            <a:extLst>
              <a:ext uri="{FF2B5EF4-FFF2-40B4-BE49-F238E27FC236}">
                <a16:creationId xmlns:a16="http://schemas.microsoft.com/office/drawing/2014/main" id="{74BE0303-949F-8445-84A6-96A0C8234482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7968296" y="5644487"/>
            <a:ext cx="3024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Email address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95FFC9A-C143-40B9-6995-F4311D53207D}"/>
              </a:ext>
            </a:extLst>
          </p:cNvPr>
          <p:cNvSpPr>
            <a:spLocks noGrp="1"/>
          </p:cNvSpPr>
          <p:nvPr>
            <p:ph type="dt" sz="half" idx="48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4C048B1-5254-84B6-77BE-ED61940F59EC}"/>
              </a:ext>
            </a:extLst>
          </p:cNvPr>
          <p:cNvSpPr>
            <a:spLocks noGrp="1"/>
          </p:cNvSpPr>
          <p:nvPr>
            <p:ph type="ftr" sz="quarter" idx="49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8703A5B-DF98-C3AC-775D-C8026A388DBE}"/>
              </a:ext>
            </a:extLst>
          </p:cNvPr>
          <p:cNvSpPr>
            <a:spLocks noGrp="1"/>
          </p:cNvSpPr>
          <p:nvPr>
            <p:ph type="sldNum" sz="quarter" idx="50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5" name="Subtitle">
            <a:extLst>
              <a:ext uri="{FF2B5EF4-FFF2-40B4-BE49-F238E27FC236}">
                <a16:creationId xmlns:a16="http://schemas.microsoft.com/office/drawing/2014/main" id="{326D6347-7AFB-E810-EC0D-686D8E5B4239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9362"/>
            <a:ext cx="8640959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D71B6C04-F658-4880-8CEE-875585C492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68768" y="-171392"/>
            <a:ext cx="12025408" cy="6264688"/>
            <a:chOff x="-168768" y="-171392"/>
            <a:chExt cx="12025408" cy="6264688"/>
          </a:xfrm>
        </p:grpSpPr>
        <p:cxnSp>
          <p:nvCxnSpPr>
            <p:cNvPr id="54" name="Gerader Verbinder 53">
              <a:extLst>
                <a:ext uri="{FF2B5EF4-FFF2-40B4-BE49-F238E27FC236}">
                  <a16:creationId xmlns:a16="http://schemas.microsoft.com/office/drawing/2014/main" id="{1829AD31-CD92-2867-C02E-D5739213D893}"/>
                </a:ext>
              </a:extLst>
            </p:cNvPr>
            <p:cNvCxnSpPr/>
            <p:nvPr userDrawn="1"/>
          </p:nvCxnSpPr>
          <p:spPr bwMode="gray">
            <a:xfrm>
              <a:off x="33536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r Verbinder 54">
              <a:extLst>
                <a:ext uri="{FF2B5EF4-FFF2-40B4-BE49-F238E27FC236}">
                  <a16:creationId xmlns:a16="http://schemas.microsoft.com/office/drawing/2014/main" id="{FD927032-1278-8325-37DC-79A877812E88}"/>
                </a:ext>
              </a:extLst>
            </p:cNvPr>
            <p:cNvCxnSpPr/>
            <p:nvPr userDrawn="1"/>
          </p:nvCxnSpPr>
          <p:spPr bwMode="gray">
            <a:xfrm>
              <a:off x="436780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r Verbinder 55">
              <a:extLst>
                <a:ext uri="{FF2B5EF4-FFF2-40B4-BE49-F238E27FC236}">
                  <a16:creationId xmlns:a16="http://schemas.microsoft.com/office/drawing/2014/main" id="{7375E6A1-B44B-C960-EC8F-22B2352A32D9}"/>
                </a:ext>
              </a:extLst>
            </p:cNvPr>
            <p:cNvCxnSpPr/>
            <p:nvPr userDrawn="1"/>
          </p:nvCxnSpPr>
          <p:spPr bwMode="gray">
            <a:xfrm>
              <a:off x="494387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r Verbinder 56">
              <a:extLst>
                <a:ext uri="{FF2B5EF4-FFF2-40B4-BE49-F238E27FC236}">
                  <a16:creationId xmlns:a16="http://schemas.microsoft.com/office/drawing/2014/main" id="{F7AF7C6F-3D50-F6AB-2A87-4206BEDA113A}"/>
                </a:ext>
              </a:extLst>
            </p:cNvPr>
            <p:cNvCxnSpPr/>
            <p:nvPr userDrawn="1"/>
          </p:nvCxnSpPr>
          <p:spPr bwMode="gray">
            <a:xfrm>
              <a:off x="667206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r Verbinder 57">
              <a:extLst>
                <a:ext uri="{FF2B5EF4-FFF2-40B4-BE49-F238E27FC236}">
                  <a16:creationId xmlns:a16="http://schemas.microsoft.com/office/drawing/2014/main" id="{BBAFBC11-1797-F51E-0EC5-D510613162CA}"/>
                </a:ext>
              </a:extLst>
            </p:cNvPr>
            <p:cNvCxnSpPr/>
            <p:nvPr userDrawn="1"/>
          </p:nvCxnSpPr>
          <p:spPr bwMode="gray">
            <a:xfrm>
              <a:off x="609600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r Verbinder 58">
              <a:extLst>
                <a:ext uri="{FF2B5EF4-FFF2-40B4-BE49-F238E27FC236}">
                  <a16:creationId xmlns:a16="http://schemas.microsoft.com/office/drawing/2014/main" id="{246B679D-C145-7520-60BA-E2BFA04F26FF}"/>
                </a:ext>
              </a:extLst>
            </p:cNvPr>
            <p:cNvCxnSpPr/>
            <p:nvPr userDrawn="1"/>
          </p:nvCxnSpPr>
          <p:spPr bwMode="gray">
            <a:xfrm>
              <a:off x="724812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r Verbinder 59">
              <a:extLst>
                <a:ext uri="{FF2B5EF4-FFF2-40B4-BE49-F238E27FC236}">
                  <a16:creationId xmlns:a16="http://schemas.microsoft.com/office/drawing/2014/main" id="{109A4FDE-A605-8069-7229-D2F7AF862B74}"/>
                </a:ext>
              </a:extLst>
            </p:cNvPr>
            <p:cNvCxnSpPr/>
            <p:nvPr userDrawn="1"/>
          </p:nvCxnSpPr>
          <p:spPr bwMode="gray">
            <a:xfrm>
              <a:off x="782419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F1FEA7E3-1BD3-91CF-6D40-6465B860B0EE}"/>
                </a:ext>
              </a:extLst>
            </p:cNvPr>
            <p:cNvCxnSpPr/>
            <p:nvPr userDrawn="1"/>
          </p:nvCxnSpPr>
          <p:spPr bwMode="gray">
            <a:xfrm>
              <a:off x="840025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65">
              <a:extLst>
                <a:ext uri="{FF2B5EF4-FFF2-40B4-BE49-F238E27FC236}">
                  <a16:creationId xmlns:a16="http://schemas.microsoft.com/office/drawing/2014/main" id="{659EA9FF-08F9-0725-C652-D2025FB4F321}"/>
                </a:ext>
              </a:extLst>
            </p:cNvPr>
            <p:cNvCxnSpPr/>
            <p:nvPr userDrawn="1"/>
          </p:nvCxnSpPr>
          <p:spPr bwMode="gray">
            <a:xfrm>
              <a:off x="897632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>
              <a:extLst>
                <a:ext uri="{FF2B5EF4-FFF2-40B4-BE49-F238E27FC236}">
                  <a16:creationId xmlns:a16="http://schemas.microsoft.com/office/drawing/2014/main" id="{AEECBB46-172A-DF0A-DD14-606812186792}"/>
                </a:ext>
              </a:extLst>
            </p:cNvPr>
            <p:cNvCxnSpPr/>
            <p:nvPr userDrawn="1"/>
          </p:nvCxnSpPr>
          <p:spPr bwMode="gray">
            <a:xfrm>
              <a:off x="1128057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>
              <a:extLst>
                <a:ext uri="{FF2B5EF4-FFF2-40B4-BE49-F238E27FC236}">
                  <a16:creationId xmlns:a16="http://schemas.microsoft.com/office/drawing/2014/main" id="{E3B30F6E-7DF7-D8D7-2C78-66737B197EB3}"/>
                </a:ext>
              </a:extLst>
            </p:cNvPr>
            <p:cNvCxnSpPr/>
            <p:nvPr userDrawn="1"/>
          </p:nvCxnSpPr>
          <p:spPr bwMode="gray">
            <a:xfrm>
              <a:off x="1185664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>
              <a:extLst>
                <a:ext uri="{FF2B5EF4-FFF2-40B4-BE49-F238E27FC236}">
                  <a16:creationId xmlns:a16="http://schemas.microsoft.com/office/drawing/2014/main" id="{1D3F8E7D-4B51-12D5-F0F6-FF74C95312B4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29665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>
              <a:extLst>
                <a:ext uri="{FF2B5EF4-FFF2-40B4-BE49-F238E27FC236}">
                  <a16:creationId xmlns:a16="http://schemas.microsoft.com/office/drawing/2014/main" id="{D7DEAACA-EB19-4DA3-9065-B6075E131BF5}"/>
                </a:ext>
              </a:extLst>
            </p:cNvPr>
            <p:cNvCxnSpPr/>
            <p:nvPr userDrawn="1"/>
          </p:nvCxnSpPr>
          <p:spPr bwMode="gray">
            <a:xfrm>
              <a:off x="321568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>
              <a:extLst>
                <a:ext uri="{FF2B5EF4-FFF2-40B4-BE49-F238E27FC236}">
                  <a16:creationId xmlns:a16="http://schemas.microsoft.com/office/drawing/2014/main" id="{9DA4F613-21AC-CE38-36B9-1900CBE6687C}"/>
                </a:ext>
              </a:extLst>
            </p:cNvPr>
            <p:cNvCxnSpPr/>
            <p:nvPr userDrawn="1"/>
          </p:nvCxnSpPr>
          <p:spPr bwMode="gray">
            <a:xfrm>
              <a:off x="379174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>
              <a:extLst>
                <a:ext uri="{FF2B5EF4-FFF2-40B4-BE49-F238E27FC236}">
                  <a16:creationId xmlns:a16="http://schemas.microsoft.com/office/drawing/2014/main" id="{079D8346-8EF1-564F-0DFE-26E9D6673A4F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04" y="87272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>
              <a:extLst>
                <a:ext uri="{FF2B5EF4-FFF2-40B4-BE49-F238E27FC236}">
                  <a16:creationId xmlns:a16="http://schemas.microsoft.com/office/drawing/2014/main" id="{5D998D03-9501-6258-5EF6-CDC9E78501D7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12" y="202484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>
              <a:extLst>
                <a:ext uri="{FF2B5EF4-FFF2-40B4-BE49-F238E27FC236}">
                  <a16:creationId xmlns:a16="http://schemas.microsoft.com/office/drawing/2014/main" id="{73DEA7B8-9A13-012F-904E-C9E96631C502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68" y="605729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>
              <a:extLst>
                <a:ext uri="{FF2B5EF4-FFF2-40B4-BE49-F238E27FC236}">
                  <a16:creationId xmlns:a16="http://schemas.microsoft.com/office/drawing/2014/main" id="{08EB679F-140D-CAF9-724B-CACF443161F1}"/>
                </a:ext>
              </a:extLst>
            </p:cNvPr>
            <p:cNvCxnSpPr/>
            <p:nvPr/>
          </p:nvCxnSpPr>
          <p:spPr bwMode="gray">
            <a:xfrm>
              <a:off x="1070451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r Verbinder 99">
              <a:extLst>
                <a:ext uri="{FF2B5EF4-FFF2-40B4-BE49-F238E27FC236}">
                  <a16:creationId xmlns:a16="http://schemas.microsoft.com/office/drawing/2014/main" id="{88A7FA90-72E3-427C-27D2-1E3BB507A1F7}"/>
                </a:ext>
              </a:extLst>
            </p:cNvPr>
            <p:cNvCxnSpPr/>
            <p:nvPr/>
          </p:nvCxnSpPr>
          <p:spPr bwMode="gray">
            <a:xfrm>
              <a:off x="1012844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r Verbinder 100">
              <a:extLst>
                <a:ext uri="{FF2B5EF4-FFF2-40B4-BE49-F238E27FC236}">
                  <a16:creationId xmlns:a16="http://schemas.microsoft.com/office/drawing/2014/main" id="{7DE0C847-482A-DB21-CF4A-D457D140C07D}"/>
                </a:ext>
              </a:extLst>
            </p:cNvPr>
            <p:cNvCxnSpPr/>
            <p:nvPr/>
          </p:nvCxnSpPr>
          <p:spPr bwMode="gray">
            <a:xfrm>
              <a:off x="955059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>
              <a:extLst>
                <a:ext uri="{FF2B5EF4-FFF2-40B4-BE49-F238E27FC236}">
                  <a16:creationId xmlns:a16="http://schemas.microsoft.com/office/drawing/2014/main" id="{AC841D9D-8BC4-886A-96BD-4C33422E089C}"/>
                </a:ext>
              </a:extLst>
            </p:cNvPr>
            <p:cNvCxnSpPr/>
            <p:nvPr/>
          </p:nvCxnSpPr>
          <p:spPr bwMode="gray">
            <a:xfrm>
              <a:off x="551973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r Verbinder 102">
              <a:extLst>
                <a:ext uri="{FF2B5EF4-FFF2-40B4-BE49-F238E27FC236}">
                  <a16:creationId xmlns:a16="http://schemas.microsoft.com/office/drawing/2014/main" id="{86251E1B-B32E-7E1C-3620-9C85F935C306}"/>
                </a:ext>
              </a:extLst>
            </p:cNvPr>
            <p:cNvCxnSpPr/>
            <p:nvPr/>
          </p:nvCxnSpPr>
          <p:spPr bwMode="gray">
            <a:xfrm>
              <a:off x="263961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EDD1241C-539D-7177-1B05-979D146BF0E6}"/>
                </a:ext>
              </a:extLst>
            </p:cNvPr>
            <p:cNvCxnSpPr/>
            <p:nvPr/>
          </p:nvCxnSpPr>
          <p:spPr bwMode="gray">
            <a:xfrm>
              <a:off x="206355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444BB93B-7996-8A09-C101-2005BD63F211}"/>
                </a:ext>
              </a:extLst>
            </p:cNvPr>
            <p:cNvCxnSpPr/>
            <p:nvPr/>
          </p:nvCxnSpPr>
          <p:spPr bwMode="gray">
            <a:xfrm>
              <a:off x="148748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r Verbinder 111">
              <a:extLst>
                <a:ext uri="{FF2B5EF4-FFF2-40B4-BE49-F238E27FC236}">
                  <a16:creationId xmlns:a16="http://schemas.microsoft.com/office/drawing/2014/main" id="{096605B2-FE25-3EB5-55EE-3D3A14118D12}"/>
                </a:ext>
              </a:extLst>
            </p:cNvPr>
            <p:cNvCxnSpPr/>
            <p:nvPr/>
          </p:nvCxnSpPr>
          <p:spPr bwMode="gray">
            <a:xfrm>
              <a:off x="91142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r Verbinder 112">
              <a:extLst>
                <a:ext uri="{FF2B5EF4-FFF2-40B4-BE49-F238E27FC236}">
                  <a16:creationId xmlns:a16="http://schemas.microsoft.com/office/drawing/2014/main" id="{C7D8189E-C2FF-5271-84ED-26C3C344FE11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04" y="144878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r Verbinder 113">
              <a:extLst>
                <a:ext uri="{FF2B5EF4-FFF2-40B4-BE49-F238E27FC236}">
                  <a16:creationId xmlns:a16="http://schemas.microsoft.com/office/drawing/2014/main" id="{210FD035-E568-768E-571B-6C180A3EBF09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260091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r Verbinder 114">
              <a:extLst>
                <a:ext uri="{FF2B5EF4-FFF2-40B4-BE49-F238E27FC236}">
                  <a16:creationId xmlns:a16="http://schemas.microsoft.com/office/drawing/2014/main" id="{ED5EA98F-3643-7874-B082-6EF2C463FA8C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17697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A3C8EED-5791-7B3D-2A24-4F5F7227EEB9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75304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r Verbinder 116">
              <a:extLst>
                <a:ext uri="{FF2B5EF4-FFF2-40B4-BE49-F238E27FC236}">
                  <a16:creationId xmlns:a16="http://schemas.microsoft.com/office/drawing/2014/main" id="{FC2562CD-7701-1AC6-C17E-8362DB61C2BA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32910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r Verbinder 117">
              <a:extLst>
                <a:ext uri="{FF2B5EF4-FFF2-40B4-BE49-F238E27FC236}">
                  <a16:creationId xmlns:a16="http://schemas.microsoft.com/office/drawing/2014/main" id="{B907A387-2344-A7C1-6862-6B59A14CC71D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90516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EB04BD5F-C9DF-37AF-0E80-4F13CD5CE486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548123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2363473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923389D-590E-5F23-B8A1-8A99D605824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0CC01ECD-357C-ED32-75AC-EEDFCFD147E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50" name="Foliennummernplatzhalter 49">
            <a:extLst>
              <a:ext uri="{FF2B5EF4-FFF2-40B4-BE49-F238E27FC236}">
                <a16:creationId xmlns:a16="http://schemas.microsoft.com/office/drawing/2014/main" id="{91FFA9BC-6ABB-1557-11DF-76C17B69562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Source">
            <a:extLst>
              <a:ext uri="{FF2B5EF4-FFF2-40B4-BE49-F238E27FC236}">
                <a16:creationId xmlns:a16="http://schemas.microsoft.com/office/drawing/2014/main" id="{D1F528C3-7DB6-C415-A8E8-2BA45F8BD22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487488" y="6525000"/>
            <a:ext cx="9217024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1C520E73-514D-012F-4F49-E0A3F3A6ED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68768" y="-171392"/>
            <a:ext cx="12025408" cy="6264688"/>
            <a:chOff x="-168768" y="-171392"/>
            <a:chExt cx="12025408" cy="6264688"/>
          </a:xfrm>
        </p:grpSpPr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83B181A0-65E6-1EF3-8667-7ED9988A1240}"/>
                </a:ext>
              </a:extLst>
            </p:cNvPr>
            <p:cNvCxnSpPr/>
            <p:nvPr userDrawn="1"/>
          </p:nvCxnSpPr>
          <p:spPr bwMode="gray">
            <a:xfrm>
              <a:off x="33536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484033F-9659-1BD3-E9C2-E7C79A6E6CD7}"/>
                </a:ext>
              </a:extLst>
            </p:cNvPr>
            <p:cNvCxnSpPr/>
            <p:nvPr userDrawn="1"/>
          </p:nvCxnSpPr>
          <p:spPr bwMode="gray">
            <a:xfrm>
              <a:off x="436780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4621BFDF-74E2-C2D8-99C0-22CD2299D14D}"/>
                </a:ext>
              </a:extLst>
            </p:cNvPr>
            <p:cNvCxnSpPr/>
            <p:nvPr userDrawn="1"/>
          </p:nvCxnSpPr>
          <p:spPr bwMode="gray">
            <a:xfrm>
              <a:off x="494387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1F5DC77-F876-E52C-A58B-27B729CFE9DC}"/>
                </a:ext>
              </a:extLst>
            </p:cNvPr>
            <p:cNvCxnSpPr/>
            <p:nvPr userDrawn="1"/>
          </p:nvCxnSpPr>
          <p:spPr bwMode="gray">
            <a:xfrm>
              <a:off x="667206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72AAC82F-CA51-EE05-E4D9-6B2100D51BD5}"/>
                </a:ext>
              </a:extLst>
            </p:cNvPr>
            <p:cNvCxnSpPr/>
            <p:nvPr userDrawn="1"/>
          </p:nvCxnSpPr>
          <p:spPr bwMode="gray">
            <a:xfrm>
              <a:off x="609600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DFEB7FB2-51DE-AB7E-1CDA-BEE78B81DD21}"/>
                </a:ext>
              </a:extLst>
            </p:cNvPr>
            <p:cNvCxnSpPr/>
            <p:nvPr userDrawn="1"/>
          </p:nvCxnSpPr>
          <p:spPr bwMode="gray">
            <a:xfrm>
              <a:off x="724812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3EFA1DF2-E171-6BD1-4680-5B413F7518CA}"/>
                </a:ext>
              </a:extLst>
            </p:cNvPr>
            <p:cNvCxnSpPr/>
            <p:nvPr userDrawn="1"/>
          </p:nvCxnSpPr>
          <p:spPr bwMode="gray">
            <a:xfrm>
              <a:off x="782419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00687D1D-16D9-FDF4-F839-873740B6C1E1}"/>
                </a:ext>
              </a:extLst>
            </p:cNvPr>
            <p:cNvCxnSpPr/>
            <p:nvPr userDrawn="1"/>
          </p:nvCxnSpPr>
          <p:spPr bwMode="gray">
            <a:xfrm>
              <a:off x="840025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8A980341-1081-2A3C-229C-984F7FE37EB2}"/>
                </a:ext>
              </a:extLst>
            </p:cNvPr>
            <p:cNvCxnSpPr/>
            <p:nvPr userDrawn="1"/>
          </p:nvCxnSpPr>
          <p:spPr bwMode="gray">
            <a:xfrm>
              <a:off x="897632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6F3298E-D01F-4DED-BADF-E442C16D18AB}"/>
                </a:ext>
              </a:extLst>
            </p:cNvPr>
            <p:cNvCxnSpPr/>
            <p:nvPr userDrawn="1"/>
          </p:nvCxnSpPr>
          <p:spPr bwMode="gray">
            <a:xfrm>
              <a:off x="1128057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C9A009F6-11B6-FE9B-0154-47143605EB6F}"/>
                </a:ext>
              </a:extLst>
            </p:cNvPr>
            <p:cNvCxnSpPr/>
            <p:nvPr userDrawn="1"/>
          </p:nvCxnSpPr>
          <p:spPr bwMode="gray">
            <a:xfrm>
              <a:off x="1185664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r Verbinder 54">
              <a:extLst>
                <a:ext uri="{FF2B5EF4-FFF2-40B4-BE49-F238E27FC236}">
                  <a16:creationId xmlns:a16="http://schemas.microsoft.com/office/drawing/2014/main" id="{9C486DF2-6230-5F92-28F6-4B0EBDBE5F74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29665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r Verbinder 55">
              <a:extLst>
                <a:ext uri="{FF2B5EF4-FFF2-40B4-BE49-F238E27FC236}">
                  <a16:creationId xmlns:a16="http://schemas.microsoft.com/office/drawing/2014/main" id="{D91560F6-EFAB-DFF0-2CE5-CA8E8D7B92FD}"/>
                </a:ext>
              </a:extLst>
            </p:cNvPr>
            <p:cNvCxnSpPr/>
            <p:nvPr userDrawn="1"/>
          </p:nvCxnSpPr>
          <p:spPr bwMode="gray">
            <a:xfrm>
              <a:off x="321568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r Verbinder 56">
              <a:extLst>
                <a:ext uri="{FF2B5EF4-FFF2-40B4-BE49-F238E27FC236}">
                  <a16:creationId xmlns:a16="http://schemas.microsoft.com/office/drawing/2014/main" id="{CC5C11C4-8915-110C-A659-EF2B58EA51E5}"/>
                </a:ext>
              </a:extLst>
            </p:cNvPr>
            <p:cNvCxnSpPr/>
            <p:nvPr userDrawn="1"/>
          </p:nvCxnSpPr>
          <p:spPr bwMode="gray">
            <a:xfrm>
              <a:off x="379174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r Verbinder 57">
              <a:extLst>
                <a:ext uri="{FF2B5EF4-FFF2-40B4-BE49-F238E27FC236}">
                  <a16:creationId xmlns:a16="http://schemas.microsoft.com/office/drawing/2014/main" id="{FE596507-B269-096F-C772-3D589F8313DE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04" y="87272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r Verbinder 58">
              <a:extLst>
                <a:ext uri="{FF2B5EF4-FFF2-40B4-BE49-F238E27FC236}">
                  <a16:creationId xmlns:a16="http://schemas.microsoft.com/office/drawing/2014/main" id="{ABBDE7A6-4B6E-7284-FA27-77003867E36F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12" y="202484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r Verbinder 59">
              <a:extLst>
                <a:ext uri="{FF2B5EF4-FFF2-40B4-BE49-F238E27FC236}">
                  <a16:creationId xmlns:a16="http://schemas.microsoft.com/office/drawing/2014/main" id="{EA56F48E-CA1E-D2EF-1DAD-AA1A0BA4AD05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68" y="605729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r Verbinder 60">
              <a:extLst>
                <a:ext uri="{FF2B5EF4-FFF2-40B4-BE49-F238E27FC236}">
                  <a16:creationId xmlns:a16="http://schemas.microsoft.com/office/drawing/2014/main" id="{F6D4A6AA-3A8B-35E0-0C02-91A34BDF1544}"/>
                </a:ext>
              </a:extLst>
            </p:cNvPr>
            <p:cNvCxnSpPr/>
            <p:nvPr/>
          </p:nvCxnSpPr>
          <p:spPr bwMode="gray">
            <a:xfrm>
              <a:off x="1070451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r Verbinder 61">
              <a:extLst>
                <a:ext uri="{FF2B5EF4-FFF2-40B4-BE49-F238E27FC236}">
                  <a16:creationId xmlns:a16="http://schemas.microsoft.com/office/drawing/2014/main" id="{71E01254-A5BF-7CF9-08F2-F36694BDDAAC}"/>
                </a:ext>
              </a:extLst>
            </p:cNvPr>
            <p:cNvCxnSpPr/>
            <p:nvPr/>
          </p:nvCxnSpPr>
          <p:spPr bwMode="gray">
            <a:xfrm>
              <a:off x="1012844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>
              <a:extLst>
                <a:ext uri="{FF2B5EF4-FFF2-40B4-BE49-F238E27FC236}">
                  <a16:creationId xmlns:a16="http://schemas.microsoft.com/office/drawing/2014/main" id="{F4D0D6A0-2C15-2CE6-7577-46899F22922A}"/>
                </a:ext>
              </a:extLst>
            </p:cNvPr>
            <p:cNvCxnSpPr/>
            <p:nvPr/>
          </p:nvCxnSpPr>
          <p:spPr bwMode="gray">
            <a:xfrm>
              <a:off x="955059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8CCCB8B0-8EFF-E403-AB34-9C736D429C67}"/>
                </a:ext>
              </a:extLst>
            </p:cNvPr>
            <p:cNvCxnSpPr/>
            <p:nvPr/>
          </p:nvCxnSpPr>
          <p:spPr bwMode="gray">
            <a:xfrm>
              <a:off x="551973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r Verbinder 64">
              <a:extLst>
                <a:ext uri="{FF2B5EF4-FFF2-40B4-BE49-F238E27FC236}">
                  <a16:creationId xmlns:a16="http://schemas.microsoft.com/office/drawing/2014/main" id="{55D92A3E-E46B-1B90-CEF5-61C65FC2B382}"/>
                </a:ext>
              </a:extLst>
            </p:cNvPr>
            <p:cNvCxnSpPr/>
            <p:nvPr/>
          </p:nvCxnSpPr>
          <p:spPr bwMode="gray">
            <a:xfrm>
              <a:off x="263961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65">
              <a:extLst>
                <a:ext uri="{FF2B5EF4-FFF2-40B4-BE49-F238E27FC236}">
                  <a16:creationId xmlns:a16="http://schemas.microsoft.com/office/drawing/2014/main" id="{9109572B-C5A8-12C7-0744-351374AEBBCC}"/>
                </a:ext>
              </a:extLst>
            </p:cNvPr>
            <p:cNvCxnSpPr/>
            <p:nvPr/>
          </p:nvCxnSpPr>
          <p:spPr bwMode="gray">
            <a:xfrm>
              <a:off x="206355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0CA6D5E5-CE57-020C-EC9F-A7342AFAC9E5}"/>
                </a:ext>
              </a:extLst>
            </p:cNvPr>
            <p:cNvCxnSpPr/>
            <p:nvPr/>
          </p:nvCxnSpPr>
          <p:spPr bwMode="gray">
            <a:xfrm>
              <a:off x="148748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E6732A02-61C2-172F-9138-73D00662DEF2}"/>
                </a:ext>
              </a:extLst>
            </p:cNvPr>
            <p:cNvCxnSpPr/>
            <p:nvPr/>
          </p:nvCxnSpPr>
          <p:spPr bwMode="gray">
            <a:xfrm>
              <a:off x="91142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9179F2E0-8B24-BC7B-F842-2AA1BCD8020A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04" y="144878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C2F2BD90-732F-E2C0-A38E-37D876182F1D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260091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68484A78-3A9F-E6C3-7611-CCF8E00F8F14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17697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B2CA6EEB-EF1E-B7EF-9BBC-47C9DCB01234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75304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7B0C5C62-F6F1-5C4E-71CF-165289EAD64C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32910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AB4DBDFE-CB70-393D-6351-AEAE29B1C5E7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90516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>
              <a:extLst>
                <a:ext uri="{FF2B5EF4-FFF2-40B4-BE49-F238E27FC236}">
                  <a16:creationId xmlns:a16="http://schemas.microsoft.com/office/drawing/2014/main" id="{D4DD5335-CF56-B600-9810-7D7E4B41F493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548123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104591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orient="horz" pos="3838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93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|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32534F82-1506-EBFD-8238-2A3F85566F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  <a:solidFill>
            <a:schemeClr val="tx1"/>
          </a:solidFill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5D8080AE-AF83-3B4F-C0DC-1D334A29B9AF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BC326249-F777-5B56-C3FA-677BDADB4DCA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22E961BF-DA7D-4A16-47E3-2C4EB81CDD92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D6DD0E49-17F5-E90D-B347-C3CF04F8A7E7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158EF7C0-5A26-3623-35A7-8FF5FD3D1A45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15A7D909-AD3B-9783-1B2B-83A76C90172A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72" name="Rechteck 171">
              <a:extLst>
                <a:ext uri="{FF2B5EF4-FFF2-40B4-BE49-F238E27FC236}">
                  <a16:creationId xmlns:a16="http://schemas.microsoft.com/office/drawing/2014/main" id="{B479E4C1-99FA-3A5A-1F27-6EC380E4A540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73" name="Rechteck 172">
              <a:extLst>
                <a:ext uri="{FF2B5EF4-FFF2-40B4-BE49-F238E27FC236}">
                  <a16:creationId xmlns:a16="http://schemas.microsoft.com/office/drawing/2014/main" id="{49F639A4-D1E6-6C4E-17B4-DD3622FD4CCA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0AB83A91-A1D3-941E-7AB9-2AE0D3ECA3F5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63CE720C-BE12-BB10-A98A-72720E664547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1ACFEF9F-C299-4C80-DB65-19CC5F22084B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E1CC0775-7794-AAAD-52F4-1BFB1FD9337F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3" name="Rechteck 212">
              <a:extLst>
                <a:ext uri="{FF2B5EF4-FFF2-40B4-BE49-F238E27FC236}">
                  <a16:creationId xmlns:a16="http://schemas.microsoft.com/office/drawing/2014/main" id="{2CFE9583-286B-87DD-1C36-94D3295EB913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47DA1C60-D5A6-721F-C767-2D5702BD5806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5" name="Rechteck 214">
              <a:extLst>
                <a:ext uri="{FF2B5EF4-FFF2-40B4-BE49-F238E27FC236}">
                  <a16:creationId xmlns:a16="http://schemas.microsoft.com/office/drawing/2014/main" id="{2F207EC8-546F-1137-E2FA-5BF0D29DF9A6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6" name="Rechteck 215">
              <a:extLst>
                <a:ext uri="{FF2B5EF4-FFF2-40B4-BE49-F238E27FC236}">
                  <a16:creationId xmlns:a16="http://schemas.microsoft.com/office/drawing/2014/main" id="{FF3FCB96-48AB-22CB-2A7B-8D2968874F24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7" name="Rechteck 216">
              <a:extLst>
                <a:ext uri="{FF2B5EF4-FFF2-40B4-BE49-F238E27FC236}">
                  <a16:creationId xmlns:a16="http://schemas.microsoft.com/office/drawing/2014/main" id="{C6C9272E-00EC-C142-527C-15B2A6AF0D53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8" name="Rechteck 217">
              <a:extLst>
                <a:ext uri="{FF2B5EF4-FFF2-40B4-BE49-F238E27FC236}">
                  <a16:creationId xmlns:a16="http://schemas.microsoft.com/office/drawing/2014/main" id="{DA855F50-BFB6-FDCB-605D-82AEB671DFE9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9" name="Rechteck 218">
              <a:extLst>
                <a:ext uri="{FF2B5EF4-FFF2-40B4-BE49-F238E27FC236}">
                  <a16:creationId xmlns:a16="http://schemas.microsoft.com/office/drawing/2014/main" id="{4281739E-E7B7-9BDB-131F-84AC8C23BA96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0" name="Rechteck 219">
              <a:extLst>
                <a:ext uri="{FF2B5EF4-FFF2-40B4-BE49-F238E27FC236}">
                  <a16:creationId xmlns:a16="http://schemas.microsoft.com/office/drawing/2014/main" id="{C04C16CB-5373-D852-FB5B-60914E7AF52A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1" name="Rechteck 220">
              <a:extLst>
                <a:ext uri="{FF2B5EF4-FFF2-40B4-BE49-F238E27FC236}">
                  <a16:creationId xmlns:a16="http://schemas.microsoft.com/office/drawing/2014/main" id="{48C4EAAC-78ED-C7D0-8211-5405B2C8ADCA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2" name="Rechteck 221">
              <a:extLst>
                <a:ext uri="{FF2B5EF4-FFF2-40B4-BE49-F238E27FC236}">
                  <a16:creationId xmlns:a16="http://schemas.microsoft.com/office/drawing/2014/main" id="{73D46493-72AD-597A-D3CC-438D81F718DC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3" name="Rechteck 222">
              <a:extLst>
                <a:ext uri="{FF2B5EF4-FFF2-40B4-BE49-F238E27FC236}">
                  <a16:creationId xmlns:a16="http://schemas.microsoft.com/office/drawing/2014/main" id="{24D8B43D-A5A2-8CBB-5495-B660467A0AAB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4" name="Rechteck 223">
              <a:extLst>
                <a:ext uri="{FF2B5EF4-FFF2-40B4-BE49-F238E27FC236}">
                  <a16:creationId xmlns:a16="http://schemas.microsoft.com/office/drawing/2014/main" id="{EB9D1010-B747-503A-8066-C5ED5BC0E590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437ABC38-73D9-6559-0A64-5E8D0CB9476E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E8E9BA53-CCD6-0513-F591-306770708630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7" name="Rechteck 226">
              <a:extLst>
                <a:ext uri="{FF2B5EF4-FFF2-40B4-BE49-F238E27FC236}">
                  <a16:creationId xmlns:a16="http://schemas.microsoft.com/office/drawing/2014/main" id="{1468DA82-BBB6-29B8-F453-58AD471F1255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43263AA6-23B0-7397-E8C2-0EE9F0D881EB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9" name="Rechteck 228">
              <a:extLst>
                <a:ext uri="{FF2B5EF4-FFF2-40B4-BE49-F238E27FC236}">
                  <a16:creationId xmlns:a16="http://schemas.microsoft.com/office/drawing/2014/main" id="{F661DD01-F5F0-B43E-E1FF-D13097785BF3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0" name="Rechteck 229">
              <a:extLst>
                <a:ext uri="{FF2B5EF4-FFF2-40B4-BE49-F238E27FC236}">
                  <a16:creationId xmlns:a16="http://schemas.microsoft.com/office/drawing/2014/main" id="{821932BF-F2C0-F6A2-BE67-A123A05AE1CC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1" name="Rechteck 230">
              <a:extLst>
                <a:ext uri="{FF2B5EF4-FFF2-40B4-BE49-F238E27FC236}">
                  <a16:creationId xmlns:a16="http://schemas.microsoft.com/office/drawing/2014/main" id="{0B003E75-1D77-183D-6E22-FE16A2596159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2" name="Rechteck 231">
              <a:extLst>
                <a:ext uri="{FF2B5EF4-FFF2-40B4-BE49-F238E27FC236}">
                  <a16:creationId xmlns:a16="http://schemas.microsoft.com/office/drawing/2014/main" id="{96DEAB5D-90E2-4153-6B77-EA5AD8E0BE61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3" name="Rechteck 232">
              <a:extLst>
                <a:ext uri="{FF2B5EF4-FFF2-40B4-BE49-F238E27FC236}">
                  <a16:creationId xmlns:a16="http://schemas.microsoft.com/office/drawing/2014/main" id="{41168525-4BE4-965A-64B3-8819FA9D79C9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4" name="Rechteck 233">
              <a:extLst>
                <a:ext uri="{FF2B5EF4-FFF2-40B4-BE49-F238E27FC236}">
                  <a16:creationId xmlns:a16="http://schemas.microsoft.com/office/drawing/2014/main" id="{7E83C9FF-28AA-B4FE-F794-48A93886CA5B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5" name="Rechteck 234">
              <a:extLst>
                <a:ext uri="{FF2B5EF4-FFF2-40B4-BE49-F238E27FC236}">
                  <a16:creationId xmlns:a16="http://schemas.microsoft.com/office/drawing/2014/main" id="{E7462BBA-675E-BBCB-4A30-6CC137FF9F79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6" name="Rechteck 235">
              <a:extLst>
                <a:ext uri="{FF2B5EF4-FFF2-40B4-BE49-F238E27FC236}">
                  <a16:creationId xmlns:a16="http://schemas.microsoft.com/office/drawing/2014/main" id="{57AF37C3-247E-1FBD-2BA4-784ABFE9A93A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7" name="Rechteck 236">
              <a:extLst>
                <a:ext uri="{FF2B5EF4-FFF2-40B4-BE49-F238E27FC236}">
                  <a16:creationId xmlns:a16="http://schemas.microsoft.com/office/drawing/2014/main" id="{A8BF931C-C333-6389-150F-601F175977D1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8" name="Rechteck 237">
              <a:extLst>
                <a:ext uri="{FF2B5EF4-FFF2-40B4-BE49-F238E27FC236}">
                  <a16:creationId xmlns:a16="http://schemas.microsoft.com/office/drawing/2014/main" id="{702D6551-24FF-FF39-C272-C7232F56CBA7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9" name="Rechteck 238">
              <a:extLst>
                <a:ext uri="{FF2B5EF4-FFF2-40B4-BE49-F238E27FC236}">
                  <a16:creationId xmlns:a16="http://schemas.microsoft.com/office/drawing/2014/main" id="{411626C7-335D-D874-13DF-A76A12897459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0" name="Rechteck 239">
              <a:extLst>
                <a:ext uri="{FF2B5EF4-FFF2-40B4-BE49-F238E27FC236}">
                  <a16:creationId xmlns:a16="http://schemas.microsoft.com/office/drawing/2014/main" id="{8B148FB8-C0C0-A645-83CE-67E19139A152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1" name="Rechteck 240">
              <a:extLst>
                <a:ext uri="{FF2B5EF4-FFF2-40B4-BE49-F238E27FC236}">
                  <a16:creationId xmlns:a16="http://schemas.microsoft.com/office/drawing/2014/main" id="{7BA5B129-73E9-C5AB-3398-4E8FD3FE4084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2" name="Rechteck 241">
              <a:extLst>
                <a:ext uri="{FF2B5EF4-FFF2-40B4-BE49-F238E27FC236}">
                  <a16:creationId xmlns:a16="http://schemas.microsoft.com/office/drawing/2014/main" id="{6D877FEF-E81B-65FC-FEBC-62A8C582CB5B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3" name="Rechteck 242">
              <a:extLst>
                <a:ext uri="{FF2B5EF4-FFF2-40B4-BE49-F238E27FC236}">
                  <a16:creationId xmlns:a16="http://schemas.microsoft.com/office/drawing/2014/main" id="{94099468-B996-CC9D-69C1-2D7CAA5BD129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4" name="Rechteck 243">
              <a:extLst>
                <a:ext uri="{FF2B5EF4-FFF2-40B4-BE49-F238E27FC236}">
                  <a16:creationId xmlns:a16="http://schemas.microsoft.com/office/drawing/2014/main" id="{F4FA763D-3005-F2F4-10A0-ED8F132E79AE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5" name="Rechteck 244">
              <a:extLst>
                <a:ext uri="{FF2B5EF4-FFF2-40B4-BE49-F238E27FC236}">
                  <a16:creationId xmlns:a16="http://schemas.microsoft.com/office/drawing/2014/main" id="{29682364-1D4A-FB00-BA89-4D76DE584234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6" name="Rechteck 245">
              <a:extLst>
                <a:ext uri="{FF2B5EF4-FFF2-40B4-BE49-F238E27FC236}">
                  <a16:creationId xmlns:a16="http://schemas.microsoft.com/office/drawing/2014/main" id="{B58D876E-3793-7EFA-AA5B-00125CA374E0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7" name="Rechteck 246">
              <a:extLst>
                <a:ext uri="{FF2B5EF4-FFF2-40B4-BE49-F238E27FC236}">
                  <a16:creationId xmlns:a16="http://schemas.microsoft.com/office/drawing/2014/main" id="{80191F52-E13B-72FD-2E75-6B595EC2665C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8" name="Rechteck 247">
              <a:extLst>
                <a:ext uri="{FF2B5EF4-FFF2-40B4-BE49-F238E27FC236}">
                  <a16:creationId xmlns:a16="http://schemas.microsoft.com/office/drawing/2014/main" id="{C9F244E1-BF86-3DF8-9A58-4B02584B7426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9" name="Rechteck 248">
              <a:extLst>
                <a:ext uri="{FF2B5EF4-FFF2-40B4-BE49-F238E27FC236}">
                  <a16:creationId xmlns:a16="http://schemas.microsoft.com/office/drawing/2014/main" id="{D14EE24A-F952-5130-4FB5-2FBAEC086821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0" name="Rechteck 249">
              <a:extLst>
                <a:ext uri="{FF2B5EF4-FFF2-40B4-BE49-F238E27FC236}">
                  <a16:creationId xmlns:a16="http://schemas.microsoft.com/office/drawing/2014/main" id="{F8E5A96D-8D8A-97F5-96D2-399E425F19FB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1" name="Rechteck 250">
              <a:extLst>
                <a:ext uri="{FF2B5EF4-FFF2-40B4-BE49-F238E27FC236}">
                  <a16:creationId xmlns:a16="http://schemas.microsoft.com/office/drawing/2014/main" id="{EF7C7DD9-2BB0-1E23-AC5B-9FAD412BD337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2" name="Rechteck 251">
              <a:extLst>
                <a:ext uri="{FF2B5EF4-FFF2-40B4-BE49-F238E27FC236}">
                  <a16:creationId xmlns:a16="http://schemas.microsoft.com/office/drawing/2014/main" id="{AF107BAA-784B-7CF0-8A0A-F5B4CAA7DF03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3" name="Rechteck 252">
              <a:extLst>
                <a:ext uri="{FF2B5EF4-FFF2-40B4-BE49-F238E27FC236}">
                  <a16:creationId xmlns:a16="http://schemas.microsoft.com/office/drawing/2014/main" id="{F2FE2ED3-05EF-3D21-6A3A-54E4430BBBAB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4" name="Rechteck 253">
              <a:extLst>
                <a:ext uri="{FF2B5EF4-FFF2-40B4-BE49-F238E27FC236}">
                  <a16:creationId xmlns:a16="http://schemas.microsoft.com/office/drawing/2014/main" id="{36EE0479-6AF7-23B0-9143-1E7D473986E1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5" name="Rechteck 254">
              <a:extLst>
                <a:ext uri="{FF2B5EF4-FFF2-40B4-BE49-F238E27FC236}">
                  <a16:creationId xmlns:a16="http://schemas.microsoft.com/office/drawing/2014/main" id="{46634663-152C-3F16-7240-37D328C5B56F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8EBB1F17-D396-0307-26C4-B269910A49B1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23D2124E-93E5-E21B-5687-B86DDB906490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A1BFEADB-AF63-D874-2550-09EFE52467ED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F6875E95-249A-A482-36DD-1081407297C5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E5F521E5-C95D-650A-0870-FFDBB97B60BC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5FFF7890-7927-791B-DEC5-D44A8078A242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ACD3E02D-4E72-71CE-B37B-B1823D43002B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D17B773B-4EA4-4C93-EA2D-459E5A69C1F3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5DD5E1CE-A44C-223C-73B6-2F75D76784DA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48A8B844-BE83-034C-D901-8B4999184DE2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4695CB49-EDC9-1DA0-7DA9-1DEC526A17EC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66CAA2D2-895B-8940-7E52-BBEBCDEF8B73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B53D8AC4-8D17-338E-149D-BCC53BE8B5B7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0B1E8C07-A0C0-61EB-58F6-63A873E0188D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0" name="Rechteck 269">
              <a:extLst>
                <a:ext uri="{FF2B5EF4-FFF2-40B4-BE49-F238E27FC236}">
                  <a16:creationId xmlns:a16="http://schemas.microsoft.com/office/drawing/2014/main" id="{0C3C644C-1654-C9C4-A20F-414EB9929FAB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1" name="Rechteck 270">
              <a:extLst>
                <a:ext uri="{FF2B5EF4-FFF2-40B4-BE49-F238E27FC236}">
                  <a16:creationId xmlns:a16="http://schemas.microsoft.com/office/drawing/2014/main" id="{3BA8B1E7-9033-A636-6C35-71F27C815723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15FC7DDE-2878-6F09-C189-8E52B1220099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DA75147D-1D80-4CE1-D090-7A971D567216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EE9B3972-0150-DD80-45C8-A3212272D6A1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DE2D9045-F74E-1478-3EE8-00DE9D255A45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5FCE645C-4519-5755-AD97-FE310E5605E4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D74B9EDC-D7B0-A1C0-9654-18BD4185ACEE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D6463FFD-8AA6-5995-495C-77CA3159912B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93D6D3A8-B445-981B-587E-0B5323834F3D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F96E58A7-6D5A-538E-9006-8230B2F74944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AF4517F7-E5FD-D8EF-836B-5716F5C5A5FA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8A5B91A1-403C-83A8-33B4-A70A055AAA55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3" name="Rechteck 282">
              <a:extLst>
                <a:ext uri="{FF2B5EF4-FFF2-40B4-BE49-F238E27FC236}">
                  <a16:creationId xmlns:a16="http://schemas.microsoft.com/office/drawing/2014/main" id="{2E28C4FC-DA87-BEF0-4A16-9B5B34053824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5E592081-8E7C-EB64-94D5-E97C655691B0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97B31262-C004-1B77-F6B5-4A860776D4AC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055FC7A0-0700-5460-D215-DE79D3C13109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FC2029D4-6CB4-E460-E1B5-1F91D006CB75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FC1C4111-69C1-BC9C-B332-8E3A700CA0B7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5434EB44-A966-91E3-3032-FF9136855CEB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7575E3BC-19E2-DE93-EB83-A5AAE10708C3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50762871-F1DA-FB45-2F50-78F99EC73BEB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095C8337-DB1F-09E5-ED29-CD396B2CA4BF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735E28DB-B140-44A6-B165-5F6E5F7D16D5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A7916FD5-974C-0ABE-6F9F-4DC38722AD66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31C32AC5-8088-58B8-F758-9122FADDE40C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9A6753EC-91CB-BCE6-1BAA-4B9825B2E428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EB924952-E665-EC37-DAA1-CF6D07AFDADF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440850A6-C8B6-970B-F0B8-9BB820BD1698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E101BA5C-0696-874D-2424-E986E0CD6556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B5473C80-F860-7B10-EDF2-21F0718ACBF4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399EF873-220F-959C-5A9F-7504E462C386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0092FE3C-1F32-990A-8E2D-6617A13047E4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340A177D-CEC2-35A6-6637-BA783D0AA91A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8D9A015C-D984-D8EF-B43D-4A5D7CEC39B8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8F1D5FE6-9BF6-23A4-3875-0C03DC62787C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1AF14334-ED89-DC4D-A747-2A3149E95403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AF380567-1BEF-D144-E6CE-AD87A8FB1A87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A48469E2-8004-7AE7-9209-AFA2A99C3AAC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0DE39E82-0D89-D957-ECB4-063D88A8E311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2C195A2A-3F2C-046A-31BA-EDA65ABA684C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63BADE9B-4EC8-6FB4-83AC-8597CBC2FFA9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F94EC168-956C-0905-4669-1E5F3200407C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06BD54F1-F400-A51D-70B0-949B4AE5432B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1C9B8F9D-423B-53C5-7031-C0F29D2A07CF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BD9D6A2F-7F82-AA2C-B46B-F1D35116F43B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B42B637F-B697-A05B-E506-8582E04F5063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386C7AB2-3DB7-B8B0-8F8E-932BF77798B5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DF2C3921-A6EE-1564-8EB6-86E54CAE2F37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9A291F76-F9C0-4F1F-322B-F8C7B8D2649F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FA125E10-7CAF-F526-8FEC-E27E7FDC9326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5A3BF2D0-6A06-F29A-3657-BA90B3703F17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25F71FB4-D6B8-A0FE-9672-6632D2E1258C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A652998C-3EC7-BBB5-6D2F-5E7C1F96362B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09EAA50E-0B31-AC04-F6D6-F10E52B9F4E5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C525EE89-11AE-229F-69FE-298E6A89AAB7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FC309F6C-B597-5BCB-27FC-DA7C41A614DD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C0F13427-A1DE-89C9-F1A3-6998F03DFE5D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75568E60-1C8A-E7DE-1D3A-87ED86E984CF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887AF5E4-682A-B89B-E9D7-8AC515F58250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9E2B0B3C-85E5-CE06-F36C-6B63B36DADCC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5B3B5E18-1BD3-A166-84B7-EC6854E6F119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A64AEAE6-889A-8031-4AF7-77A36D6C04F5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7949AF8C-0F4C-D570-6A0C-ABAB83C5EB5E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B8BC125B-AFFC-84D5-43B2-FC41E5B561D5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19CBFE2D-1F4A-38ED-5DC4-E3C956CAD277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A037AE53-43BB-8111-F6BC-3FF00615C29C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84CF2BAA-0E7A-1A64-738A-77538E867FB3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470FBC55-675A-4E80-4401-7ED3E9BA727D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8C92ECB3-C0F5-81EB-ACBC-6DA198F6F407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FC491929-101B-B10E-C62C-AD30B5F7DD38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C32CA8D9-07C7-BA48-B2F8-863B353E9FCC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1A9B1259-B694-CD32-C2DA-85EF65E42187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7F7A2297-390D-E084-DFAA-D415006AAF07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71144E8E-2823-61C3-D930-12801B7CDA8A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19554DE5-E0F3-3D41-472F-13F3763316CC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BBE45D6E-1506-D449-DAB8-E4AC4BC4B70D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48A90556-9999-C807-3E5E-99054EAE6657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CFFF9AE8-7FFF-642E-EA0E-252110334DB4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D00C04BB-FD84-7C92-0A17-05F4C19331D2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91A5D1AD-FAD3-8920-AA6B-881738C7A579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091D4A12-1AFA-3923-1836-D29070546D4A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5E4FC953-2CD8-1F44-0AEB-C2724625531B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1F2CCFB4-C12F-CE74-57CD-FF12D420CA89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D5889B24-014C-AACD-6704-59A4A0D5C14C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48907522-1FD0-5C35-A116-15B577F49970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6CD48130-78E2-FFE6-90D2-788927EBA5B0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1A053ED9-AF37-ECE5-EEA2-04A5D1B8EA83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94F1E6CA-38D5-6415-FECE-9FE38050D140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5FB83D34-4A22-4A04-1093-571CBFDB4AC7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845ECAF5-AD2D-B461-083C-37EFC201EA98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4774FB9A-B077-63B4-8D96-87F1C21D3B01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29B5E140-51EC-3F0D-C4CF-B7ECE78D9BBE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C9AA032B-80DC-A135-6C91-B2682CCD5754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E868F3A5-6207-CAD3-B0DB-DE755FC4DE6A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ED6F84BD-2D87-DA06-692B-51F281295878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C9E9CDD8-98DD-33DF-1E5A-7178FD8BBCA6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99C36470-3EB7-2F89-9B16-F09DF70B91D7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72FC14F1-9EB7-2DE0-6785-CA0E51AA9630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AC05846F-3741-1A74-BB34-1F2924DD54F2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51F5A38E-1326-554E-20C1-4DFE94F43BCC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A87FB715-D88F-35AC-332E-06F6F985E417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EA6CB972-20D1-B212-802B-EDB7AB98A2AE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0040422A-A05C-53B1-13CC-B636F95ED3D3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666AC9D4-7B45-E1BA-A64B-FA31E7C456CF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F9915DAC-1BD3-AE4B-F004-D5A18AEA5899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2FA6E05B-0AE3-01B2-8714-7BF9DDE18533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51E06D59-CDD0-BAB1-665B-431268EA64EA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0D353E87-C263-4055-8EE9-1F7F06FA8830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B26CB989-A5A8-620B-ACAF-43DA60181597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A6764D34-83D5-1B60-6501-E750EE85E0E9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AFBD627E-5245-6945-06F3-5CED924717FB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7866DF84-586B-A0EB-8AD1-DF720D177B2C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36D8321F-48E0-27E1-0C95-9BD7853368D5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82016D08-4B10-E41B-28D8-6384695E2775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CCCCC6CB-B481-B65E-56B0-68E3EB05EF24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DCB9DB2C-53AB-B02B-A941-F1209DF9BA9B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A18DB5F0-03F5-17CA-1D04-ECB89DC7AACF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8AFC8ABD-924D-919F-73EE-7515D9B53BA6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69F1A562-3F13-F7E3-2205-7960A4ED1078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grpSp>
        <p:nvGrpSpPr>
          <p:cNvPr id="395" name="Gruppieren 394">
            <a:extLst>
              <a:ext uri="{FF2B5EF4-FFF2-40B4-BE49-F238E27FC236}">
                <a16:creationId xmlns:a16="http://schemas.microsoft.com/office/drawing/2014/main" id="{2A2B01A3-8671-A6DB-3AD5-52305CBD43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1" y="2082829"/>
            <a:ext cx="2448000" cy="0"/>
            <a:chOff x="983432" y="2082829"/>
            <a:chExt cx="2448000" cy="0"/>
          </a:xfrm>
        </p:grpSpPr>
        <p:cxnSp>
          <p:nvCxnSpPr>
            <p:cNvPr id="396" name="Line">
              <a:extLst>
                <a:ext uri="{FF2B5EF4-FFF2-40B4-BE49-F238E27FC236}">
                  <a16:creationId xmlns:a16="http://schemas.microsoft.com/office/drawing/2014/main" id="{D5CA2A2B-3AFA-2A34-9C4F-1795B8C546F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7" name="Line">
              <a:extLst>
                <a:ext uri="{FF2B5EF4-FFF2-40B4-BE49-F238E27FC236}">
                  <a16:creationId xmlns:a16="http://schemas.microsoft.com/office/drawing/2014/main" id="{499FA9B0-41DE-42A0-0D2E-9B835D55D04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8" name="Shape">
            <a:extLst>
              <a:ext uri="{FF2B5EF4-FFF2-40B4-BE49-F238E27FC236}">
                <a16:creationId xmlns:a16="http://schemas.microsoft.com/office/drawing/2014/main" id="{F5321458-CC8B-D7DB-B839-3ED0BCCC26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0848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99" name="Bildplatzhalter 398">
            <a:extLst>
              <a:ext uri="{FF2B5EF4-FFF2-40B4-BE49-F238E27FC236}">
                <a16:creationId xmlns:a16="http://schemas.microsoft.com/office/drawing/2014/main" id="{548B01D6-1A79-F4B3-0D53-2E69D8FF9D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367809" y="2061400"/>
            <a:ext cx="5760640" cy="3463099"/>
          </a:xfrm>
          <a:custGeom>
            <a:avLst/>
            <a:gdLst>
              <a:gd name="connsiteX0" fmla="*/ 5760640 w 5760640"/>
              <a:gd name="connsiteY0" fmla="*/ 0 h 3463099"/>
              <a:gd name="connsiteX1" fmla="*/ 4609453 w 5760640"/>
              <a:gd name="connsiteY1" fmla="*/ 2311556 h 3463099"/>
              <a:gd name="connsiteX2" fmla="*/ 0 w 5760640"/>
              <a:gd name="connsiteY2" fmla="*/ 3463099 h 3463099"/>
              <a:gd name="connsiteX3" fmla="*/ 0 w 5760640"/>
              <a:gd name="connsiteY3" fmla="*/ 518 h 3463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60640" h="3463099">
                <a:moveTo>
                  <a:pt x="5760640" y="0"/>
                </a:moveTo>
                <a:lnTo>
                  <a:pt x="4609453" y="2311556"/>
                </a:lnTo>
                <a:lnTo>
                  <a:pt x="0" y="3463099"/>
                </a:lnTo>
                <a:lnTo>
                  <a:pt x="0" y="51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391" name="Title">
            <a:extLst>
              <a:ext uri="{FF2B5EF4-FFF2-40B4-BE49-F238E27FC236}">
                <a16:creationId xmlns:a16="http://schemas.microsoft.com/office/drawing/2014/main" id="{AFE8FB08-C394-0927-1635-0D7B1B1DF06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695400" y="2564904"/>
            <a:ext cx="2952000" cy="1152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tIns="36000" rIns="216000" anchor="t">
            <a:noAutofit/>
          </a:bodyPr>
          <a:lstStyle>
            <a:lvl1pPr algn="l">
              <a:lnSpc>
                <a:spcPct val="90000"/>
              </a:lnSpc>
              <a:defRPr sz="2400"/>
            </a:lvl1pPr>
          </a:lstStyle>
          <a:p>
            <a:r>
              <a:rPr lang="en-GB"/>
              <a:t>Insert your long title here in max. three lines</a:t>
            </a:r>
          </a:p>
        </p:txBody>
      </p:sp>
      <p:sp>
        <p:nvSpPr>
          <p:cNvPr id="392" name="Subtitle 2">
            <a:extLst>
              <a:ext uri="{FF2B5EF4-FFF2-40B4-BE49-F238E27FC236}">
                <a16:creationId xmlns:a16="http://schemas.microsoft.com/office/drawing/2014/main" id="{2C73C20C-0C65-985B-DA85-E7C67365D3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400" y="3717032"/>
            <a:ext cx="2952000" cy="1202385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393" name="Author">
            <a:extLst>
              <a:ext uri="{FF2B5EF4-FFF2-40B4-BE49-F238E27FC236}">
                <a16:creationId xmlns:a16="http://schemas.microsoft.com/office/drawing/2014/main" id="{B9D7B0DE-954C-8A3D-EF54-7991A0A4CE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400" y="4869160"/>
            <a:ext cx="2952000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GB"/>
              <a:t>First name Last name</a:t>
            </a:r>
          </a:p>
        </p:txBody>
      </p:sp>
      <p:sp>
        <p:nvSpPr>
          <p:cNvPr id="394" name="Department, Date">
            <a:extLst>
              <a:ext uri="{FF2B5EF4-FFF2-40B4-BE49-F238E27FC236}">
                <a16:creationId xmlns:a16="http://schemas.microsoft.com/office/drawing/2014/main" id="{ECE5E946-7FD8-F6AF-AB1B-79AA7DAF0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5085160"/>
            <a:ext cx="2952000" cy="720104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GB"/>
              <a:t>Department</a:t>
            </a:r>
            <a:br>
              <a:rPr lang="en-GB"/>
            </a:br>
            <a:r>
              <a:rPr lang="en-GB"/>
              <a:t>DD/MM/YYYY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84A8A25F-49A3-D7BA-D960-0DE0379109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28448" y="335757"/>
            <a:ext cx="1365736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4601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54D9937-AF39-4EDC-7D16-3C8B52FADF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556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54D9937-AF39-4EDC-7D16-3C8B52FADF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83" name="Gruppieren 582">
            <a:extLst>
              <a:ext uri="{FF2B5EF4-FFF2-40B4-BE49-F238E27FC236}">
                <a16:creationId xmlns:a16="http://schemas.microsoft.com/office/drawing/2014/main" id="{D9C37C15-4661-1EC0-1E68-286F6CB3E34C}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584" name="Rechteck 583">
              <a:extLst>
                <a:ext uri="{FF2B5EF4-FFF2-40B4-BE49-F238E27FC236}">
                  <a16:creationId xmlns:a16="http://schemas.microsoft.com/office/drawing/2014/main" id="{6CDFA476-8296-C5BC-E630-0854ED158929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5" name="Rechteck 584">
              <a:extLst>
                <a:ext uri="{FF2B5EF4-FFF2-40B4-BE49-F238E27FC236}">
                  <a16:creationId xmlns:a16="http://schemas.microsoft.com/office/drawing/2014/main" id="{B63E2F34-D7DF-4E7D-60D9-7B60E09A86A8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6" name="Rechteck 585">
              <a:extLst>
                <a:ext uri="{FF2B5EF4-FFF2-40B4-BE49-F238E27FC236}">
                  <a16:creationId xmlns:a16="http://schemas.microsoft.com/office/drawing/2014/main" id="{AF19C520-3374-9882-DEA6-CB7C2771144A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7" name="Rechteck 586">
              <a:extLst>
                <a:ext uri="{FF2B5EF4-FFF2-40B4-BE49-F238E27FC236}">
                  <a16:creationId xmlns:a16="http://schemas.microsoft.com/office/drawing/2014/main" id="{17C1A6F5-D628-5A6D-3CF8-77C4D2BE21CA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8" name="Rechteck 587">
              <a:extLst>
                <a:ext uri="{FF2B5EF4-FFF2-40B4-BE49-F238E27FC236}">
                  <a16:creationId xmlns:a16="http://schemas.microsoft.com/office/drawing/2014/main" id="{C74B3201-2E62-E836-5D4D-831FF08F9B4A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9" name="Rechteck 588">
              <a:extLst>
                <a:ext uri="{FF2B5EF4-FFF2-40B4-BE49-F238E27FC236}">
                  <a16:creationId xmlns:a16="http://schemas.microsoft.com/office/drawing/2014/main" id="{73620ADE-36B4-1B34-59A5-8E542481EA51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0" name="Rechteck 589">
              <a:extLst>
                <a:ext uri="{FF2B5EF4-FFF2-40B4-BE49-F238E27FC236}">
                  <a16:creationId xmlns:a16="http://schemas.microsoft.com/office/drawing/2014/main" id="{D40B8B49-1480-84E2-4FD2-44E8046C6AE0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1" name="Rechteck 590">
              <a:extLst>
                <a:ext uri="{FF2B5EF4-FFF2-40B4-BE49-F238E27FC236}">
                  <a16:creationId xmlns:a16="http://schemas.microsoft.com/office/drawing/2014/main" id="{97F94633-5423-836D-CBFF-CA26923FF301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2" name="Rechteck 591">
              <a:extLst>
                <a:ext uri="{FF2B5EF4-FFF2-40B4-BE49-F238E27FC236}">
                  <a16:creationId xmlns:a16="http://schemas.microsoft.com/office/drawing/2014/main" id="{E455FB1E-4370-E1A0-22D6-AB8B1CE3BC45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3" name="Rechteck 592">
              <a:extLst>
                <a:ext uri="{FF2B5EF4-FFF2-40B4-BE49-F238E27FC236}">
                  <a16:creationId xmlns:a16="http://schemas.microsoft.com/office/drawing/2014/main" id="{B26CA8A3-A2D7-1301-6CC2-EA041775C823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4" name="Rechteck 593">
              <a:extLst>
                <a:ext uri="{FF2B5EF4-FFF2-40B4-BE49-F238E27FC236}">
                  <a16:creationId xmlns:a16="http://schemas.microsoft.com/office/drawing/2014/main" id="{6B8E7112-DCDD-22C6-9B5A-C81C548B21E7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5" name="Rechteck 594">
              <a:extLst>
                <a:ext uri="{FF2B5EF4-FFF2-40B4-BE49-F238E27FC236}">
                  <a16:creationId xmlns:a16="http://schemas.microsoft.com/office/drawing/2014/main" id="{0A58C869-EA64-4493-EA99-5646137FAAC3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6" name="Rechteck 595">
              <a:extLst>
                <a:ext uri="{FF2B5EF4-FFF2-40B4-BE49-F238E27FC236}">
                  <a16:creationId xmlns:a16="http://schemas.microsoft.com/office/drawing/2014/main" id="{CE8F149C-39E9-FE3B-9BB1-BD2AC7039D0C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7" name="Rechteck 596">
              <a:extLst>
                <a:ext uri="{FF2B5EF4-FFF2-40B4-BE49-F238E27FC236}">
                  <a16:creationId xmlns:a16="http://schemas.microsoft.com/office/drawing/2014/main" id="{43F16B1E-F2C9-0DF6-792B-CDBCFF7C2CB8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8" name="Rechteck 597">
              <a:extLst>
                <a:ext uri="{FF2B5EF4-FFF2-40B4-BE49-F238E27FC236}">
                  <a16:creationId xmlns:a16="http://schemas.microsoft.com/office/drawing/2014/main" id="{A92FB7FE-84D2-2012-0C10-A64F53975437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9" name="Rechteck 598">
              <a:extLst>
                <a:ext uri="{FF2B5EF4-FFF2-40B4-BE49-F238E27FC236}">
                  <a16:creationId xmlns:a16="http://schemas.microsoft.com/office/drawing/2014/main" id="{06C7F8F3-F220-38DB-6C72-47994E1D3717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0" name="Rechteck 599">
              <a:extLst>
                <a:ext uri="{FF2B5EF4-FFF2-40B4-BE49-F238E27FC236}">
                  <a16:creationId xmlns:a16="http://schemas.microsoft.com/office/drawing/2014/main" id="{F66F432E-7B76-DF22-80E1-EA77D937684F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1" name="Rechteck 600">
              <a:extLst>
                <a:ext uri="{FF2B5EF4-FFF2-40B4-BE49-F238E27FC236}">
                  <a16:creationId xmlns:a16="http://schemas.microsoft.com/office/drawing/2014/main" id="{40B9F00A-896B-6817-E877-9C0EB9BA7531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2" name="Rechteck 601">
              <a:extLst>
                <a:ext uri="{FF2B5EF4-FFF2-40B4-BE49-F238E27FC236}">
                  <a16:creationId xmlns:a16="http://schemas.microsoft.com/office/drawing/2014/main" id="{370726A2-5EC5-9288-219F-D2EF42AEB0EA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3" name="Rechteck 602">
              <a:extLst>
                <a:ext uri="{FF2B5EF4-FFF2-40B4-BE49-F238E27FC236}">
                  <a16:creationId xmlns:a16="http://schemas.microsoft.com/office/drawing/2014/main" id="{104716A9-ED2F-FAEB-4F63-AF4B0CFA6797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4" name="Rechteck 603">
              <a:extLst>
                <a:ext uri="{FF2B5EF4-FFF2-40B4-BE49-F238E27FC236}">
                  <a16:creationId xmlns:a16="http://schemas.microsoft.com/office/drawing/2014/main" id="{D57F0E72-01F3-DD7E-BA01-5891BFD490AF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5" name="Rechteck 604">
              <a:extLst>
                <a:ext uri="{FF2B5EF4-FFF2-40B4-BE49-F238E27FC236}">
                  <a16:creationId xmlns:a16="http://schemas.microsoft.com/office/drawing/2014/main" id="{A1C84C71-3940-2C32-7F85-84F6B21AE19A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6" name="Rechteck 605">
              <a:extLst>
                <a:ext uri="{FF2B5EF4-FFF2-40B4-BE49-F238E27FC236}">
                  <a16:creationId xmlns:a16="http://schemas.microsoft.com/office/drawing/2014/main" id="{59E7121A-FA0D-0E32-9659-75EF8B02E9A1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7" name="Rechteck 606">
              <a:extLst>
                <a:ext uri="{FF2B5EF4-FFF2-40B4-BE49-F238E27FC236}">
                  <a16:creationId xmlns:a16="http://schemas.microsoft.com/office/drawing/2014/main" id="{549F65F4-EE58-2221-4391-6887956EB751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8" name="Rechteck 607">
              <a:extLst>
                <a:ext uri="{FF2B5EF4-FFF2-40B4-BE49-F238E27FC236}">
                  <a16:creationId xmlns:a16="http://schemas.microsoft.com/office/drawing/2014/main" id="{2A2D860E-B89B-2F5D-B5C1-3A8B318A52FD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9" name="Rechteck 608">
              <a:extLst>
                <a:ext uri="{FF2B5EF4-FFF2-40B4-BE49-F238E27FC236}">
                  <a16:creationId xmlns:a16="http://schemas.microsoft.com/office/drawing/2014/main" id="{C9C8A00D-653B-823F-AC47-CE699815AEB5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0" name="Rechteck 609">
              <a:extLst>
                <a:ext uri="{FF2B5EF4-FFF2-40B4-BE49-F238E27FC236}">
                  <a16:creationId xmlns:a16="http://schemas.microsoft.com/office/drawing/2014/main" id="{033D7793-9352-7E3A-B1CF-4701200E7DD1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1" name="Rechteck 610">
              <a:extLst>
                <a:ext uri="{FF2B5EF4-FFF2-40B4-BE49-F238E27FC236}">
                  <a16:creationId xmlns:a16="http://schemas.microsoft.com/office/drawing/2014/main" id="{9FA25D8C-BE5D-99BA-FDFA-D79D3C3EAA5A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2" name="Rechteck 611">
              <a:extLst>
                <a:ext uri="{FF2B5EF4-FFF2-40B4-BE49-F238E27FC236}">
                  <a16:creationId xmlns:a16="http://schemas.microsoft.com/office/drawing/2014/main" id="{72A0213C-31B5-435D-EE2C-E38627B93E27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3" name="Rechteck 612">
              <a:extLst>
                <a:ext uri="{FF2B5EF4-FFF2-40B4-BE49-F238E27FC236}">
                  <a16:creationId xmlns:a16="http://schemas.microsoft.com/office/drawing/2014/main" id="{15F39986-47C1-6979-B588-C4F3023BFA1C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4" name="Rechteck 613">
              <a:extLst>
                <a:ext uri="{FF2B5EF4-FFF2-40B4-BE49-F238E27FC236}">
                  <a16:creationId xmlns:a16="http://schemas.microsoft.com/office/drawing/2014/main" id="{B4F8D4E4-07D5-DF8A-C031-7D7538E89FDC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5" name="Rechteck 614">
              <a:extLst>
                <a:ext uri="{FF2B5EF4-FFF2-40B4-BE49-F238E27FC236}">
                  <a16:creationId xmlns:a16="http://schemas.microsoft.com/office/drawing/2014/main" id="{F12F5EDD-87A7-926F-8F35-6F0081EEBDC2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6" name="Rechteck 615">
              <a:extLst>
                <a:ext uri="{FF2B5EF4-FFF2-40B4-BE49-F238E27FC236}">
                  <a16:creationId xmlns:a16="http://schemas.microsoft.com/office/drawing/2014/main" id="{A6C34709-3657-B0B3-06E9-5B5E6E88AF35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7" name="Rechteck 616">
              <a:extLst>
                <a:ext uri="{FF2B5EF4-FFF2-40B4-BE49-F238E27FC236}">
                  <a16:creationId xmlns:a16="http://schemas.microsoft.com/office/drawing/2014/main" id="{852634A7-A491-B850-C6FA-BD2AD4F533C9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8" name="Rechteck 617">
              <a:extLst>
                <a:ext uri="{FF2B5EF4-FFF2-40B4-BE49-F238E27FC236}">
                  <a16:creationId xmlns:a16="http://schemas.microsoft.com/office/drawing/2014/main" id="{ADDB4129-23B6-F442-8417-C9705046E516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9" name="Rechteck 618">
              <a:extLst>
                <a:ext uri="{FF2B5EF4-FFF2-40B4-BE49-F238E27FC236}">
                  <a16:creationId xmlns:a16="http://schemas.microsoft.com/office/drawing/2014/main" id="{52078BA5-5A07-5302-20FB-58CC9BF4416D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0" name="Rechteck 619">
              <a:extLst>
                <a:ext uri="{FF2B5EF4-FFF2-40B4-BE49-F238E27FC236}">
                  <a16:creationId xmlns:a16="http://schemas.microsoft.com/office/drawing/2014/main" id="{11C5BAC6-7E62-9EC0-6D81-9D8291B79E23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1" name="Rechteck 620">
              <a:extLst>
                <a:ext uri="{FF2B5EF4-FFF2-40B4-BE49-F238E27FC236}">
                  <a16:creationId xmlns:a16="http://schemas.microsoft.com/office/drawing/2014/main" id="{ACA29229-9945-5425-D3E3-AD1F0EF5D349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2" name="Rechteck 621">
              <a:extLst>
                <a:ext uri="{FF2B5EF4-FFF2-40B4-BE49-F238E27FC236}">
                  <a16:creationId xmlns:a16="http://schemas.microsoft.com/office/drawing/2014/main" id="{C50855C5-3A1F-47AC-AC26-D3634E608012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3" name="Rechteck 622">
              <a:extLst>
                <a:ext uri="{FF2B5EF4-FFF2-40B4-BE49-F238E27FC236}">
                  <a16:creationId xmlns:a16="http://schemas.microsoft.com/office/drawing/2014/main" id="{1EB0B764-DEC3-C25B-E81F-700C7EDCDDF0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4" name="Rechteck 623">
              <a:extLst>
                <a:ext uri="{FF2B5EF4-FFF2-40B4-BE49-F238E27FC236}">
                  <a16:creationId xmlns:a16="http://schemas.microsoft.com/office/drawing/2014/main" id="{35BEAED5-8110-6CAE-F4E1-564ED64D3260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5" name="Rechteck 624">
              <a:extLst>
                <a:ext uri="{FF2B5EF4-FFF2-40B4-BE49-F238E27FC236}">
                  <a16:creationId xmlns:a16="http://schemas.microsoft.com/office/drawing/2014/main" id="{2ADCE6E3-E468-1B54-3119-71AD64E9407D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6" name="Rechteck 625">
              <a:extLst>
                <a:ext uri="{FF2B5EF4-FFF2-40B4-BE49-F238E27FC236}">
                  <a16:creationId xmlns:a16="http://schemas.microsoft.com/office/drawing/2014/main" id="{5D2DEC00-79B0-3419-E927-092DE81CEC12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7" name="Rechteck 626">
              <a:extLst>
                <a:ext uri="{FF2B5EF4-FFF2-40B4-BE49-F238E27FC236}">
                  <a16:creationId xmlns:a16="http://schemas.microsoft.com/office/drawing/2014/main" id="{887A5560-BD63-833F-AF5B-017BF9A3A757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8" name="Rechteck 627">
              <a:extLst>
                <a:ext uri="{FF2B5EF4-FFF2-40B4-BE49-F238E27FC236}">
                  <a16:creationId xmlns:a16="http://schemas.microsoft.com/office/drawing/2014/main" id="{EE67E399-954C-5579-5BA5-DEA59C030996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9" name="Rechteck 628">
              <a:extLst>
                <a:ext uri="{FF2B5EF4-FFF2-40B4-BE49-F238E27FC236}">
                  <a16:creationId xmlns:a16="http://schemas.microsoft.com/office/drawing/2014/main" id="{A338DFBE-B8D2-246C-ECC8-EB2E5E334F1B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0" name="Rechteck 629">
              <a:extLst>
                <a:ext uri="{FF2B5EF4-FFF2-40B4-BE49-F238E27FC236}">
                  <a16:creationId xmlns:a16="http://schemas.microsoft.com/office/drawing/2014/main" id="{99F293DE-A724-B556-5E21-92619FB9FD00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1" name="Rechteck 630">
              <a:extLst>
                <a:ext uri="{FF2B5EF4-FFF2-40B4-BE49-F238E27FC236}">
                  <a16:creationId xmlns:a16="http://schemas.microsoft.com/office/drawing/2014/main" id="{4BCF2726-8D46-1713-588A-A3D35C52E9CC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2" name="Rechteck 631">
              <a:extLst>
                <a:ext uri="{FF2B5EF4-FFF2-40B4-BE49-F238E27FC236}">
                  <a16:creationId xmlns:a16="http://schemas.microsoft.com/office/drawing/2014/main" id="{DAC0B1BB-C91C-558A-66CB-2E538928B39E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3" name="Rechteck 632">
              <a:extLst>
                <a:ext uri="{FF2B5EF4-FFF2-40B4-BE49-F238E27FC236}">
                  <a16:creationId xmlns:a16="http://schemas.microsoft.com/office/drawing/2014/main" id="{77FDE7E0-CEC8-1F25-1D4C-8F58198FA001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4" name="Rechteck 633">
              <a:extLst>
                <a:ext uri="{FF2B5EF4-FFF2-40B4-BE49-F238E27FC236}">
                  <a16:creationId xmlns:a16="http://schemas.microsoft.com/office/drawing/2014/main" id="{6B281611-3BB3-CB29-26E5-D50148222554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5" name="Rechteck 634">
              <a:extLst>
                <a:ext uri="{FF2B5EF4-FFF2-40B4-BE49-F238E27FC236}">
                  <a16:creationId xmlns:a16="http://schemas.microsoft.com/office/drawing/2014/main" id="{11513A13-5E75-7B3B-BDC6-26B92B5D5FD6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6" name="Rechteck 635">
              <a:extLst>
                <a:ext uri="{FF2B5EF4-FFF2-40B4-BE49-F238E27FC236}">
                  <a16:creationId xmlns:a16="http://schemas.microsoft.com/office/drawing/2014/main" id="{F928DEC1-65AB-E394-791E-FFA903F72133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7" name="Rechteck 636">
              <a:extLst>
                <a:ext uri="{FF2B5EF4-FFF2-40B4-BE49-F238E27FC236}">
                  <a16:creationId xmlns:a16="http://schemas.microsoft.com/office/drawing/2014/main" id="{336D5CBE-B22E-02A8-A4A9-4B3CDF7967BC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8" name="Rechteck 637">
              <a:extLst>
                <a:ext uri="{FF2B5EF4-FFF2-40B4-BE49-F238E27FC236}">
                  <a16:creationId xmlns:a16="http://schemas.microsoft.com/office/drawing/2014/main" id="{6823A618-B994-2FC3-E05B-9BA7F17A0998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9" name="Rechteck 638">
              <a:extLst>
                <a:ext uri="{FF2B5EF4-FFF2-40B4-BE49-F238E27FC236}">
                  <a16:creationId xmlns:a16="http://schemas.microsoft.com/office/drawing/2014/main" id="{9DB16C51-CBBD-7F0C-3E7A-27AE755686A0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0" name="Rechteck 639">
              <a:extLst>
                <a:ext uri="{FF2B5EF4-FFF2-40B4-BE49-F238E27FC236}">
                  <a16:creationId xmlns:a16="http://schemas.microsoft.com/office/drawing/2014/main" id="{91C319E4-F989-F313-AF1F-234271E2CB00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1" name="Rechteck 640">
              <a:extLst>
                <a:ext uri="{FF2B5EF4-FFF2-40B4-BE49-F238E27FC236}">
                  <a16:creationId xmlns:a16="http://schemas.microsoft.com/office/drawing/2014/main" id="{B6CF5471-6AA6-2220-9AD8-32DA145EEA1A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2" name="Rechteck 641">
              <a:extLst>
                <a:ext uri="{FF2B5EF4-FFF2-40B4-BE49-F238E27FC236}">
                  <a16:creationId xmlns:a16="http://schemas.microsoft.com/office/drawing/2014/main" id="{360BB8EA-A213-24D2-9295-4B35545BD98B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3" name="Rechteck 642">
              <a:extLst>
                <a:ext uri="{FF2B5EF4-FFF2-40B4-BE49-F238E27FC236}">
                  <a16:creationId xmlns:a16="http://schemas.microsoft.com/office/drawing/2014/main" id="{0107F515-F42B-6CB4-CE2F-BACBC84BA667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4" name="Rechteck 643">
              <a:extLst>
                <a:ext uri="{FF2B5EF4-FFF2-40B4-BE49-F238E27FC236}">
                  <a16:creationId xmlns:a16="http://schemas.microsoft.com/office/drawing/2014/main" id="{D1AF8DDE-B7A6-6192-4F81-A966BF0B8A00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5" name="Rechteck 644">
              <a:extLst>
                <a:ext uri="{FF2B5EF4-FFF2-40B4-BE49-F238E27FC236}">
                  <a16:creationId xmlns:a16="http://schemas.microsoft.com/office/drawing/2014/main" id="{5E0D4F20-C387-FD53-F455-8F74117417F9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6" name="Rechteck 645">
              <a:extLst>
                <a:ext uri="{FF2B5EF4-FFF2-40B4-BE49-F238E27FC236}">
                  <a16:creationId xmlns:a16="http://schemas.microsoft.com/office/drawing/2014/main" id="{020B5B24-9F03-18F9-2509-1F5C3EC65CEE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7" name="Rechteck 646">
              <a:extLst>
                <a:ext uri="{FF2B5EF4-FFF2-40B4-BE49-F238E27FC236}">
                  <a16:creationId xmlns:a16="http://schemas.microsoft.com/office/drawing/2014/main" id="{3BA4B725-240D-5B43-6F01-4667E09EAF8D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8" name="Rechteck 647">
              <a:extLst>
                <a:ext uri="{FF2B5EF4-FFF2-40B4-BE49-F238E27FC236}">
                  <a16:creationId xmlns:a16="http://schemas.microsoft.com/office/drawing/2014/main" id="{E2FF6654-F1E7-06E4-1AD8-085A329E04DE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9" name="Rechteck 648">
              <a:extLst>
                <a:ext uri="{FF2B5EF4-FFF2-40B4-BE49-F238E27FC236}">
                  <a16:creationId xmlns:a16="http://schemas.microsoft.com/office/drawing/2014/main" id="{82133B50-1D32-7050-2F80-5D909C276375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0" name="Rechteck 649">
              <a:extLst>
                <a:ext uri="{FF2B5EF4-FFF2-40B4-BE49-F238E27FC236}">
                  <a16:creationId xmlns:a16="http://schemas.microsoft.com/office/drawing/2014/main" id="{70A0DDE9-B8F4-AA69-616F-51EAAB08276B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1" name="Rechteck 650">
              <a:extLst>
                <a:ext uri="{FF2B5EF4-FFF2-40B4-BE49-F238E27FC236}">
                  <a16:creationId xmlns:a16="http://schemas.microsoft.com/office/drawing/2014/main" id="{C4EAC9E5-6F9D-FBC5-B252-FC29FE9E817D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2" name="Rechteck 651">
              <a:extLst>
                <a:ext uri="{FF2B5EF4-FFF2-40B4-BE49-F238E27FC236}">
                  <a16:creationId xmlns:a16="http://schemas.microsoft.com/office/drawing/2014/main" id="{A66BC7BA-F255-7589-9361-D9BC2DB609C6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3" name="Rechteck 652">
              <a:extLst>
                <a:ext uri="{FF2B5EF4-FFF2-40B4-BE49-F238E27FC236}">
                  <a16:creationId xmlns:a16="http://schemas.microsoft.com/office/drawing/2014/main" id="{0DFCE5D3-205E-2CF7-8852-93CEDA3B0C17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4" name="Rechteck 653">
              <a:extLst>
                <a:ext uri="{FF2B5EF4-FFF2-40B4-BE49-F238E27FC236}">
                  <a16:creationId xmlns:a16="http://schemas.microsoft.com/office/drawing/2014/main" id="{31580928-310D-7AB6-BC53-9AC6DE998875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5" name="Rechteck 654">
              <a:extLst>
                <a:ext uri="{FF2B5EF4-FFF2-40B4-BE49-F238E27FC236}">
                  <a16:creationId xmlns:a16="http://schemas.microsoft.com/office/drawing/2014/main" id="{86F68DE8-164C-14DF-D626-6ECB62CC2DB6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6" name="Rechteck 655">
              <a:extLst>
                <a:ext uri="{FF2B5EF4-FFF2-40B4-BE49-F238E27FC236}">
                  <a16:creationId xmlns:a16="http://schemas.microsoft.com/office/drawing/2014/main" id="{1E07F87B-53DF-A193-F008-E87D65518510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7" name="Rechteck 656">
              <a:extLst>
                <a:ext uri="{FF2B5EF4-FFF2-40B4-BE49-F238E27FC236}">
                  <a16:creationId xmlns:a16="http://schemas.microsoft.com/office/drawing/2014/main" id="{86FC2FAD-DA5B-12F6-402E-B95EF5DC03D6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8" name="Rechteck 657">
              <a:extLst>
                <a:ext uri="{FF2B5EF4-FFF2-40B4-BE49-F238E27FC236}">
                  <a16:creationId xmlns:a16="http://schemas.microsoft.com/office/drawing/2014/main" id="{D4920186-AAAB-417C-4537-C749DEE82BDD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9" name="Rechteck 658">
              <a:extLst>
                <a:ext uri="{FF2B5EF4-FFF2-40B4-BE49-F238E27FC236}">
                  <a16:creationId xmlns:a16="http://schemas.microsoft.com/office/drawing/2014/main" id="{53FA9CE7-B121-0B55-00DB-2895275EEEE8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0" name="Rechteck 659">
              <a:extLst>
                <a:ext uri="{FF2B5EF4-FFF2-40B4-BE49-F238E27FC236}">
                  <a16:creationId xmlns:a16="http://schemas.microsoft.com/office/drawing/2014/main" id="{11B2E5FF-E1AE-68CD-5218-68B1F15E0BF3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1" name="Rechteck 660">
              <a:extLst>
                <a:ext uri="{FF2B5EF4-FFF2-40B4-BE49-F238E27FC236}">
                  <a16:creationId xmlns:a16="http://schemas.microsoft.com/office/drawing/2014/main" id="{D9AD1849-296D-E0A7-487E-07FE7FDF7493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2" name="Rechteck 661">
              <a:extLst>
                <a:ext uri="{FF2B5EF4-FFF2-40B4-BE49-F238E27FC236}">
                  <a16:creationId xmlns:a16="http://schemas.microsoft.com/office/drawing/2014/main" id="{0A6752C7-6DB3-4D18-D7D2-66289B01BE63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3" name="Rechteck 662">
              <a:extLst>
                <a:ext uri="{FF2B5EF4-FFF2-40B4-BE49-F238E27FC236}">
                  <a16:creationId xmlns:a16="http://schemas.microsoft.com/office/drawing/2014/main" id="{9FFB3DE6-56C8-6F18-F0E3-D0AE7E4C8347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4" name="Rechteck 663">
              <a:extLst>
                <a:ext uri="{FF2B5EF4-FFF2-40B4-BE49-F238E27FC236}">
                  <a16:creationId xmlns:a16="http://schemas.microsoft.com/office/drawing/2014/main" id="{89E6FBB0-5FAD-742D-5F6C-12FA3B7791F6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5" name="Rechteck 664">
              <a:extLst>
                <a:ext uri="{FF2B5EF4-FFF2-40B4-BE49-F238E27FC236}">
                  <a16:creationId xmlns:a16="http://schemas.microsoft.com/office/drawing/2014/main" id="{37A635AE-EA11-4297-08BB-A101CB8E6071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6" name="Rechteck 665">
              <a:extLst>
                <a:ext uri="{FF2B5EF4-FFF2-40B4-BE49-F238E27FC236}">
                  <a16:creationId xmlns:a16="http://schemas.microsoft.com/office/drawing/2014/main" id="{616538E1-019A-0D9F-3CD1-A09C3DD64290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7" name="Rechteck 666">
              <a:extLst>
                <a:ext uri="{FF2B5EF4-FFF2-40B4-BE49-F238E27FC236}">
                  <a16:creationId xmlns:a16="http://schemas.microsoft.com/office/drawing/2014/main" id="{07FDAEFE-B8D0-BC09-C254-D7A45A8BC753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8" name="Rechteck 667">
              <a:extLst>
                <a:ext uri="{FF2B5EF4-FFF2-40B4-BE49-F238E27FC236}">
                  <a16:creationId xmlns:a16="http://schemas.microsoft.com/office/drawing/2014/main" id="{B2BDAECE-8001-EF08-D7CE-79D7FEE1869A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9" name="Rechteck 668">
              <a:extLst>
                <a:ext uri="{FF2B5EF4-FFF2-40B4-BE49-F238E27FC236}">
                  <a16:creationId xmlns:a16="http://schemas.microsoft.com/office/drawing/2014/main" id="{3EFF9387-8864-3D4A-B562-643A945517B8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0" name="Rechteck 669">
              <a:extLst>
                <a:ext uri="{FF2B5EF4-FFF2-40B4-BE49-F238E27FC236}">
                  <a16:creationId xmlns:a16="http://schemas.microsoft.com/office/drawing/2014/main" id="{D4077574-DA94-1A56-4713-2EF06A6BD1A8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1" name="Rechteck 670">
              <a:extLst>
                <a:ext uri="{FF2B5EF4-FFF2-40B4-BE49-F238E27FC236}">
                  <a16:creationId xmlns:a16="http://schemas.microsoft.com/office/drawing/2014/main" id="{1D89CEE5-9335-A40C-B475-0AE68B6275B4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2" name="Rechteck 671">
              <a:extLst>
                <a:ext uri="{FF2B5EF4-FFF2-40B4-BE49-F238E27FC236}">
                  <a16:creationId xmlns:a16="http://schemas.microsoft.com/office/drawing/2014/main" id="{DBB4D345-AAFF-F80F-63A6-2FD973B1FCB8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3" name="Rechteck 672">
              <a:extLst>
                <a:ext uri="{FF2B5EF4-FFF2-40B4-BE49-F238E27FC236}">
                  <a16:creationId xmlns:a16="http://schemas.microsoft.com/office/drawing/2014/main" id="{9E90AF2A-59A7-C012-03B3-742F809FB9E0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4" name="Rechteck 673">
              <a:extLst>
                <a:ext uri="{FF2B5EF4-FFF2-40B4-BE49-F238E27FC236}">
                  <a16:creationId xmlns:a16="http://schemas.microsoft.com/office/drawing/2014/main" id="{05CFA639-FE6D-70A4-B3F9-CAC9D0D18FDA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5" name="Rechteck 674">
              <a:extLst>
                <a:ext uri="{FF2B5EF4-FFF2-40B4-BE49-F238E27FC236}">
                  <a16:creationId xmlns:a16="http://schemas.microsoft.com/office/drawing/2014/main" id="{32D17BCA-1AA8-A189-26D5-8919CF1688B4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6" name="Rechteck 675">
              <a:extLst>
                <a:ext uri="{FF2B5EF4-FFF2-40B4-BE49-F238E27FC236}">
                  <a16:creationId xmlns:a16="http://schemas.microsoft.com/office/drawing/2014/main" id="{F7B4DF37-6735-890C-49B4-B1743651B73F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7" name="Rechteck 676">
              <a:extLst>
                <a:ext uri="{FF2B5EF4-FFF2-40B4-BE49-F238E27FC236}">
                  <a16:creationId xmlns:a16="http://schemas.microsoft.com/office/drawing/2014/main" id="{12533E74-686C-8858-166A-770B56C57BBE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8" name="Rechteck 677">
              <a:extLst>
                <a:ext uri="{FF2B5EF4-FFF2-40B4-BE49-F238E27FC236}">
                  <a16:creationId xmlns:a16="http://schemas.microsoft.com/office/drawing/2014/main" id="{A35E20E7-96C6-BA25-6AFB-9E6F5241823D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9" name="Rechteck 678">
              <a:extLst>
                <a:ext uri="{FF2B5EF4-FFF2-40B4-BE49-F238E27FC236}">
                  <a16:creationId xmlns:a16="http://schemas.microsoft.com/office/drawing/2014/main" id="{39E577DB-4442-CDBF-D70E-1818BFF27726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0" name="Rechteck 679">
              <a:extLst>
                <a:ext uri="{FF2B5EF4-FFF2-40B4-BE49-F238E27FC236}">
                  <a16:creationId xmlns:a16="http://schemas.microsoft.com/office/drawing/2014/main" id="{D3D22DAB-FE69-9EEC-9891-CA326E8E9894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1" name="Rechteck 680">
              <a:extLst>
                <a:ext uri="{FF2B5EF4-FFF2-40B4-BE49-F238E27FC236}">
                  <a16:creationId xmlns:a16="http://schemas.microsoft.com/office/drawing/2014/main" id="{CB8AA2EA-71FE-9F95-5241-2DC215CF64CB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2" name="Rechteck 681">
              <a:extLst>
                <a:ext uri="{FF2B5EF4-FFF2-40B4-BE49-F238E27FC236}">
                  <a16:creationId xmlns:a16="http://schemas.microsoft.com/office/drawing/2014/main" id="{252B8668-AAA3-D58E-F887-0C447FC18E70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3" name="Rechteck 682">
              <a:extLst>
                <a:ext uri="{FF2B5EF4-FFF2-40B4-BE49-F238E27FC236}">
                  <a16:creationId xmlns:a16="http://schemas.microsoft.com/office/drawing/2014/main" id="{A37AED50-FE45-9AA4-F1DA-1BA49D87C44A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4" name="Rechteck 683">
              <a:extLst>
                <a:ext uri="{FF2B5EF4-FFF2-40B4-BE49-F238E27FC236}">
                  <a16:creationId xmlns:a16="http://schemas.microsoft.com/office/drawing/2014/main" id="{F6829962-D826-3498-390D-46DB96471D93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5" name="Rechteck 684">
              <a:extLst>
                <a:ext uri="{FF2B5EF4-FFF2-40B4-BE49-F238E27FC236}">
                  <a16:creationId xmlns:a16="http://schemas.microsoft.com/office/drawing/2014/main" id="{99487504-22AD-12C1-6A17-FBF9E4174CF9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6" name="Rechteck 685">
              <a:extLst>
                <a:ext uri="{FF2B5EF4-FFF2-40B4-BE49-F238E27FC236}">
                  <a16:creationId xmlns:a16="http://schemas.microsoft.com/office/drawing/2014/main" id="{9C0FA537-D4EF-E72B-C98C-2352967BD268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7" name="Rechteck 686">
              <a:extLst>
                <a:ext uri="{FF2B5EF4-FFF2-40B4-BE49-F238E27FC236}">
                  <a16:creationId xmlns:a16="http://schemas.microsoft.com/office/drawing/2014/main" id="{EAC1D7B7-B0EF-CFAD-ABD9-290070F70295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8" name="Rechteck 687">
              <a:extLst>
                <a:ext uri="{FF2B5EF4-FFF2-40B4-BE49-F238E27FC236}">
                  <a16:creationId xmlns:a16="http://schemas.microsoft.com/office/drawing/2014/main" id="{F660DBD6-28E2-1325-91C6-13FA527D795C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9" name="Rechteck 688">
              <a:extLst>
                <a:ext uri="{FF2B5EF4-FFF2-40B4-BE49-F238E27FC236}">
                  <a16:creationId xmlns:a16="http://schemas.microsoft.com/office/drawing/2014/main" id="{664F34AB-C49C-2146-8070-5504D447A2AB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0" name="Rechteck 689">
              <a:extLst>
                <a:ext uri="{FF2B5EF4-FFF2-40B4-BE49-F238E27FC236}">
                  <a16:creationId xmlns:a16="http://schemas.microsoft.com/office/drawing/2014/main" id="{DF00BE36-7599-09D8-6A4F-CDB665595734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1" name="Rechteck 690">
              <a:extLst>
                <a:ext uri="{FF2B5EF4-FFF2-40B4-BE49-F238E27FC236}">
                  <a16:creationId xmlns:a16="http://schemas.microsoft.com/office/drawing/2014/main" id="{25904FA7-C9E6-5F12-A5F2-F5065000BDED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2" name="Rechteck 691">
              <a:extLst>
                <a:ext uri="{FF2B5EF4-FFF2-40B4-BE49-F238E27FC236}">
                  <a16:creationId xmlns:a16="http://schemas.microsoft.com/office/drawing/2014/main" id="{604DA939-8F47-74BB-7739-AB0DCE86DB45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3" name="Rechteck 692">
              <a:extLst>
                <a:ext uri="{FF2B5EF4-FFF2-40B4-BE49-F238E27FC236}">
                  <a16:creationId xmlns:a16="http://schemas.microsoft.com/office/drawing/2014/main" id="{7E0577B9-EF5D-61E5-9A9E-959692E1BAF6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4" name="Rechteck 693">
              <a:extLst>
                <a:ext uri="{FF2B5EF4-FFF2-40B4-BE49-F238E27FC236}">
                  <a16:creationId xmlns:a16="http://schemas.microsoft.com/office/drawing/2014/main" id="{45F38381-7746-6A70-9CFC-24485672E665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5" name="Rechteck 694">
              <a:extLst>
                <a:ext uri="{FF2B5EF4-FFF2-40B4-BE49-F238E27FC236}">
                  <a16:creationId xmlns:a16="http://schemas.microsoft.com/office/drawing/2014/main" id="{F824B87C-5508-B00D-0D74-4B75422E6CCF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6" name="Rechteck 695">
              <a:extLst>
                <a:ext uri="{FF2B5EF4-FFF2-40B4-BE49-F238E27FC236}">
                  <a16:creationId xmlns:a16="http://schemas.microsoft.com/office/drawing/2014/main" id="{B01E256F-DB89-A1BE-C1B1-0995D9B5DBFE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7" name="Rechteck 696">
              <a:extLst>
                <a:ext uri="{FF2B5EF4-FFF2-40B4-BE49-F238E27FC236}">
                  <a16:creationId xmlns:a16="http://schemas.microsoft.com/office/drawing/2014/main" id="{1C229A02-FB64-D862-D4BD-C775E53EE32E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8" name="Rechteck 697">
              <a:extLst>
                <a:ext uri="{FF2B5EF4-FFF2-40B4-BE49-F238E27FC236}">
                  <a16:creationId xmlns:a16="http://schemas.microsoft.com/office/drawing/2014/main" id="{4A22DAA2-6893-C05C-88CC-61AE7A61220A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9" name="Rechteck 698">
              <a:extLst>
                <a:ext uri="{FF2B5EF4-FFF2-40B4-BE49-F238E27FC236}">
                  <a16:creationId xmlns:a16="http://schemas.microsoft.com/office/drawing/2014/main" id="{199D64ED-A9B7-CFE3-52DE-3FD7E4E14C2E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0" name="Rechteck 699">
              <a:extLst>
                <a:ext uri="{FF2B5EF4-FFF2-40B4-BE49-F238E27FC236}">
                  <a16:creationId xmlns:a16="http://schemas.microsoft.com/office/drawing/2014/main" id="{16F73DDD-02CC-BEF4-EB9F-380EB21C98C8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1" name="Rechteck 700">
              <a:extLst>
                <a:ext uri="{FF2B5EF4-FFF2-40B4-BE49-F238E27FC236}">
                  <a16:creationId xmlns:a16="http://schemas.microsoft.com/office/drawing/2014/main" id="{318C98A4-87DC-0A06-B8BB-76FB5BE9F5FB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2" name="Rechteck 701">
              <a:extLst>
                <a:ext uri="{FF2B5EF4-FFF2-40B4-BE49-F238E27FC236}">
                  <a16:creationId xmlns:a16="http://schemas.microsoft.com/office/drawing/2014/main" id="{E81C4BAE-2400-AB0F-A784-850CA8977087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3" name="Rechteck 702">
              <a:extLst>
                <a:ext uri="{FF2B5EF4-FFF2-40B4-BE49-F238E27FC236}">
                  <a16:creationId xmlns:a16="http://schemas.microsoft.com/office/drawing/2014/main" id="{A8B957F1-53A9-1BB3-B701-410ED70472D0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4" name="Rechteck 703">
              <a:extLst>
                <a:ext uri="{FF2B5EF4-FFF2-40B4-BE49-F238E27FC236}">
                  <a16:creationId xmlns:a16="http://schemas.microsoft.com/office/drawing/2014/main" id="{D3772136-A7EC-45DF-46B7-2B7CE07FA8E8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5" name="Rechteck 704">
              <a:extLst>
                <a:ext uri="{FF2B5EF4-FFF2-40B4-BE49-F238E27FC236}">
                  <a16:creationId xmlns:a16="http://schemas.microsoft.com/office/drawing/2014/main" id="{CB41D1A6-DC98-E684-1BA7-8E11AD099A59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6" name="Rechteck 705">
              <a:extLst>
                <a:ext uri="{FF2B5EF4-FFF2-40B4-BE49-F238E27FC236}">
                  <a16:creationId xmlns:a16="http://schemas.microsoft.com/office/drawing/2014/main" id="{ADDAD27F-0730-AF84-3E24-0D2531926AD6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7" name="Rechteck 706">
              <a:extLst>
                <a:ext uri="{FF2B5EF4-FFF2-40B4-BE49-F238E27FC236}">
                  <a16:creationId xmlns:a16="http://schemas.microsoft.com/office/drawing/2014/main" id="{2C5741E8-DFCE-5AA2-03BB-B4B5DF6BE134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8" name="Rechteck 707">
              <a:extLst>
                <a:ext uri="{FF2B5EF4-FFF2-40B4-BE49-F238E27FC236}">
                  <a16:creationId xmlns:a16="http://schemas.microsoft.com/office/drawing/2014/main" id="{0327C283-F55E-A138-C385-448FA20BFA7A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9" name="Rechteck 708">
              <a:extLst>
                <a:ext uri="{FF2B5EF4-FFF2-40B4-BE49-F238E27FC236}">
                  <a16:creationId xmlns:a16="http://schemas.microsoft.com/office/drawing/2014/main" id="{EF9D85E3-D8C5-0A31-AE8B-717BE2A84F3C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0" name="Rechteck 709">
              <a:extLst>
                <a:ext uri="{FF2B5EF4-FFF2-40B4-BE49-F238E27FC236}">
                  <a16:creationId xmlns:a16="http://schemas.microsoft.com/office/drawing/2014/main" id="{C9B45B9A-8516-5737-E398-0496B57517FF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1" name="Rechteck 710">
              <a:extLst>
                <a:ext uri="{FF2B5EF4-FFF2-40B4-BE49-F238E27FC236}">
                  <a16:creationId xmlns:a16="http://schemas.microsoft.com/office/drawing/2014/main" id="{0A5791E4-EAF2-A059-DB14-E3BD4C03E4D9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2" name="Rechteck 711">
              <a:extLst>
                <a:ext uri="{FF2B5EF4-FFF2-40B4-BE49-F238E27FC236}">
                  <a16:creationId xmlns:a16="http://schemas.microsoft.com/office/drawing/2014/main" id="{3FA5FCC9-1E3E-370B-6066-F64C9632B27B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3" name="Rechteck 712">
              <a:extLst>
                <a:ext uri="{FF2B5EF4-FFF2-40B4-BE49-F238E27FC236}">
                  <a16:creationId xmlns:a16="http://schemas.microsoft.com/office/drawing/2014/main" id="{2F401C49-E938-6C10-B79C-4EEC3F3E6F9E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4" name="Rechteck 713">
              <a:extLst>
                <a:ext uri="{FF2B5EF4-FFF2-40B4-BE49-F238E27FC236}">
                  <a16:creationId xmlns:a16="http://schemas.microsoft.com/office/drawing/2014/main" id="{C4B47438-03B6-134F-BF04-F36C0442D456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5" name="Rechteck 714">
              <a:extLst>
                <a:ext uri="{FF2B5EF4-FFF2-40B4-BE49-F238E27FC236}">
                  <a16:creationId xmlns:a16="http://schemas.microsoft.com/office/drawing/2014/main" id="{11226458-B83D-BB4B-EDBF-3976CF5C9CCF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6" name="Rechteck 715">
              <a:extLst>
                <a:ext uri="{FF2B5EF4-FFF2-40B4-BE49-F238E27FC236}">
                  <a16:creationId xmlns:a16="http://schemas.microsoft.com/office/drawing/2014/main" id="{D890A979-155E-837B-3A67-8A1A12F792F8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7" name="Rechteck 716">
              <a:extLst>
                <a:ext uri="{FF2B5EF4-FFF2-40B4-BE49-F238E27FC236}">
                  <a16:creationId xmlns:a16="http://schemas.microsoft.com/office/drawing/2014/main" id="{DED1B205-AA64-C926-5A26-0D0B849C3479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8" name="Rechteck 717">
              <a:extLst>
                <a:ext uri="{FF2B5EF4-FFF2-40B4-BE49-F238E27FC236}">
                  <a16:creationId xmlns:a16="http://schemas.microsoft.com/office/drawing/2014/main" id="{EF676756-AD47-B8CA-C8FC-982901F20ED3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9" name="Rechteck 718">
              <a:extLst>
                <a:ext uri="{FF2B5EF4-FFF2-40B4-BE49-F238E27FC236}">
                  <a16:creationId xmlns:a16="http://schemas.microsoft.com/office/drawing/2014/main" id="{6E7BDB7B-F745-556B-4FB0-8B752B068453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0" name="Rechteck 719">
              <a:extLst>
                <a:ext uri="{FF2B5EF4-FFF2-40B4-BE49-F238E27FC236}">
                  <a16:creationId xmlns:a16="http://schemas.microsoft.com/office/drawing/2014/main" id="{3AA543CD-2D32-BBB9-5E0F-CF4D92846D14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1" name="Rechteck 720">
              <a:extLst>
                <a:ext uri="{FF2B5EF4-FFF2-40B4-BE49-F238E27FC236}">
                  <a16:creationId xmlns:a16="http://schemas.microsoft.com/office/drawing/2014/main" id="{86FC05A7-F521-9007-C1EE-D278EBF44A3B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2" name="Rechteck 721">
              <a:extLst>
                <a:ext uri="{FF2B5EF4-FFF2-40B4-BE49-F238E27FC236}">
                  <a16:creationId xmlns:a16="http://schemas.microsoft.com/office/drawing/2014/main" id="{2E5B1F63-B603-C084-652A-F56D9E365B52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3" name="Rechteck 722">
              <a:extLst>
                <a:ext uri="{FF2B5EF4-FFF2-40B4-BE49-F238E27FC236}">
                  <a16:creationId xmlns:a16="http://schemas.microsoft.com/office/drawing/2014/main" id="{1F12D622-226E-A6E4-B5E1-400DAADA2BE1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4" name="Rechteck 723">
              <a:extLst>
                <a:ext uri="{FF2B5EF4-FFF2-40B4-BE49-F238E27FC236}">
                  <a16:creationId xmlns:a16="http://schemas.microsoft.com/office/drawing/2014/main" id="{A9B30E95-9E23-2597-F975-C2A5DB8C79E5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5" name="Rechteck 724">
              <a:extLst>
                <a:ext uri="{FF2B5EF4-FFF2-40B4-BE49-F238E27FC236}">
                  <a16:creationId xmlns:a16="http://schemas.microsoft.com/office/drawing/2014/main" id="{92348C7E-F56E-069C-BF83-C56849ACD8C5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6" name="Rechteck 725">
              <a:extLst>
                <a:ext uri="{FF2B5EF4-FFF2-40B4-BE49-F238E27FC236}">
                  <a16:creationId xmlns:a16="http://schemas.microsoft.com/office/drawing/2014/main" id="{2243E131-E5F5-2C77-3552-BDCEC6C284C7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7" name="Rechteck 726">
              <a:extLst>
                <a:ext uri="{FF2B5EF4-FFF2-40B4-BE49-F238E27FC236}">
                  <a16:creationId xmlns:a16="http://schemas.microsoft.com/office/drawing/2014/main" id="{2044B5B1-3328-4E14-0681-B646CFA59789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8" name="Rechteck 727">
              <a:extLst>
                <a:ext uri="{FF2B5EF4-FFF2-40B4-BE49-F238E27FC236}">
                  <a16:creationId xmlns:a16="http://schemas.microsoft.com/office/drawing/2014/main" id="{EEB30FA6-51E0-3C56-D7D5-CEDD5EB7DBA1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9" name="Rechteck 728">
              <a:extLst>
                <a:ext uri="{FF2B5EF4-FFF2-40B4-BE49-F238E27FC236}">
                  <a16:creationId xmlns:a16="http://schemas.microsoft.com/office/drawing/2014/main" id="{8B0BF30B-92F0-7281-6301-326DCDEBB3A7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0" name="Rechteck 729">
              <a:extLst>
                <a:ext uri="{FF2B5EF4-FFF2-40B4-BE49-F238E27FC236}">
                  <a16:creationId xmlns:a16="http://schemas.microsoft.com/office/drawing/2014/main" id="{531BC76A-D428-F100-29E2-007E03484F08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1" name="Rechteck 730">
              <a:extLst>
                <a:ext uri="{FF2B5EF4-FFF2-40B4-BE49-F238E27FC236}">
                  <a16:creationId xmlns:a16="http://schemas.microsoft.com/office/drawing/2014/main" id="{7BC37D18-D22F-36E5-BAFF-170B01AF2A29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2" name="Rechteck 731">
              <a:extLst>
                <a:ext uri="{FF2B5EF4-FFF2-40B4-BE49-F238E27FC236}">
                  <a16:creationId xmlns:a16="http://schemas.microsoft.com/office/drawing/2014/main" id="{97C2E91B-D657-3D5D-E5AC-ABF06C450131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3" name="Rechteck 732">
              <a:extLst>
                <a:ext uri="{FF2B5EF4-FFF2-40B4-BE49-F238E27FC236}">
                  <a16:creationId xmlns:a16="http://schemas.microsoft.com/office/drawing/2014/main" id="{A7E1A254-0008-775A-386C-25226390A3B0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4" name="Rechteck 733">
              <a:extLst>
                <a:ext uri="{FF2B5EF4-FFF2-40B4-BE49-F238E27FC236}">
                  <a16:creationId xmlns:a16="http://schemas.microsoft.com/office/drawing/2014/main" id="{161889EE-2694-64FC-3D60-2714BC468C31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5" name="Rechteck 734">
              <a:extLst>
                <a:ext uri="{FF2B5EF4-FFF2-40B4-BE49-F238E27FC236}">
                  <a16:creationId xmlns:a16="http://schemas.microsoft.com/office/drawing/2014/main" id="{E96585F9-309D-C689-3DB6-CD226C2AB332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6" name="Rechteck 735">
              <a:extLst>
                <a:ext uri="{FF2B5EF4-FFF2-40B4-BE49-F238E27FC236}">
                  <a16:creationId xmlns:a16="http://schemas.microsoft.com/office/drawing/2014/main" id="{31C3ED65-CCE8-4D90-C7F0-06A1A3EA516E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7" name="Rechteck 736">
              <a:extLst>
                <a:ext uri="{FF2B5EF4-FFF2-40B4-BE49-F238E27FC236}">
                  <a16:creationId xmlns:a16="http://schemas.microsoft.com/office/drawing/2014/main" id="{EEDFF27D-3F83-A6B0-FB71-EA03BBF8F049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8" name="Rechteck 737">
              <a:extLst>
                <a:ext uri="{FF2B5EF4-FFF2-40B4-BE49-F238E27FC236}">
                  <a16:creationId xmlns:a16="http://schemas.microsoft.com/office/drawing/2014/main" id="{254FB42C-BB99-3C52-042F-06801D3A516C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9" name="Rechteck 738">
              <a:extLst>
                <a:ext uri="{FF2B5EF4-FFF2-40B4-BE49-F238E27FC236}">
                  <a16:creationId xmlns:a16="http://schemas.microsoft.com/office/drawing/2014/main" id="{4F3FD685-8FF4-D9DA-D75B-2BB488D8E55B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0" name="Rechteck 739">
              <a:extLst>
                <a:ext uri="{FF2B5EF4-FFF2-40B4-BE49-F238E27FC236}">
                  <a16:creationId xmlns:a16="http://schemas.microsoft.com/office/drawing/2014/main" id="{FEA3B63C-CAC6-47A8-FA46-B056D46415F8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1" name="Rechteck 740">
              <a:extLst>
                <a:ext uri="{FF2B5EF4-FFF2-40B4-BE49-F238E27FC236}">
                  <a16:creationId xmlns:a16="http://schemas.microsoft.com/office/drawing/2014/main" id="{9ECCDD9A-B950-1C4C-213B-900CEBCECD0F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2" name="Rechteck 741">
              <a:extLst>
                <a:ext uri="{FF2B5EF4-FFF2-40B4-BE49-F238E27FC236}">
                  <a16:creationId xmlns:a16="http://schemas.microsoft.com/office/drawing/2014/main" id="{A5BA7FD3-CD3B-7C4D-49B2-D589564CE4B6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3" name="Rechteck 742">
              <a:extLst>
                <a:ext uri="{FF2B5EF4-FFF2-40B4-BE49-F238E27FC236}">
                  <a16:creationId xmlns:a16="http://schemas.microsoft.com/office/drawing/2014/main" id="{F7B982C4-8787-A6CA-F374-0CE3612E49DF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4" name="Rechteck 743">
              <a:extLst>
                <a:ext uri="{FF2B5EF4-FFF2-40B4-BE49-F238E27FC236}">
                  <a16:creationId xmlns:a16="http://schemas.microsoft.com/office/drawing/2014/main" id="{89B2B55C-001C-1108-E3DE-620C165EE8B6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5" name="Rechteck 744">
              <a:extLst>
                <a:ext uri="{FF2B5EF4-FFF2-40B4-BE49-F238E27FC236}">
                  <a16:creationId xmlns:a16="http://schemas.microsoft.com/office/drawing/2014/main" id="{30B065EE-E23F-9E96-CDE1-E229ED0404DE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6" name="Rechteck 745">
              <a:extLst>
                <a:ext uri="{FF2B5EF4-FFF2-40B4-BE49-F238E27FC236}">
                  <a16:creationId xmlns:a16="http://schemas.microsoft.com/office/drawing/2014/main" id="{6FDE1D93-61FB-A361-36D2-1483E5DDEA98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7" name="Rechteck 746">
              <a:extLst>
                <a:ext uri="{FF2B5EF4-FFF2-40B4-BE49-F238E27FC236}">
                  <a16:creationId xmlns:a16="http://schemas.microsoft.com/office/drawing/2014/main" id="{8651CDD3-8BA3-8E08-E53A-85BCB00F49E4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8" name="Rechteck 747">
              <a:extLst>
                <a:ext uri="{FF2B5EF4-FFF2-40B4-BE49-F238E27FC236}">
                  <a16:creationId xmlns:a16="http://schemas.microsoft.com/office/drawing/2014/main" id="{B07949A8-E6D2-FB7F-1786-11517CCC0436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9" name="Rechteck 748">
              <a:extLst>
                <a:ext uri="{FF2B5EF4-FFF2-40B4-BE49-F238E27FC236}">
                  <a16:creationId xmlns:a16="http://schemas.microsoft.com/office/drawing/2014/main" id="{C5EEC1E2-E469-219D-A799-B44E95685D98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0" name="Rechteck 749">
              <a:extLst>
                <a:ext uri="{FF2B5EF4-FFF2-40B4-BE49-F238E27FC236}">
                  <a16:creationId xmlns:a16="http://schemas.microsoft.com/office/drawing/2014/main" id="{AEE93A85-8387-5AA4-CBA5-1442062F0DFE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1" name="Rechteck 750">
              <a:extLst>
                <a:ext uri="{FF2B5EF4-FFF2-40B4-BE49-F238E27FC236}">
                  <a16:creationId xmlns:a16="http://schemas.microsoft.com/office/drawing/2014/main" id="{27C88903-6CCD-D221-4A5C-B9E537938E27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2" name="Rechteck 751">
              <a:extLst>
                <a:ext uri="{FF2B5EF4-FFF2-40B4-BE49-F238E27FC236}">
                  <a16:creationId xmlns:a16="http://schemas.microsoft.com/office/drawing/2014/main" id="{44447B62-11E0-4F17-23C6-67BFD620000E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3" name="Rechteck 752">
              <a:extLst>
                <a:ext uri="{FF2B5EF4-FFF2-40B4-BE49-F238E27FC236}">
                  <a16:creationId xmlns:a16="http://schemas.microsoft.com/office/drawing/2014/main" id="{4844947F-0FCF-2041-8A4B-EC46589C4E54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4" name="Rechteck 753">
              <a:extLst>
                <a:ext uri="{FF2B5EF4-FFF2-40B4-BE49-F238E27FC236}">
                  <a16:creationId xmlns:a16="http://schemas.microsoft.com/office/drawing/2014/main" id="{272D6BCE-DFCC-FB7B-66AC-0E115DFBB970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5" name="Rechteck 754">
              <a:extLst>
                <a:ext uri="{FF2B5EF4-FFF2-40B4-BE49-F238E27FC236}">
                  <a16:creationId xmlns:a16="http://schemas.microsoft.com/office/drawing/2014/main" id="{2E5CC815-35D3-1633-D820-C6C661B41C36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6" name="Rechteck 755">
              <a:extLst>
                <a:ext uri="{FF2B5EF4-FFF2-40B4-BE49-F238E27FC236}">
                  <a16:creationId xmlns:a16="http://schemas.microsoft.com/office/drawing/2014/main" id="{D9F4C9CF-4104-B687-B0B3-D59617D3A7CD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7" name="Rechteck 756">
              <a:extLst>
                <a:ext uri="{FF2B5EF4-FFF2-40B4-BE49-F238E27FC236}">
                  <a16:creationId xmlns:a16="http://schemas.microsoft.com/office/drawing/2014/main" id="{91228AA7-5A72-DD2A-21C9-D86929E70E5D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8" name="Rechteck 757">
              <a:extLst>
                <a:ext uri="{FF2B5EF4-FFF2-40B4-BE49-F238E27FC236}">
                  <a16:creationId xmlns:a16="http://schemas.microsoft.com/office/drawing/2014/main" id="{457428C6-6A08-9FC8-FF89-C62B85C6E497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9" name="Rechteck 758">
              <a:extLst>
                <a:ext uri="{FF2B5EF4-FFF2-40B4-BE49-F238E27FC236}">
                  <a16:creationId xmlns:a16="http://schemas.microsoft.com/office/drawing/2014/main" id="{E194365B-FDC7-4870-2165-D9F402D49E4A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0" name="Rechteck 759">
              <a:extLst>
                <a:ext uri="{FF2B5EF4-FFF2-40B4-BE49-F238E27FC236}">
                  <a16:creationId xmlns:a16="http://schemas.microsoft.com/office/drawing/2014/main" id="{46B7417B-D978-6F2D-C411-17B3EF9585E5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1" name="Rechteck 760">
              <a:extLst>
                <a:ext uri="{FF2B5EF4-FFF2-40B4-BE49-F238E27FC236}">
                  <a16:creationId xmlns:a16="http://schemas.microsoft.com/office/drawing/2014/main" id="{218F660E-E33C-81CA-9AFE-8860A919BF9A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2" name="Rechteck 761">
              <a:extLst>
                <a:ext uri="{FF2B5EF4-FFF2-40B4-BE49-F238E27FC236}">
                  <a16:creationId xmlns:a16="http://schemas.microsoft.com/office/drawing/2014/main" id="{98718A75-8D58-4BA3-9180-BDBD8A01F26F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3" name="Rechteck 762">
              <a:extLst>
                <a:ext uri="{FF2B5EF4-FFF2-40B4-BE49-F238E27FC236}">
                  <a16:creationId xmlns:a16="http://schemas.microsoft.com/office/drawing/2014/main" id="{82B8C85C-9C95-CD18-43B5-BC16E1B2D0C0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4" name="Rechteck 763">
              <a:extLst>
                <a:ext uri="{FF2B5EF4-FFF2-40B4-BE49-F238E27FC236}">
                  <a16:creationId xmlns:a16="http://schemas.microsoft.com/office/drawing/2014/main" id="{A0D5DEE6-7641-7BFC-BE8B-F8FFC9D19153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5" name="Rechteck 764">
              <a:extLst>
                <a:ext uri="{FF2B5EF4-FFF2-40B4-BE49-F238E27FC236}">
                  <a16:creationId xmlns:a16="http://schemas.microsoft.com/office/drawing/2014/main" id="{FF66C22A-9971-3BF9-A8FC-FB015A13760D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6" name="Rechteck 765">
              <a:extLst>
                <a:ext uri="{FF2B5EF4-FFF2-40B4-BE49-F238E27FC236}">
                  <a16:creationId xmlns:a16="http://schemas.microsoft.com/office/drawing/2014/main" id="{0C1C2EAF-83ED-A613-D12E-EE3B6B6A1CA0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7" name="Rechteck 766">
              <a:extLst>
                <a:ext uri="{FF2B5EF4-FFF2-40B4-BE49-F238E27FC236}">
                  <a16:creationId xmlns:a16="http://schemas.microsoft.com/office/drawing/2014/main" id="{D4A58602-3836-52B7-69F3-FF50FB72ACAB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8" name="Rechteck 767">
              <a:extLst>
                <a:ext uri="{FF2B5EF4-FFF2-40B4-BE49-F238E27FC236}">
                  <a16:creationId xmlns:a16="http://schemas.microsoft.com/office/drawing/2014/main" id="{04A8FA80-38AF-5082-8475-AB95EB51985B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9" name="Rechteck 768">
              <a:extLst>
                <a:ext uri="{FF2B5EF4-FFF2-40B4-BE49-F238E27FC236}">
                  <a16:creationId xmlns:a16="http://schemas.microsoft.com/office/drawing/2014/main" id="{67EBF1C8-A111-8103-8D0A-6E86EBF0EBB1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0" name="Rechteck 769">
              <a:extLst>
                <a:ext uri="{FF2B5EF4-FFF2-40B4-BE49-F238E27FC236}">
                  <a16:creationId xmlns:a16="http://schemas.microsoft.com/office/drawing/2014/main" id="{E2992E55-9CF2-EC46-7F46-681F82EAC8C1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1" name="Rechteck 770">
              <a:extLst>
                <a:ext uri="{FF2B5EF4-FFF2-40B4-BE49-F238E27FC236}">
                  <a16:creationId xmlns:a16="http://schemas.microsoft.com/office/drawing/2014/main" id="{4B2A18C3-AA1E-41B1-5A56-831E54C315BE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2" name="Rechteck 771">
              <a:extLst>
                <a:ext uri="{FF2B5EF4-FFF2-40B4-BE49-F238E27FC236}">
                  <a16:creationId xmlns:a16="http://schemas.microsoft.com/office/drawing/2014/main" id="{0FC236C5-9B36-6437-98C2-B89922566355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sp>
        <p:nvSpPr>
          <p:cNvPr id="271" name="Subtitle">
            <a:extLst>
              <a:ext uri="{FF2B5EF4-FFF2-40B4-BE49-F238E27FC236}">
                <a16:creationId xmlns:a16="http://schemas.microsoft.com/office/drawing/2014/main" id="{9D8B1ACD-0D77-D763-CE04-A05AF5D42782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695400" y="5877272"/>
            <a:ext cx="3023752" cy="288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none" lIns="216000" tIns="0" rIns="21600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pPr lvl="0"/>
            <a:r>
              <a:rPr lang="en-GB"/>
              <a:t>gfk.com</a:t>
            </a:r>
          </a:p>
        </p:txBody>
      </p:sp>
      <p:pic>
        <p:nvPicPr>
          <p:cNvPr id="273" name="Logo">
            <a:extLst>
              <a:ext uri="{FF2B5EF4-FFF2-40B4-BE49-F238E27FC236}">
                <a16:creationId xmlns:a16="http://schemas.microsoft.com/office/drawing/2014/main" id="{0687B928-8FA0-4ABD-9263-6D838441F8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  <p:sp>
        <p:nvSpPr>
          <p:cNvPr id="200" name="Title">
            <a:extLst>
              <a:ext uri="{FF2B5EF4-FFF2-40B4-BE49-F238E27FC236}">
                <a16:creationId xmlns:a16="http://schemas.microsoft.com/office/drawing/2014/main" id="{98D3EC72-B9C8-A06F-DD41-E4E558271E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695400" y="1927126"/>
            <a:ext cx="2625729" cy="1069826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wrap="square" lIns="216000" tIns="90000" rIns="216000" bIns="540000" anchor="t">
            <a:spAutoFit/>
          </a:bodyPr>
          <a:lstStyle>
            <a:lvl1pPr algn="l">
              <a:lnSpc>
                <a:spcPct val="90000"/>
              </a:lnSpc>
              <a:defRPr sz="3000" baseline="0"/>
            </a:lvl1pPr>
          </a:lstStyle>
          <a:p>
            <a:r>
              <a:rPr lang="en-GB"/>
              <a:t>[Thank You]</a:t>
            </a:r>
          </a:p>
        </p:txBody>
      </p:sp>
      <p:cxnSp>
        <p:nvCxnSpPr>
          <p:cNvPr id="201" name="Line">
            <a:extLst>
              <a:ext uri="{FF2B5EF4-FFF2-40B4-BE49-F238E27FC236}">
                <a16:creationId xmlns:a16="http://schemas.microsoft.com/office/drawing/2014/main" id="{C6A68CDF-322A-62E2-7BE1-CF327264F9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11424" y="925959"/>
            <a:ext cx="2304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164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AEFEA2B-CFA3-3A52-DD7E-6D219D2D1C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8927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AEFEA2B-CFA3-3A52-DD7E-6D219D2D1C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83" name="Gruppieren 582">
            <a:extLst>
              <a:ext uri="{FF2B5EF4-FFF2-40B4-BE49-F238E27FC236}">
                <a16:creationId xmlns:a16="http://schemas.microsoft.com/office/drawing/2014/main" id="{362661D4-C612-CB74-47EA-B9C338252AD8}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584" name="Rechteck 583">
              <a:extLst>
                <a:ext uri="{FF2B5EF4-FFF2-40B4-BE49-F238E27FC236}">
                  <a16:creationId xmlns:a16="http://schemas.microsoft.com/office/drawing/2014/main" id="{70CC0C14-1FBF-2522-6988-2AB19DB413C7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5" name="Rechteck 584">
              <a:extLst>
                <a:ext uri="{FF2B5EF4-FFF2-40B4-BE49-F238E27FC236}">
                  <a16:creationId xmlns:a16="http://schemas.microsoft.com/office/drawing/2014/main" id="{521470DF-427E-9E5A-C564-30C1C5F85CE6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6" name="Rechteck 585">
              <a:extLst>
                <a:ext uri="{FF2B5EF4-FFF2-40B4-BE49-F238E27FC236}">
                  <a16:creationId xmlns:a16="http://schemas.microsoft.com/office/drawing/2014/main" id="{EB5A7C18-5092-AB64-CBE6-2866261309D3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7" name="Rechteck 586">
              <a:extLst>
                <a:ext uri="{FF2B5EF4-FFF2-40B4-BE49-F238E27FC236}">
                  <a16:creationId xmlns:a16="http://schemas.microsoft.com/office/drawing/2014/main" id="{FD3F8619-5936-4F53-1931-557AD0A2E8AA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8" name="Rechteck 587">
              <a:extLst>
                <a:ext uri="{FF2B5EF4-FFF2-40B4-BE49-F238E27FC236}">
                  <a16:creationId xmlns:a16="http://schemas.microsoft.com/office/drawing/2014/main" id="{BDF420CE-9029-F734-A63D-978EF8E6A082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9" name="Rechteck 588">
              <a:extLst>
                <a:ext uri="{FF2B5EF4-FFF2-40B4-BE49-F238E27FC236}">
                  <a16:creationId xmlns:a16="http://schemas.microsoft.com/office/drawing/2014/main" id="{9B17FB4F-DBD3-C965-9790-FD89AB07FD31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0" name="Rechteck 589">
              <a:extLst>
                <a:ext uri="{FF2B5EF4-FFF2-40B4-BE49-F238E27FC236}">
                  <a16:creationId xmlns:a16="http://schemas.microsoft.com/office/drawing/2014/main" id="{A29654A4-13B1-5957-693B-891B1A9E0609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1" name="Rechteck 590">
              <a:extLst>
                <a:ext uri="{FF2B5EF4-FFF2-40B4-BE49-F238E27FC236}">
                  <a16:creationId xmlns:a16="http://schemas.microsoft.com/office/drawing/2014/main" id="{8EC3BB2F-DAE1-4B35-359A-F38CCEB63B73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2" name="Rechteck 591">
              <a:extLst>
                <a:ext uri="{FF2B5EF4-FFF2-40B4-BE49-F238E27FC236}">
                  <a16:creationId xmlns:a16="http://schemas.microsoft.com/office/drawing/2014/main" id="{3EE97075-6D1C-FD8A-5270-B6EB7D2F3AE7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3" name="Rechteck 592">
              <a:extLst>
                <a:ext uri="{FF2B5EF4-FFF2-40B4-BE49-F238E27FC236}">
                  <a16:creationId xmlns:a16="http://schemas.microsoft.com/office/drawing/2014/main" id="{CDAEBAE9-A17F-9E90-F18B-35756207901E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4" name="Rechteck 593">
              <a:extLst>
                <a:ext uri="{FF2B5EF4-FFF2-40B4-BE49-F238E27FC236}">
                  <a16:creationId xmlns:a16="http://schemas.microsoft.com/office/drawing/2014/main" id="{EDC850A4-4193-AF82-6E93-0A7A8954065B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5" name="Rechteck 594">
              <a:extLst>
                <a:ext uri="{FF2B5EF4-FFF2-40B4-BE49-F238E27FC236}">
                  <a16:creationId xmlns:a16="http://schemas.microsoft.com/office/drawing/2014/main" id="{5E03D339-FAFA-4F1E-A032-BBC571FA1C28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6" name="Rechteck 595">
              <a:extLst>
                <a:ext uri="{FF2B5EF4-FFF2-40B4-BE49-F238E27FC236}">
                  <a16:creationId xmlns:a16="http://schemas.microsoft.com/office/drawing/2014/main" id="{7D9A8EC4-A7DA-BAC5-1B42-5A9C08E67F5F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7" name="Rechteck 596">
              <a:extLst>
                <a:ext uri="{FF2B5EF4-FFF2-40B4-BE49-F238E27FC236}">
                  <a16:creationId xmlns:a16="http://schemas.microsoft.com/office/drawing/2014/main" id="{716E6160-22DB-1F6B-A962-6672E1DE8D6F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8" name="Rechteck 597">
              <a:extLst>
                <a:ext uri="{FF2B5EF4-FFF2-40B4-BE49-F238E27FC236}">
                  <a16:creationId xmlns:a16="http://schemas.microsoft.com/office/drawing/2014/main" id="{8257793B-CBBE-FB30-DCF3-A46FEF26B6F3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9" name="Rechteck 598">
              <a:extLst>
                <a:ext uri="{FF2B5EF4-FFF2-40B4-BE49-F238E27FC236}">
                  <a16:creationId xmlns:a16="http://schemas.microsoft.com/office/drawing/2014/main" id="{934A1AEA-6FA2-4D15-03E5-4C7C34916333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0" name="Rechteck 599">
              <a:extLst>
                <a:ext uri="{FF2B5EF4-FFF2-40B4-BE49-F238E27FC236}">
                  <a16:creationId xmlns:a16="http://schemas.microsoft.com/office/drawing/2014/main" id="{E540B79E-631E-6DFC-25CC-A2D038FFAEFF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1" name="Rechteck 600">
              <a:extLst>
                <a:ext uri="{FF2B5EF4-FFF2-40B4-BE49-F238E27FC236}">
                  <a16:creationId xmlns:a16="http://schemas.microsoft.com/office/drawing/2014/main" id="{34DB40ED-CE79-1DF4-E1AE-63C8D927F2BB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2" name="Rechteck 601">
              <a:extLst>
                <a:ext uri="{FF2B5EF4-FFF2-40B4-BE49-F238E27FC236}">
                  <a16:creationId xmlns:a16="http://schemas.microsoft.com/office/drawing/2014/main" id="{87E3D26B-D764-0431-B238-6A1E7DF2CA56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3" name="Rechteck 602">
              <a:extLst>
                <a:ext uri="{FF2B5EF4-FFF2-40B4-BE49-F238E27FC236}">
                  <a16:creationId xmlns:a16="http://schemas.microsoft.com/office/drawing/2014/main" id="{8E8380AF-46D7-1682-E5F8-CB876EDC3B87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4" name="Rechteck 603">
              <a:extLst>
                <a:ext uri="{FF2B5EF4-FFF2-40B4-BE49-F238E27FC236}">
                  <a16:creationId xmlns:a16="http://schemas.microsoft.com/office/drawing/2014/main" id="{C6A41F37-62CE-617D-8B01-9849BAA266A0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5" name="Rechteck 604">
              <a:extLst>
                <a:ext uri="{FF2B5EF4-FFF2-40B4-BE49-F238E27FC236}">
                  <a16:creationId xmlns:a16="http://schemas.microsoft.com/office/drawing/2014/main" id="{DEE03464-C4F6-DEF0-C98A-1BA0EDF8750E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6" name="Rechteck 605">
              <a:extLst>
                <a:ext uri="{FF2B5EF4-FFF2-40B4-BE49-F238E27FC236}">
                  <a16:creationId xmlns:a16="http://schemas.microsoft.com/office/drawing/2014/main" id="{2E6F862D-E756-C394-F7DF-BF60B02A1E14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7" name="Rechteck 606">
              <a:extLst>
                <a:ext uri="{FF2B5EF4-FFF2-40B4-BE49-F238E27FC236}">
                  <a16:creationId xmlns:a16="http://schemas.microsoft.com/office/drawing/2014/main" id="{80B53B3F-1FB7-4F40-2549-3E47C6C9F692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8" name="Rechteck 607">
              <a:extLst>
                <a:ext uri="{FF2B5EF4-FFF2-40B4-BE49-F238E27FC236}">
                  <a16:creationId xmlns:a16="http://schemas.microsoft.com/office/drawing/2014/main" id="{0D2116E1-CF2B-4B1F-769B-8DA9D82CF167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9" name="Rechteck 608">
              <a:extLst>
                <a:ext uri="{FF2B5EF4-FFF2-40B4-BE49-F238E27FC236}">
                  <a16:creationId xmlns:a16="http://schemas.microsoft.com/office/drawing/2014/main" id="{0548AD75-D50C-DDC6-7135-F81F293EEFBC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0" name="Rechteck 609">
              <a:extLst>
                <a:ext uri="{FF2B5EF4-FFF2-40B4-BE49-F238E27FC236}">
                  <a16:creationId xmlns:a16="http://schemas.microsoft.com/office/drawing/2014/main" id="{4AA480A7-6689-407A-8371-55D947377339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1" name="Rechteck 610">
              <a:extLst>
                <a:ext uri="{FF2B5EF4-FFF2-40B4-BE49-F238E27FC236}">
                  <a16:creationId xmlns:a16="http://schemas.microsoft.com/office/drawing/2014/main" id="{6D5CA8EC-AAAE-33D1-8580-C807631CB9B9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2" name="Rechteck 611">
              <a:extLst>
                <a:ext uri="{FF2B5EF4-FFF2-40B4-BE49-F238E27FC236}">
                  <a16:creationId xmlns:a16="http://schemas.microsoft.com/office/drawing/2014/main" id="{8D03016F-D3F6-919D-2329-05F629593D51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3" name="Rechteck 612">
              <a:extLst>
                <a:ext uri="{FF2B5EF4-FFF2-40B4-BE49-F238E27FC236}">
                  <a16:creationId xmlns:a16="http://schemas.microsoft.com/office/drawing/2014/main" id="{44315BC8-413C-0C1E-C31C-3A5256103EAB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4" name="Rechteck 613">
              <a:extLst>
                <a:ext uri="{FF2B5EF4-FFF2-40B4-BE49-F238E27FC236}">
                  <a16:creationId xmlns:a16="http://schemas.microsoft.com/office/drawing/2014/main" id="{3FEB6A4F-7149-B83C-63EB-C9A020D8D850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5" name="Rechteck 614">
              <a:extLst>
                <a:ext uri="{FF2B5EF4-FFF2-40B4-BE49-F238E27FC236}">
                  <a16:creationId xmlns:a16="http://schemas.microsoft.com/office/drawing/2014/main" id="{104ABF4C-8F8B-1717-38A5-AE01735BD1AB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6" name="Rechteck 615">
              <a:extLst>
                <a:ext uri="{FF2B5EF4-FFF2-40B4-BE49-F238E27FC236}">
                  <a16:creationId xmlns:a16="http://schemas.microsoft.com/office/drawing/2014/main" id="{5EAD1E82-DF04-6E05-083D-BCE097DEB6D4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7" name="Rechteck 616">
              <a:extLst>
                <a:ext uri="{FF2B5EF4-FFF2-40B4-BE49-F238E27FC236}">
                  <a16:creationId xmlns:a16="http://schemas.microsoft.com/office/drawing/2014/main" id="{172F9C7A-BF88-BE61-A67C-485B0A91AC37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8" name="Rechteck 617">
              <a:extLst>
                <a:ext uri="{FF2B5EF4-FFF2-40B4-BE49-F238E27FC236}">
                  <a16:creationId xmlns:a16="http://schemas.microsoft.com/office/drawing/2014/main" id="{0BF2DDA7-C650-0987-191F-69040AAEDC1C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9" name="Rechteck 618">
              <a:extLst>
                <a:ext uri="{FF2B5EF4-FFF2-40B4-BE49-F238E27FC236}">
                  <a16:creationId xmlns:a16="http://schemas.microsoft.com/office/drawing/2014/main" id="{F7CDEC2A-FF76-BA36-8210-2534D100B090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0" name="Rechteck 619">
              <a:extLst>
                <a:ext uri="{FF2B5EF4-FFF2-40B4-BE49-F238E27FC236}">
                  <a16:creationId xmlns:a16="http://schemas.microsoft.com/office/drawing/2014/main" id="{238DAC4D-D519-F578-760F-6121DC0A3018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1" name="Rechteck 620">
              <a:extLst>
                <a:ext uri="{FF2B5EF4-FFF2-40B4-BE49-F238E27FC236}">
                  <a16:creationId xmlns:a16="http://schemas.microsoft.com/office/drawing/2014/main" id="{8C4B26FC-1F6C-C25A-A801-6F085AAAED80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2" name="Rechteck 621">
              <a:extLst>
                <a:ext uri="{FF2B5EF4-FFF2-40B4-BE49-F238E27FC236}">
                  <a16:creationId xmlns:a16="http://schemas.microsoft.com/office/drawing/2014/main" id="{FEF688CA-2EA1-D58C-26E7-D4767CB7DD44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3" name="Rechteck 622">
              <a:extLst>
                <a:ext uri="{FF2B5EF4-FFF2-40B4-BE49-F238E27FC236}">
                  <a16:creationId xmlns:a16="http://schemas.microsoft.com/office/drawing/2014/main" id="{479DE84F-359F-532B-522C-6CE9DCADD7B2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4" name="Rechteck 623">
              <a:extLst>
                <a:ext uri="{FF2B5EF4-FFF2-40B4-BE49-F238E27FC236}">
                  <a16:creationId xmlns:a16="http://schemas.microsoft.com/office/drawing/2014/main" id="{ABA462C6-BC68-431A-31C4-88EDA6D3553D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5" name="Rechteck 624">
              <a:extLst>
                <a:ext uri="{FF2B5EF4-FFF2-40B4-BE49-F238E27FC236}">
                  <a16:creationId xmlns:a16="http://schemas.microsoft.com/office/drawing/2014/main" id="{D9B13F35-AAB6-B829-3893-EA9A2984F239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6" name="Rechteck 625">
              <a:extLst>
                <a:ext uri="{FF2B5EF4-FFF2-40B4-BE49-F238E27FC236}">
                  <a16:creationId xmlns:a16="http://schemas.microsoft.com/office/drawing/2014/main" id="{B70B05F9-D394-6A41-7159-FFF1A3049478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7" name="Rechteck 626">
              <a:extLst>
                <a:ext uri="{FF2B5EF4-FFF2-40B4-BE49-F238E27FC236}">
                  <a16:creationId xmlns:a16="http://schemas.microsoft.com/office/drawing/2014/main" id="{24B7BA33-4973-6E0C-FF68-6BAD863B42CD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8" name="Rechteck 627">
              <a:extLst>
                <a:ext uri="{FF2B5EF4-FFF2-40B4-BE49-F238E27FC236}">
                  <a16:creationId xmlns:a16="http://schemas.microsoft.com/office/drawing/2014/main" id="{0D8E5918-93EA-39C0-086C-EF729EB89A86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9" name="Rechteck 628">
              <a:extLst>
                <a:ext uri="{FF2B5EF4-FFF2-40B4-BE49-F238E27FC236}">
                  <a16:creationId xmlns:a16="http://schemas.microsoft.com/office/drawing/2014/main" id="{BA3282CF-68A5-67C8-79EA-86B13345C33F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0" name="Rechteck 629">
              <a:extLst>
                <a:ext uri="{FF2B5EF4-FFF2-40B4-BE49-F238E27FC236}">
                  <a16:creationId xmlns:a16="http://schemas.microsoft.com/office/drawing/2014/main" id="{06DB49A3-7D3F-12E5-0A95-98A90D68931C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1" name="Rechteck 630">
              <a:extLst>
                <a:ext uri="{FF2B5EF4-FFF2-40B4-BE49-F238E27FC236}">
                  <a16:creationId xmlns:a16="http://schemas.microsoft.com/office/drawing/2014/main" id="{FCD25D4C-AE38-11F7-1989-63453282B763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2" name="Rechteck 631">
              <a:extLst>
                <a:ext uri="{FF2B5EF4-FFF2-40B4-BE49-F238E27FC236}">
                  <a16:creationId xmlns:a16="http://schemas.microsoft.com/office/drawing/2014/main" id="{DF0D8781-A79D-66BA-FC84-ECDDB13243C6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3" name="Rechteck 632">
              <a:extLst>
                <a:ext uri="{FF2B5EF4-FFF2-40B4-BE49-F238E27FC236}">
                  <a16:creationId xmlns:a16="http://schemas.microsoft.com/office/drawing/2014/main" id="{49F72B14-359F-337D-2CC0-B25BC100C6C4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4" name="Rechteck 633">
              <a:extLst>
                <a:ext uri="{FF2B5EF4-FFF2-40B4-BE49-F238E27FC236}">
                  <a16:creationId xmlns:a16="http://schemas.microsoft.com/office/drawing/2014/main" id="{D1F55A67-C079-A700-3E72-FF2E7046303F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5" name="Rechteck 634">
              <a:extLst>
                <a:ext uri="{FF2B5EF4-FFF2-40B4-BE49-F238E27FC236}">
                  <a16:creationId xmlns:a16="http://schemas.microsoft.com/office/drawing/2014/main" id="{5194308F-E446-A5CA-FA5C-FAB2078C7335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6" name="Rechteck 635">
              <a:extLst>
                <a:ext uri="{FF2B5EF4-FFF2-40B4-BE49-F238E27FC236}">
                  <a16:creationId xmlns:a16="http://schemas.microsoft.com/office/drawing/2014/main" id="{ED6B9C9D-7A68-EE0A-7EE6-99971A716776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7" name="Rechteck 636">
              <a:extLst>
                <a:ext uri="{FF2B5EF4-FFF2-40B4-BE49-F238E27FC236}">
                  <a16:creationId xmlns:a16="http://schemas.microsoft.com/office/drawing/2014/main" id="{67CC61D3-A70B-F915-5087-C818E24766F0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8" name="Rechteck 637">
              <a:extLst>
                <a:ext uri="{FF2B5EF4-FFF2-40B4-BE49-F238E27FC236}">
                  <a16:creationId xmlns:a16="http://schemas.microsoft.com/office/drawing/2014/main" id="{EC2C452A-17D3-8F1A-1293-562375FA97EA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9" name="Rechteck 638">
              <a:extLst>
                <a:ext uri="{FF2B5EF4-FFF2-40B4-BE49-F238E27FC236}">
                  <a16:creationId xmlns:a16="http://schemas.microsoft.com/office/drawing/2014/main" id="{1482C476-FE01-FD5F-B0D8-3528C9D64AF1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0" name="Rechteck 639">
              <a:extLst>
                <a:ext uri="{FF2B5EF4-FFF2-40B4-BE49-F238E27FC236}">
                  <a16:creationId xmlns:a16="http://schemas.microsoft.com/office/drawing/2014/main" id="{CC72C7C9-2F72-CA7B-96B5-C8B402F055B7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1" name="Rechteck 640">
              <a:extLst>
                <a:ext uri="{FF2B5EF4-FFF2-40B4-BE49-F238E27FC236}">
                  <a16:creationId xmlns:a16="http://schemas.microsoft.com/office/drawing/2014/main" id="{EB46DD35-A007-E248-19F2-886360A3AB55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2" name="Rechteck 641">
              <a:extLst>
                <a:ext uri="{FF2B5EF4-FFF2-40B4-BE49-F238E27FC236}">
                  <a16:creationId xmlns:a16="http://schemas.microsoft.com/office/drawing/2014/main" id="{A045FA6E-798A-1D3A-4A4E-C820CE689A4D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3" name="Rechteck 642">
              <a:extLst>
                <a:ext uri="{FF2B5EF4-FFF2-40B4-BE49-F238E27FC236}">
                  <a16:creationId xmlns:a16="http://schemas.microsoft.com/office/drawing/2014/main" id="{DC6992C5-C2B0-0C0F-5F9A-2CB476D6DE18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4" name="Rechteck 643">
              <a:extLst>
                <a:ext uri="{FF2B5EF4-FFF2-40B4-BE49-F238E27FC236}">
                  <a16:creationId xmlns:a16="http://schemas.microsoft.com/office/drawing/2014/main" id="{2F6C6C90-5C2B-FF1A-25A3-9AB4E1F1ED34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5" name="Rechteck 644">
              <a:extLst>
                <a:ext uri="{FF2B5EF4-FFF2-40B4-BE49-F238E27FC236}">
                  <a16:creationId xmlns:a16="http://schemas.microsoft.com/office/drawing/2014/main" id="{6DE7A757-2858-FD08-7EC2-112A6331ADBB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6" name="Rechteck 645">
              <a:extLst>
                <a:ext uri="{FF2B5EF4-FFF2-40B4-BE49-F238E27FC236}">
                  <a16:creationId xmlns:a16="http://schemas.microsoft.com/office/drawing/2014/main" id="{90D641F2-DCCB-6681-58CC-8DBF3258DEA3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7" name="Rechteck 646">
              <a:extLst>
                <a:ext uri="{FF2B5EF4-FFF2-40B4-BE49-F238E27FC236}">
                  <a16:creationId xmlns:a16="http://schemas.microsoft.com/office/drawing/2014/main" id="{51384DBE-C0EF-1B50-B4BB-3FAB6C0B920D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8" name="Rechteck 647">
              <a:extLst>
                <a:ext uri="{FF2B5EF4-FFF2-40B4-BE49-F238E27FC236}">
                  <a16:creationId xmlns:a16="http://schemas.microsoft.com/office/drawing/2014/main" id="{2B61E2F6-C052-B93F-9CE1-36B99815AED2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9" name="Rechteck 648">
              <a:extLst>
                <a:ext uri="{FF2B5EF4-FFF2-40B4-BE49-F238E27FC236}">
                  <a16:creationId xmlns:a16="http://schemas.microsoft.com/office/drawing/2014/main" id="{D1C13B1B-D9ED-474E-0082-2E0AF568B9C0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0" name="Rechteck 649">
              <a:extLst>
                <a:ext uri="{FF2B5EF4-FFF2-40B4-BE49-F238E27FC236}">
                  <a16:creationId xmlns:a16="http://schemas.microsoft.com/office/drawing/2014/main" id="{F31374B9-18CA-A82A-A92D-AF75A58A8753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1" name="Rechteck 650">
              <a:extLst>
                <a:ext uri="{FF2B5EF4-FFF2-40B4-BE49-F238E27FC236}">
                  <a16:creationId xmlns:a16="http://schemas.microsoft.com/office/drawing/2014/main" id="{F9C20AAA-26FE-3B0B-EB31-95FB4551C924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2" name="Rechteck 651">
              <a:extLst>
                <a:ext uri="{FF2B5EF4-FFF2-40B4-BE49-F238E27FC236}">
                  <a16:creationId xmlns:a16="http://schemas.microsoft.com/office/drawing/2014/main" id="{B9F24C65-AA73-5727-C85A-24EA694A5230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3" name="Rechteck 652">
              <a:extLst>
                <a:ext uri="{FF2B5EF4-FFF2-40B4-BE49-F238E27FC236}">
                  <a16:creationId xmlns:a16="http://schemas.microsoft.com/office/drawing/2014/main" id="{E4287F20-2063-E09A-163E-45DE671C3846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4" name="Rechteck 653">
              <a:extLst>
                <a:ext uri="{FF2B5EF4-FFF2-40B4-BE49-F238E27FC236}">
                  <a16:creationId xmlns:a16="http://schemas.microsoft.com/office/drawing/2014/main" id="{78B18EFA-63DA-16CD-40D9-2D636C9E6035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5" name="Rechteck 654">
              <a:extLst>
                <a:ext uri="{FF2B5EF4-FFF2-40B4-BE49-F238E27FC236}">
                  <a16:creationId xmlns:a16="http://schemas.microsoft.com/office/drawing/2014/main" id="{31106600-A21F-7F9E-DCE1-22553D36E6BF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6" name="Rechteck 655">
              <a:extLst>
                <a:ext uri="{FF2B5EF4-FFF2-40B4-BE49-F238E27FC236}">
                  <a16:creationId xmlns:a16="http://schemas.microsoft.com/office/drawing/2014/main" id="{CC603917-199D-85F5-0867-68F3C7EE5E4E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7" name="Rechteck 656">
              <a:extLst>
                <a:ext uri="{FF2B5EF4-FFF2-40B4-BE49-F238E27FC236}">
                  <a16:creationId xmlns:a16="http://schemas.microsoft.com/office/drawing/2014/main" id="{2664C258-D3C1-E5BA-2DE3-F91FCC2CBD27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8" name="Rechteck 657">
              <a:extLst>
                <a:ext uri="{FF2B5EF4-FFF2-40B4-BE49-F238E27FC236}">
                  <a16:creationId xmlns:a16="http://schemas.microsoft.com/office/drawing/2014/main" id="{7D8799EB-F2BA-D85E-6C2B-388E6398C063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9" name="Rechteck 658">
              <a:extLst>
                <a:ext uri="{FF2B5EF4-FFF2-40B4-BE49-F238E27FC236}">
                  <a16:creationId xmlns:a16="http://schemas.microsoft.com/office/drawing/2014/main" id="{C6FAE9C5-CCC2-D7EB-86DA-63BAA812D91E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0" name="Rechteck 659">
              <a:extLst>
                <a:ext uri="{FF2B5EF4-FFF2-40B4-BE49-F238E27FC236}">
                  <a16:creationId xmlns:a16="http://schemas.microsoft.com/office/drawing/2014/main" id="{4073042B-CAC3-B6F7-62D6-5A44F83F3E2E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1" name="Rechteck 660">
              <a:extLst>
                <a:ext uri="{FF2B5EF4-FFF2-40B4-BE49-F238E27FC236}">
                  <a16:creationId xmlns:a16="http://schemas.microsoft.com/office/drawing/2014/main" id="{22AFA407-528B-3DAC-8199-7B81BC029F3A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2" name="Rechteck 661">
              <a:extLst>
                <a:ext uri="{FF2B5EF4-FFF2-40B4-BE49-F238E27FC236}">
                  <a16:creationId xmlns:a16="http://schemas.microsoft.com/office/drawing/2014/main" id="{8FEA0E8E-BB34-85CB-BF42-28EF15AA62BA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3" name="Rechteck 662">
              <a:extLst>
                <a:ext uri="{FF2B5EF4-FFF2-40B4-BE49-F238E27FC236}">
                  <a16:creationId xmlns:a16="http://schemas.microsoft.com/office/drawing/2014/main" id="{2558C635-203A-6BDC-763E-068B099C4635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4" name="Rechteck 663">
              <a:extLst>
                <a:ext uri="{FF2B5EF4-FFF2-40B4-BE49-F238E27FC236}">
                  <a16:creationId xmlns:a16="http://schemas.microsoft.com/office/drawing/2014/main" id="{13F098EA-FA8A-B3B4-CB70-B53B4D000205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5" name="Rechteck 664">
              <a:extLst>
                <a:ext uri="{FF2B5EF4-FFF2-40B4-BE49-F238E27FC236}">
                  <a16:creationId xmlns:a16="http://schemas.microsoft.com/office/drawing/2014/main" id="{8A6460CF-49B6-C360-FFDD-4374A8F7F97D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6" name="Rechteck 665">
              <a:extLst>
                <a:ext uri="{FF2B5EF4-FFF2-40B4-BE49-F238E27FC236}">
                  <a16:creationId xmlns:a16="http://schemas.microsoft.com/office/drawing/2014/main" id="{19E20EA2-353D-C9EE-0F29-1DAFCE7EC4A3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7" name="Rechteck 666">
              <a:extLst>
                <a:ext uri="{FF2B5EF4-FFF2-40B4-BE49-F238E27FC236}">
                  <a16:creationId xmlns:a16="http://schemas.microsoft.com/office/drawing/2014/main" id="{7A840462-61B2-CC42-EA9A-D0E9E21B4100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8" name="Rechteck 667">
              <a:extLst>
                <a:ext uri="{FF2B5EF4-FFF2-40B4-BE49-F238E27FC236}">
                  <a16:creationId xmlns:a16="http://schemas.microsoft.com/office/drawing/2014/main" id="{624911C7-FBDC-F9E7-2438-EBA4B69F4983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9" name="Rechteck 668">
              <a:extLst>
                <a:ext uri="{FF2B5EF4-FFF2-40B4-BE49-F238E27FC236}">
                  <a16:creationId xmlns:a16="http://schemas.microsoft.com/office/drawing/2014/main" id="{83A04D4E-00A2-284B-5781-C61FE3DE877B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0" name="Rechteck 669">
              <a:extLst>
                <a:ext uri="{FF2B5EF4-FFF2-40B4-BE49-F238E27FC236}">
                  <a16:creationId xmlns:a16="http://schemas.microsoft.com/office/drawing/2014/main" id="{1DE0C156-4B66-70D1-9A37-5496E6CF9166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1" name="Rechteck 670">
              <a:extLst>
                <a:ext uri="{FF2B5EF4-FFF2-40B4-BE49-F238E27FC236}">
                  <a16:creationId xmlns:a16="http://schemas.microsoft.com/office/drawing/2014/main" id="{ADAA0997-2150-B526-BB2B-CFA6A2E7777E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2" name="Rechteck 671">
              <a:extLst>
                <a:ext uri="{FF2B5EF4-FFF2-40B4-BE49-F238E27FC236}">
                  <a16:creationId xmlns:a16="http://schemas.microsoft.com/office/drawing/2014/main" id="{CE16049D-05D2-9D80-5E88-1BAC5FBF3025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3" name="Rechteck 672">
              <a:extLst>
                <a:ext uri="{FF2B5EF4-FFF2-40B4-BE49-F238E27FC236}">
                  <a16:creationId xmlns:a16="http://schemas.microsoft.com/office/drawing/2014/main" id="{CDC8B439-21A6-AA1A-2BE0-0BF6E3044CE0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4" name="Rechteck 673">
              <a:extLst>
                <a:ext uri="{FF2B5EF4-FFF2-40B4-BE49-F238E27FC236}">
                  <a16:creationId xmlns:a16="http://schemas.microsoft.com/office/drawing/2014/main" id="{3291220A-D8F2-2543-8798-8B7475FB65D1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5" name="Rechteck 674">
              <a:extLst>
                <a:ext uri="{FF2B5EF4-FFF2-40B4-BE49-F238E27FC236}">
                  <a16:creationId xmlns:a16="http://schemas.microsoft.com/office/drawing/2014/main" id="{25FDB456-42A6-5BD4-D5C2-698AD3D53356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6" name="Rechteck 675">
              <a:extLst>
                <a:ext uri="{FF2B5EF4-FFF2-40B4-BE49-F238E27FC236}">
                  <a16:creationId xmlns:a16="http://schemas.microsoft.com/office/drawing/2014/main" id="{C1C9D6F2-940E-6C31-1A1B-F8645A57AE05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7" name="Rechteck 676">
              <a:extLst>
                <a:ext uri="{FF2B5EF4-FFF2-40B4-BE49-F238E27FC236}">
                  <a16:creationId xmlns:a16="http://schemas.microsoft.com/office/drawing/2014/main" id="{CC08C350-AA05-8D00-6BEC-A3E200BA78FE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8" name="Rechteck 677">
              <a:extLst>
                <a:ext uri="{FF2B5EF4-FFF2-40B4-BE49-F238E27FC236}">
                  <a16:creationId xmlns:a16="http://schemas.microsoft.com/office/drawing/2014/main" id="{7AF396AD-B96E-4D68-A361-411A6CBE2BEF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9" name="Rechteck 678">
              <a:extLst>
                <a:ext uri="{FF2B5EF4-FFF2-40B4-BE49-F238E27FC236}">
                  <a16:creationId xmlns:a16="http://schemas.microsoft.com/office/drawing/2014/main" id="{287E9CF0-47A4-AC7A-3A37-A85E027B7BF0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0" name="Rechteck 679">
              <a:extLst>
                <a:ext uri="{FF2B5EF4-FFF2-40B4-BE49-F238E27FC236}">
                  <a16:creationId xmlns:a16="http://schemas.microsoft.com/office/drawing/2014/main" id="{CF0DFFA9-EB49-12E9-4993-DD48BC771C3F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1" name="Rechteck 680">
              <a:extLst>
                <a:ext uri="{FF2B5EF4-FFF2-40B4-BE49-F238E27FC236}">
                  <a16:creationId xmlns:a16="http://schemas.microsoft.com/office/drawing/2014/main" id="{4457EB29-8ED5-2023-E66C-6C51E6D5FEF7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2" name="Rechteck 681">
              <a:extLst>
                <a:ext uri="{FF2B5EF4-FFF2-40B4-BE49-F238E27FC236}">
                  <a16:creationId xmlns:a16="http://schemas.microsoft.com/office/drawing/2014/main" id="{E76C43B5-EFBA-3CF5-4660-AAB6EA89780A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3" name="Rechteck 682">
              <a:extLst>
                <a:ext uri="{FF2B5EF4-FFF2-40B4-BE49-F238E27FC236}">
                  <a16:creationId xmlns:a16="http://schemas.microsoft.com/office/drawing/2014/main" id="{537D513C-90A1-70F4-09C0-157B675704A3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4" name="Rechteck 683">
              <a:extLst>
                <a:ext uri="{FF2B5EF4-FFF2-40B4-BE49-F238E27FC236}">
                  <a16:creationId xmlns:a16="http://schemas.microsoft.com/office/drawing/2014/main" id="{DE38BE49-EEDF-3118-62FB-BF5E650778F9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5" name="Rechteck 684">
              <a:extLst>
                <a:ext uri="{FF2B5EF4-FFF2-40B4-BE49-F238E27FC236}">
                  <a16:creationId xmlns:a16="http://schemas.microsoft.com/office/drawing/2014/main" id="{B13FC58D-61AC-C796-9D91-701CAE3B2E16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6" name="Rechteck 685">
              <a:extLst>
                <a:ext uri="{FF2B5EF4-FFF2-40B4-BE49-F238E27FC236}">
                  <a16:creationId xmlns:a16="http://schemas.microsoft.com/office/drawing/2014/main" id="{F022C9F5-3900-95D7-6DE8-65631E56BAC9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7" name="Rechteck 686">
              <a:extLst>
                <a:ext uri="{FF2B5EF4-FFF2-40B4-BE49-F238E27FC236}">
                  <a16:creationId xmlns:a16="http://schemas.microsoft.com/office/drawing/2014/main" id="{45C8A3CA-8EF3-9001-34EB-AB4275E0C973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8" name="Rechteck 687">
              <a:extLst>
                <a:ext uri="{FF2B5EF4-FFF2-40B4-BE49-F238E27FC236}">
                  <a16:creationId xmlns:a16="http://schemas.microsoft.com/office/drawing/2014/main" id="{EB7A4958-79D8-2F9D-5436-33F3F6972C4A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9" name="Rechteck 688">
              <a:extLst>
                <a:ext uri="{FF2B5EF4-FFF2-40B4-BE49-F238E27FC236}">
                  <a16:creationId xmlns:a16="http://schemas.microsoft.com/office/drawing/2014/main" id="{AAB723F7-9B57-BEF5-6CB3-A51BC87A4388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0" name="Rechteck 689">
              <a:extLst>
                <a:ext uri="{FF2B5EF4-FFF2-40B4-BE49-F238E27FC236}">
                  <a16:creationId xmlns:a16="http://schemas.microsoft.com/office/drawing/2014/main" id="{BAC1263E-10E9-F79B-F095-9392E878AEB4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1" name="Rechteck 690">
              <a:extLst>
                <a:ext uri="{FF2B5EF4-FFF2-40B4-BE49-F238E27FC236}">
                  <a16:creationId xmlns:a16="http://schemas.microsoft.com/office/drawing/2014/main" id="{8F486F9B-B481-F8A2-6F3F-85B66E43CCF1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2" name="Rechteck 691">
              <a:extLst>
                <a:ext uri="{FF2B5EF4-FFF2-40B4-BE49-F238E27FC236}">
                  <a16:creationId xmlns:a16="http://schemas.microsoft.com/office/drawing/2014/main" id="{98310B70-7374-7EC5-17D6-497533390D67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3" name="Rechteck 692">
              <a:extLst>
                <a:ext uri="{FF2B5EF4-FFF2-40B4-BE49-F238E27FC236}">
                  <a16:creationId xmlns:a16="http://schemas.microsoft.com/office/drawing/2014/main" id="{8766D4B5-DCD2-70B5-BA1C-0BC46279761A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4" name="Rechteck 693">
              <a:extLst>
                <a:ext uri="{FF2B5EF4-FFF2-40B4-BE49-F238E27FC236}">
                  <a16:creationId xmlns:a16="http://schemas.microsoft.com/office/drawing/2014/main" id="{9168AA30-2289-74CD-A821-9AEC8279B8E4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5" name="Rechteck 694">
              <a:extLst>
                <a:ext uri="{FF2B5EF4-FFF2-40B4-BE49-F238E27FC236}">
                  <a16:creationId xmlns:a16="http://schemas.microsoft.com/office/drawing/2014/main" id="{B3922964-F98B-C469-B3C9-7B59699FBF66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6" name="Rechteck 695">
              <a:extLst>
                <a:ext uri="{FF2B5EF4-FFF2-40B4-BE49-F238E27FC236}">
                  <a16:creationId xmlns:a16="http://schemas.microsoft.com/office/drawing/2014/main" id="{A3BE596C-1BBA-D76C-421F-2B7CC3AC38ED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7" name="Rechteck 696">
              <a:extLst>
                <a:ext uri="{FF2B5EF4-FFF2-40B4-BE49-F238E27FC236}">
                  <a16:creationId xmlns:a16="http://schemas.microsoft.com/office/drawing/2014/main" id="{9B2548C3-C2B1-964D-25D1-292898386233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8" name="Rechteck 697">
              <a:extLst>
                <a:ext uri="{FF2B5EF4-FFF2-40B4-BE49-F238E27FC236}">
                  <a16:creationId xmlns:a16="http://schemas.microsoft.com/office/drawing/2014/main" id="{94C1CA1F-DA4E-2C10-9757-CD61355EC930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9" name="Rechteck 698">
              <a:extLst>
                <a:ext uri="{FF2B5EF4-FFF2-40B4-BE49-F238E27FC236}">
                  <a16:creationId xmlns:a16="http://schemas.microsoft.com/office/drawing/2014/main" id="{D69F8A24-7CD4-E3F5-138C-C177451729B5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0" name="Rechteck 699">
              <a:extLst>
                <a:ext uri="{FF2B5EF4-FFF2-40B4-BE49-F238E27FC236}">
                  <a16:creationId xmlns:a16="http://schemas.microsoft.com/office/drawing/2014/main" id="{5101D034-7BF6-D17E-ACDE-09A473C3C725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1" name="Rechteck 700">
              <a:extLst>
                <a:ext uri="{FF2B5EF4-FFF2-40B4-BE49-F238E27FC236}">
                  <a16:creationId xmlns:a16="http://schemas.microsoft.com/office/drawing/2014/main" id="{BF9EB9B5-F67B-691B-868C-44838B852F72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2" name="Rechteck 701">
              <a:extLst>
                <a:ext uri="{FF2B5EF4-FFF2-40B4-BE49-F238E27FC236}">
                  <a16:creationId xmlns:a16="http://schemas.microsoft.com/office/drawing/2014/main" id="{39AB1942-E61A-4AB3-B1E9-D20EAC4D293F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3" name="Rechteck 702">
              <a:extLst>
                <a:ext uri="{FF2B5EF4-FFF2-40B4-BE49-F238E27FC236}">
                  <a16:creationId xmlns:a16="http://schemas.microsoft.com/office/drawing/2014/main" id="{56565114-4937-3D16-3FD4-1D134ADFBA4D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4" name="Rechteck 703">
              <a:extLst>
                <a:ext uri="{FF2B5EF4-FFF2-40B4-BE49-F238E27FC236}">
                  <a16:creationId xmlns:a16="http://schemas.microsoft.com/office/drawing/2014/main" id="{C98C3656-2943-2C02-8335-2FD89CB48300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5" name="Rechteck 704">
              <a:extLst>
                <a:ext uri="{FF2B5EF4-FFF2-40B4-BE49-F238E27FC236}">
                  <a16:creationId xmlns:a16="http://schemas.microsoft.com/office/drawing/2014/main" id="{08488403-7939-5935-A717-11899EADD162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6" name="Rechteck 705">
              <a:extLst>
                <a:ext uri="{FF2B5EF4-FFF2-40B4-BE49-F238E27FC236}">
                  <a16:creationId xmlns:a16="http://schemas.microsoft.com/office/drawing/2014/main" id="{CB77E4A4-93DD-7CAE-3965-57ED4DC23839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7" name="Rechteck 706">
              <a:extLst>
                <a:ext uri="{FF2B5EF4-FFF2-40B4-BE49-F238E27FC236}">
                  <a16:creationId xmlns:a16="http://schemas.microsoft.com/office/drawing/2014/main" id="{180674A3-32DC-5CFB-F3F0-AEF3189E3911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8" name="Rechteck 707">
              <a:extLst>
                <a:ext uri="{FF2B5EF4-FFF2-40B4-BE49-F238E27FC236}">
                  <a16:creationId xmlns:a16="http://schemas.microsoft.com/office/drawing/2014/main" id="{D2F17E32-C662-A9B9-5D03-E9A27AE8708B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9" name="Rechteck 708">
              <a:extLst>
                <a:ext uri="{FF2B5EF4-FFF2-40B4-BE49-F238E27FC236}">
                  <a16:creationId xmlns:a16="http://schemas.microsoft.com/office/drawing/2014/main" id="{05B4682F-3B7B-0D4F-3DE7-F8F7B4C33736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0" name="Rechteck 709">
              <a:extLst>
                <a:ext uri="{FF2B5EF4-FFF2-40B4-BE49-F238E27FC236}">
                  <a16:creationId xmlns:a16="http://schemas.microsoft.com/office/drawing/2014/main" id="{69D07643-96A2-5EBE-4A15-2EBC58185DD8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1" name="Rechteck 710">
              <a:extLst>
                <a:ext uri="{FF2B5EF4-FFF2-40B4-BE49-F238E27FC236}">
                  <a16:creationId xmlns:a16="http://schemas.microsoft.com/office/drawing/2014/main" id="{5F87D76B-C860-282A-17FA-21427DB8A459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2" name="Rechteck 711">
              <a:extLst>
                <a:ext uri="{FF2B5EF4-FFF2-40B4-BE49-F238E27FC236}">
                  <a16:creationId xmlns:a16="http://schemas.microsoft.com/office/drawing/2014/main" id="{B0473078-836D-FB77-0D28-079DC033A683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3" name="Rechteck 712">
              <a:extLst>
                <a:ext uri="{FF2B5EF4-FFF2-40B4-BE49-F238E27FC236}">
                  <a16:creationId xmlns:a16="http://schemas.microsoft.com/office/drawing/2014/main" id="{763EA82B-02A8-5363-BACF-F4FD5E1F3AD3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4" name="Rechteck 713">
              <a:extLst>
                <a:ext uri="{FF2B5EF4-FFF2-40B4-BE49-F238E27FC236}">
                  <a16:creationId xmlns:a16="http://schemas.microsoft.com/office/drawing/2014/main" id="{59BD100A-2210-D1F4-9E1A-C43AD07753E3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5" name="Rechteck 714">
              <a:extLst>
                <a:ext uri="{FF2B5EF4-FFF2-40B4-BE49-F238E27FC236}">
                  <a16:creationId xmlns:a16="http://schemas.microsoft.com/office/drawing/2014/main" id="{D7FB82F8-2736-939F-EF7D-09AB454FB8A1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6" name="Rechteck 715">
              <a:extLst>
                <a:ext uri="{FF2B5EF4-FFF2-40B4-BE49-F238E27FC236}">
                  <a16:creationId xmlns:a16="http://schemas.microsoft.com/office/drawing/2014/main" id="{2D621138-9432-EE05-85E8-CE906D311305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7" name="Rechteck 716">
              <a:extLst>
                <a:ext uri="{FF2B5EF4-FFF2-40B4-BE49-F238E27FC236}">
                  <a16:creationId xmlns:a16="http://schemas.microsoft.com/office/drawing/2014/main" id="{4EF4D2DC-060A-CA57-A8E7-FD9345BD0AD6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8" name="Rechteck 717">
              <a:extLst>
                <a:ext uri="{FF2B5EF4-FFF2-40B4-BE49-F238E27FC236}">
                  <a16:creationId xmlns:a16="http://schemas.microsoft.com/office/drawing/2014/main" id="{F0E20F2A-68A1-7842-9DB0-4A1CC7AC05BF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9" name="Rechteck 718">
              <a:extLst>
                <a:ext uri="{FF2B5EF4-FFF2-40B4-BE49-F238E27FC236}">
                  <a16:creationId xmlns:a16="http://schemas.microsoft.com/office/drawing/2014/main" id="{7C2E8C08-12B7-FC2E-4BEA-FD0723966C67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0" name="Rechteck 719">
              <a:extLst>
                <a:ext uri="{FF2B5EF4-FFF2-40B4-BE49-F238E27FC236}">
                  <a16:creationId xmlns:a16="http://schemas.microsoft.com/office/drawing/2014/main" id="{8D98062D-B27F-8CF4-D112-36F2CD997963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1" name="Rechteck 720">
              <a:extLst>
                <a:ext uri="{FF2B5EF4-FFF2-40B4-BE49-F238E27FC236}">
                  <a16:creationId xmlns:a16="http://schemas.microsoft.com/office/drawing/2014/main" id="{4163B6F8-7346-EE98-EC90-5F2CE7475984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2" name="Rechteck 721">
              <a:extLst>
                <a:ext uri="{FF2B5EF4-FFF2-40B4-BE49-F238E27FC236}">
                  <a16:creationId xmlns:a16="http://schemas.microsoft.com/office/drawing/2014/main" id="{84058654-9D82-9F4F-058A-BB76E37CBABA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3" name="Rechteck 722">
              <a:extLst>
                <a:ext uri="{FF2B5EF4-FFF2-40B4-BE49-F238E27FC236}">
                  <a16:creationId xmlns:a16="http://schemas.microsoft.com/office/drawing/2014/main" id="{566BCC9B-D449-B385-B9CD-B64750BDBE24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4" name="Rechteck 723">
              <a:extLst>
                <a:ext uri="{FF2B5EF4-FFF2-40B4-BE49-F238E27FC236}">
                  <a16:creationId xmlns:a16="http://schemas.microsoft.com/office/drawing/2014/main" id="{43E1FC99-AF9D-4A61-A2BB-AA6ED4F190E0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5" name="Rechteck 724">
              <a:extLst>
                <a:ext uri="{FF2B5EF4-FFF2-40B4-BE49-F238E27FC236}">
                  <a16:creationId xmlns:a16="http://schemas.microsoft.com/office/drawing/2014/main" id="{74D5DA3B-3DBA-0F74-DAED-99AE03E3A164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6" name="Rechteck 725">
              <a:extLst>
                <a:ext uri="{FF2B5EF4-FFF2-40B4-BE49-F238E27FC236}">
                  <a16:creationId xmlns:a16="http://schemas.microsoft.com/office/drawing/2014/main" id="{3087C1DF-A271-AF0A-BB09-A19ACAE710CB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7" name="Rechteck 726">
              <a:extLst>
                <a:ext uri="{FF2B5EF4-FFF2-40B4-BE49-F238E27FC236}">
                  <a16:creationId xmlns:a16="http://schemas.microsoft.com/office/drawing/2014/main" id="{ABF25ED2-07F0-6BBF-1FAC-B7448CB6A1A6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8" name="Rechteck 727">
              <a:extLst>
                <a:ext uri="{FF2B5EF4-FFF2-40B4-BE49-F238E27FC236}">
                  <a16:creationId xmlns:a16="http://schemas.microsoft.com/office/drawing/2014/main" id="{6A001D68-430B-5A89-D0B2-061F79ADC9E6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9" name="Rechteck 728">
              <a:extLst>
                <a:ext uri="{FF2B5EF4-FFF2-40B4-BE49-F238E27FC236}">
                  <a16:creationId xmlns:a16="http://schemas.microsoft.com/office/drawing/2014/main" id="{3A526EA4-95F9-9E5D-1E0B-3D5288981B7A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0" name="Rechteck 729">
              <a:extLst>
                <a:ext uri="{FF2B5EF4-FFF2-40B4-BE49-F238E27FC236}">
                  <a16:creationId xmlns:a16="http://schemas.microsoft.com/office/drawing/2014/main" id="{AD23B11A-35E7-9C9C-34D5-A32E1F06683D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1" name="Rechteck 730">
              <a:extLst>
                <a:ext uri="{FF2B5EF4-FFF2-40B4-BE49-F238E27FC236}">
                  <a16:creationId xmlns:a16="http://schemas.microsoft.com/office/drawing/2014/main" id="{A5463C0A-7230-6159-6EFC-0C8372A114A8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2" name="Rechteck 731">
              <a:extLst>
                <a:ext uri="{FF2B5EF4-FFF2-40B4-BE49-F238E27FC236}">
                  <a16:creationId xmlns:a16="http://schemas.microsoft.com/office/drawing/2014/main" id="{BD94E150-57B4-9302-CAD8-4D2FEC536EE6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3" name="Rechteck 732">
              <a:extLst>
                <a:ext uri="{FF2B5EF4-FFF2-40B4-BE49-F238E27FC236}">
                  <a16:creationId xmlns:a16="http://schemas.microsoft.com/office/drawing/2014/main" id="{C8DFD39B-05FA-DFED-2E1E-6007AD86B310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4" name="Rechteck 733">
              <a:extLst>
                <a:ext uri="{FF2B5EF4-FFF2-40B4-BE49-F238E27FC236}">
                  <a16:creationId xmlns:a16="http://schemas.microsoft.com/office/drawing/2014/main" id="{A4D8AC77-1C70-E38A-1EFA-00CC052DC304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5" name="Rechteck 734">
              <a:extLst>
                <a:ext uri="{FF2B5EF4-FFF2-40B4-BE49-F238E27FC236}">
                  <a16:creationId xmlns:a16="http://schemas.microsoft.com/office/drawing/2014/main" id="{6BA98046-9F44-426C-7EB4-890740600526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6" name="Rechteck 735">
              <a:extLst>
                <a:ext uri="{FF2B5EF4-FFF2-40B4-BE49-F238E27FC236}">
                  <a16:creationId xmlns:a16="http://schemas.microsoft.com/office/drawing/2014/main" id="{DABA0388-BFFC-0C96-008E-B7E85D4BD4C0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7" name="Rechteck 736">
              <a:extLst>
                <a:ext uri="{FF2B5EF4-FFF2-40B4-BE49-F238E27FC236}">
                  <a16:creationId xmlns:a16="http://schemas.microsoft.com/office/drawing/2014/main" id="{5710B4EE-8F0C-C45B-C780-E47758E9C3CE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8" name="Rechteck 737">
              <a:extLst>
                <a:ext uri="{FF2B5EF4-FFF2-40B4-BE49-F238E27FC236}">
                  <a16:creationId xmlns:a16="http://schemas.microsoft.com/office/drawing/2014/main" id="{0B7BFC41-30B5-9789-07D7-0778657EDAC0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9" name="Rechteck 738">
              <a:extLst>
                <a:ext uri="{FF2B5EF4-FFF2-40B4-BE49-F238E27FC236}">
                  <a16:creationId xmlns:a16="http://schemas.microsoft.com/office/drawing/2014/main" id="{6A2EB3DC-6DE7-3C8B-41FE-A0BC3E5BA3B6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0" name="Rechteck 739">
              <a:extLst>
                <a:ext uri="{FF2B5EF4-FFF2-40B4-BE49-F238E27FC236}">
                  <a16:creationId xmlns:a16="http://schemas.microsoft.com/office/drawing/2014/main" id="{52E1280B-948E-CA07-8870-4B010AC31E96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1" name="Rechteck 740">
              <a:extLst>
                <a:ext uri="{FF2B5EF4-FFF2-40B4-BE49-F238E27FC236}">
                  <a16:creationId xmlns:a16="http://schemas.microsoft.com/office/drawing/2014/main" id="{20656F19-E0C2-9EDA-B07C-12AA1CC602B8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2" name="Rechteck 741">
              <a:extLst>
                <a:ext uri="{FF2B5EF4-FFF2-40B4-BE49-F238E27FC236}">
                  <a16:creationId xmlns:a16="http://schemas.microsoft.com/office/drawing/2014/main" id="{445BA726-3880-A40F-FD5C-98D1A8032CBB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3" name="Rechteck 742">
              <a:extLst>
                <a:ext uri="{FF2B5EF4-FFF2-40B4-BE49-F238E27FC236}">
                  <a16:creationId xmlns:a16="http://schemas.microsoft.com/office/drawing/2014/main" id="{CFFF3B3B-1C06-1BA3-4FB8-B2D0C6A8AC15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4" name="Rechteck 743">
              <a:extLst>
                <a:ext uri="{FF2B5EF4-FFF2-40B4-BE49-F238E27FC236}">
                  <a16:creationId xmlns:a16="http://schemas.microsoft.com/office/drawing/2014/main" id="{9CC2B8E1-7273-14F3-94CE-C360B92AC580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5" name="Rechteck 744">
              <a:extLst>
                <a:ext uri="{FF2B5EF4-FFF2-40B4-BE49-F238E27FC236}">
                  <a16:creationId xmlns:a16="http://schemas.microsoft.com/office/drawing/2014/main" id="{868F8059-F94E-E2C1-F1FB-5395C82B0048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6" name="Rechteck 745">
              <a:extLst>
                <a:ext uri="{FF2B5EF4-FFF2-40B4-BE49-F238E27FC236}">
                  <a16:creationId xmlns:a16="http://schemas.microsoft.com/office/drawing/2014/main" id="{CD0562C3-3393-0711-38AA-6CF0EFC82FFC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7" name="Rechteck 746">
              <a:extLst>
                <a:ext uri="{FF2B5EF4-FFF2-40B4-BE49-F238E27FC236}">
                  <a16:creationId xmlns:a16="http://schemas.microsoft.com/office/drawing/2014/main" id="{D705009A-1E3E-AB0C-C8A0-4201A70907CB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8" name="Rechteck 747">
              <a:extLst>
                <a:ext uri="{FF2B5EF4-FFF2-40B4-BE49-F238E27FC236}">
                  <a16:creationId xmlns:a16="http://schemas.microsoft.com/office/drawing/2014/main" id="{CD1607BE-55A1-FDF2-C53D-4A38E52C153F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9" name="Rechteck 748">
              <a:extLst>
                <a:ext uri="{FF2B5EF4-FFF2-40B4-BE49-F238E27FC236}">
                  <a16:creationId xmlns:a16="http://schemas.microsoft.com/office/drawing/2014/main" id="{CA659FA1-42CF-7770-AE6D-24354BB246BD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0" name="Rechteck 749">
              <a:extLst>
                <a:ext uri="{FF2B5EF4-FFF2-40B4-BE49-F238E27FC236}">
                  <a16:creationId xmlns:a16="http://schemas.microsoft.com/office/drawing/2014/main" id="{D51F6EA7-F0CE-CCD9-6498-ACFD812D8E33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1" name="Rechteck 750">
              <a:extLst>
                <a:ext uri="{FF2B5EF4-FFF2-40B4-BE49-F238E27FC236}">
                  <a16:creationId xmlns:a16="http://schemas.microsoft.com/office/drawing/2014/main" id="{2DDD7E16-4891-19ED-5023-0F67382A6BD7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2" name="Rechteck 751">
              <a:extLst>
                <a:ext uri="{FF2B5EF4-FFF2-40B4-BE49-F238E27FC236}">
                  <a16:creationId xmlns:a16="http://schemas.microsoft.com/office/drawing/2014/main" id="{654AC03A-CCB6-D9BC-C70E-B07BD25DCA24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3" name="Rechteck 752">
              <a:extLst>
                <a:ext uri="{FF2B5EF4-FFF2-40B4-BE49-F238E27FC236}">
                  <a16:creationId xmlns:a16="http://schemas.microsoft.com/office/drawing/2014/main" id="{C0574C60-1494-FA6B-53F7-51C635A0A576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4" name="Rechteck 753">
              <a:extLst>
                <a:ext uri="{FF2B5EF4-FFF2-40B4-BE49-F238E27FC236}">
                  <a16:creationId xmlns:a16="http://schemas.microsoft.com/office/drawing/2014/main" id="{05E2885A-250B-CE2F-2DAE-7C5738D890D9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5" name="Rechteck 754">
              <a:extLst>
                <a:ext uri="{FF2B5EF4-FFF2-40B4-BE49-F238E27FC236}">
                  <a16:creationId xmlns:a16="http://schemas.microsoft.com/office/drawing/2014/main" id="{ECC77B60-BC67-14DB-C90C-ECDDF348D49D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6" name="Rechteck 755">
              <a:extLst>
                <a:ext uri="{FF2B5EF4-FFF2-40B4-BE49-F238E27FC236}">
                  <a16:creationId xmlns:a16="http://schemas.microsoft.com/office/drawing/2014/main" id="{3041A581-9372-B53D-0E8F-A6318632E29B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7" name="Rechteck 756">
              <a:extLst>
                <a:ext uri="{FF2B5EF4-FFF2-40B4-BE49-F238E27FC236}">
                  <a16:creationId xmlns:a16="http://schemas.microsoft.com/office/drawing/2014/main" id="{222E0576-67D2-9766-ECA7-062AA1088EFB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8" name="Rechteck 757">
              <a:extLst>
                <a:ext uri="{FF2B5EF4-FFF2-40B4-BE49-F238E27FC236}">
                  <a16:creationId xmlns:a16="http://schemas.microsoft.com/office/drawing/2014/main" id="{85772A9B-EC7E-5C9E-F3C4-BF8FB704FA2B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9" name="Rechteck 758">
              <a:extLst>
                <a:ext uri="{FF2B5EF4-FFF2-40B4-BE49-F238E27FC236}">
                  <a16:creationId xmlns:a16="http://schemas.microsoft.com/office/drawing/2014/main" id="{72897824-6517-D331-FF29-D2AD474A3602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0" name="Rechteck 759">
              <a:extLst>
                <a:ext uri="{FF2B5EF4-FFF2-40B4-BE49-F238E27FC236}">
                  <a16:creationId xmlns:a16="http://schemas.microsoft.com/office/drawing/2014/main" id="{BC42FBFA-3220-7353-9EBC-A128BB083A79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1" name="Rechteck 760">
              <a:extLst>
                <a:ext uri="{FF2B5EF4-FFF2-40B4-BE49-F238E27FC236}">
                  <a16:creationId xmlns:a16="http://schemas.microsoft.com/office/drawing/2014/main" id="{C38B8F7C-9ADF-3B48-77C7-C661088702C6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2" name="Rechteck 761">
              <a:extLst>
                <a:ext uri="{FF2B5EF4-FFF2-40B4-BE49-F238E27FC236}">
                  <a16:creationId xmlns:a16="http://schemas.microsoft.com/office/drawing/2014/main" id="{90DCF8A2-8B60-9FE5-F643-4A0813ABE85D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3" name="Rechteck 762">
              <a:extLst>
                <a:ext uri="{FF2B5EF4-FFF2-40B4-BE49-F238E27FC236}">
                  <a16:creationId xmlns:a16="http://schemas.microsoft.com/office/drawing/2014/main" id="{5A5EA978-0203-DFB4-86F3-EDC3C0669709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4" name="Rechteck 763">
              <a:extLst>
                <a:ext uri="{FF2B5EF4-FFF2-40B4-BE49-F238E27FC236}">
                  <a16:creationId xmlns:a16="http://schemas.microsoft.com/office/drawing/2014/main" id="{38793406-88A8-292A-88CB-ED9FE38AFE8F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5" name="Rechteck 764">
              <a:extLst>
                <a:ext uri="{FF2B5EF4-FFF2-40B4-BE49-F238E27FC236}">
                  <a16:creationId xmlns:a16="http://schemas.microsoft.com/office/drawing/2014/main" id="{E7EE255C-A013-B04D-097C-7CCD8036953D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6" name="Rechteck 765">
              <a:extLst>
                <a:ext uri="{FF2B5EF4-FFF2-40B4-BE49-F238E27FC236}">
                  <a16:creationId xmlns:a16="http://schemas.microsoft.com/office/drawing/2014/main" id="{876BFE06-DFB4-68CE-F247-3623219DA150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7" name="Rechteck 766">
              <a:extLst>
                <a:ext uri="{FF2B5EF4-FFF2-40B4-BE49-F238E27FC236}">
                  <a16:creationId xmlns:a16="http://schemas.microsoft.com/office/drawing/2014/main" id="{268A98C3-A89F-24AE-D42B-583C730A76C4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8" name="Rechteck 767">
              <a:extLst>
                <a:ext uri="{FF2B5EF4-FFF2-40B4-BE49-F238E27FC236}">
                  <a16:creationId xmlns:a16="http://schemas.microsoft.com/office/drawing/2014/main" id="{7B1A7CFA-F841-FC48-E5A0-F3AEA90FAC3A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9" name="Rechteck 768">
              <a:extLst>
                <a:ext uri="{FF2B5EF4-FFF2-40B4-BE49-F238E27FC236}">
                  <a16:creationId xmlns:a16="http://schemas.microsoft.com/office/drawing/2014/main" id="{CB92B09A-8A1B-DCCB-813B-A8CF8E96CFE4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0" name="Rechteck 769">
              <a:extLst>
                <a:ext uri="{FF2B5EF4-FFF2-40B4-BE49-F238E27FC236}">
                  <a16:creationId xmlns:a16="http://schemas.microsoft.com/office/drawing/2014/main" id="{9DE17890-FAE1-486F-D0CC-29B0839AC837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1" name="Rechteck 770">
              <a:extLst>
                <a:ext uri="{FF2B5EF4-FFF2-40B4-BE49-F238E27FC236}">
                  <a16:creationId xmlns:a16="http://schemas.microsoft.com/office/drawing/2014/main" id="{7B511644-F318-DF94-4452-811C07F7C506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2" name="Rechteck 771">
              <a:extLst>
                <a:ext uri="{FF2B5EF4-FFF2-40B4-BE49-F238E27FC236}">
                  <a16:creationId xmlns:a16="http://schemas.microsoft.com/office/drawing/2014/main" id="{10ECF239-422F-6B9F-1050-1B4D0F5C504D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sp>
        <p:nvSpPr>
          <p:cNvPr id="270" name="Subtitle">
            <a:extLst>
              <a:ext uri="{FF2B5EF4-FFF2-40B4-BE49-F238E27FC236}">
                <a16:creationId xmlns:a16="http://schemas.microsoft.com/office/drawing/2014/main" id="{5DAA3EBD-B768-872B-90F6-2AC1D1A8C782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695401" y="3140968"/>
            <a:ext cx="5544000" cy="72008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none" lIns="216000" tIns="0" rIns="21600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pPr lvl="0"/>
            <a:r>
              <a:rPr lang="en-GB"/>
              <a:t>gfk.com</a:t>
            </a:r>
          </a:p>
        </p:txBody>
      </p:sp>
      <p:pic>
        <p:nvPicPr>
          <p:cNvPr id="272" name="Logo">
            <a:extLst>
              <a:ext uri="{FF2B5EF4-FFF2-40B4-BE49-F238E27FC236}">
                <a16:creationId xmlns:a16="http://schemas.microsoft.com/office/drawing/2014/main" id="{C7A89EE6-02A6-14EB-6844-AAAD466698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  <p:cxnSp>
        <p:nvCxnSpPr>
          <p:cNvPr id="198" name="Line">
            <a:extLst>
              <a:ext uri="{FF2B5EF4-FFF2-40B4-BE49-F238E27FC236}">
                <a16:creationId xmlns:a16="http://schemas.microsoft.com/office/drawing/2014/main" id="{6E7F8EF2-CCB2-44AC-5B44-DA46363850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11424" y="925959"/>
            <a:ext cx="2304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9" name="Title">
            <a:extLst>
              <a:ext uri="{FF2B5EF4-FFF2-40B4-BE49-F238E27FC236}">
                <a16:creationId xmlns:a16="http://schemas.microsoft.com/office/drawing/2014/main" id="{D1945D40-A672-2FF9-16AF-19EE6D9800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695400" y="1927126"/>
            <a:ext cx="5688632" cy="1467149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wrap="square" lIns="216000" tIns="90000" rIns="216000" bIns="540000" anchor="t">
            <a:spAutoFit/>
          </a:bodyPr>
          <a:lstStyle>
            <a:lvl1pPr algn="l">
              <a:lnSpc>
                <a:spcPct val="90000"/>
              </a:lnSpc>
              <a:defRPr sz="3000" baseline="0"/>
            </a:lvl1pPr>
          </a:lstStyle>
          <a:p>
            <a:r>
              <a:rPr lang="en-GB"/>
              <a:t>[Thank You and </a:t>
            </a:r>
            <a:br>
              <a:rPr lang="en-GB"/>
            </a:br>
            <a:r>
              <a:rPr lang="en-GB"/>
              <a:t>Call to action]</a:t>
            </a:r>
          </a:p>
        </p:txBody>
      </p:sp>
    </p:spTree>
    <p:extLst>
      <p:ext uri="{BB962C8B-B14F-4D97-AF65-F5344CB8AC3E}">
        <p14:creationId xmlns:p14="http://schemas.microsoft.com/office/powerpoint/2010/main" val="30387767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16F404C-814B-9DFE-56B3-0F1EBE4621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3404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16F404C-814B-9DFE-56B3-0F1EBE4621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7" name="Gruppieren 796">
            <a:extLst>
              <a:ext uri="{FF2B5EF4-FFF2-40B4-BE49-F238E27FC236}">
                <a16:creationId xmlns:a16="http://schemas.microsoft.com/office/drawing/2014/main" id="{18E31C36-CDD2-04B3-CA5F-649AC3A56DC5}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798" name="Rechteck 797">
              <a:extLst>
                <a:ext uri="{FF2B5EF4-FFF2-40B4-BE49-F238E27FC236}">
                  <a16:creationId xmlns:a16="http://schemas.microsoft.com/office/drawing/2014/main" id="{CB4A7FB3-5111-1A48-5AF1-6BE39D15CA2B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99" name="Rechteck 798">
              <a:extLst>
                <a:ext uri="{FF2B5EF4-FFF2-40B4-BE49-F238E27FC236}">
                  <a16:creationId xmlns:a16="http://schemas.microsoft.com/office/drawing/2014/main" id="{666D1A6D-65CD-7D70-DF9F-97FD859E0DA1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00" name="Rechteck 799">
              <a:extLst>
                <a:ext uri="{FF2B5EF4-FFF2-40B4-BE49-F238E27FC236}">
                  <a16:creationId xmlns:a16="http://schemas.microsoft.com/office/drawing/2014/main" id="{9685C7C9-603F-5904-45D7-A181824A45C6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01" name="Rechteck 800">
              <a:extLst>
                <a:ext uri="{FF2B5EF4-FFF2-40B4-BE49-F238E27FC236}">
                  <a16:creationId xmlns:a16="http://schemas.microsoft.com/office/drawing/2014/main" id="{5598A012-32ED-4379-9B47-88AA76606F94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02" name="Rechteck 801">
              <a:extLst>
                <a:ext uri="{FF2B5EF4-FFF2-40B4-BE49-F238E27FC236}">
                  <a16:creationId xmlns:a16="http://schemas.microsoft.com/office/drawing/2014/main" id="{FC78B432-3B3F-FEFD-7968-4696FEB161AB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03" name="Rechteck 802">
              <a:extLst>
                <a:ext uri="{FF2B5EF4-FFF2-40B4-BE49-F238E27FC236}">
                  <a16:creationId xmlns:a16="http://schemas.microsoft.com/office/drawing/2014/main" id="{AC213284-29C0-8F3A-7210-CE2CFAC44DE3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04" name="Rechteck 803">
              <a:extLst>
                <a:ext uri="{FF2B5EF4-FFF2-40B4-BE49-F238E27FC236}">
                  <a16:creationId xmlns:a16="http://schemas.microsoft.com/office/drawing/2014/main" id="{90696E2C-A49D-A610-A93F-72FE2AF1861C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05" name="Rechteck 804">
              <a:extLst>
                <a:ext uri="{FF2B5EF4-FFF2-40B4-BE49-F238E27FC236}">
                  <a16:creationId xmlns:a16="http://schemas.microsoft.com/office/drawing/2014/main" id="{94AA6C07-01D5-59A6-4F37-5B80D3546C6B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06" name="Rechteck 805">
              <a:extLst>
                <a:ext uri="{FF2B5EF4-FFF2-40B4-BE49-F238E27FC236}">
                  <a16:creationId xmlns:a16="http://schemas.microsoft.com/office/drawing/2014/main" id="{1D1311CC-0420-622E-22C0-B7DA1BB72762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07" name="Rechteck 806">
              <a:extLst>
                <a:ext uri="{FF2B5EF4-FFF2-40B4-BE49-F238E27FC236}">
                  <a16:creationId xmlns:a16="http://schemas.microsoft.com/office/drawing/2014/main" id="{EEEC364C-7BC2-A55C-92AF-2AC0B7BE0159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08" name="Rechteck 807">
              <a:extLst>
                <a:ext uri="{FF2B5EF4-FFF2-40B4-BE49-F238E27FC236}">
                  <a16:creationId xmlns:a16="http://schemas.microsoft.com/office/drawing/2014/main" id="{4FBB09A5-FFB7-ADB9-774D-85C4AFE596A8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09" name="Rechteck 808">
              <a:extLst>
                <a:ext uri="{FF2B5EF4-FFF2-40B4-BE49-F238E27FC236}">
                  <a16:creationId xmlns:a16="http://schemas.microsoft.com/office/drawing/2014/main" id="{2CD8D199-2A6B-1F56-5CDC-B2BC7D639051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10" name="Rechteck 809">
              <a:extLst>
                <a:ext uri="{FF2B5EF4-FFF2-40B4-BE49-F238E27FC236}">
                  <a16:creationId xmlns:a16="http://schemas.microsoft.com/office/drawing/2014/main" id="{42CB796F-6164-2B56-C164-60BFDC755DBD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11" name="Rechteck 810">
              <a:extLst>
                <a:ext uri="{FF2B5EF4-FFF2-40B4-BE49-F238E27FC236}">
                  <a16:creationId xmlns:a16="http://schemas.microsoft.com/office/drawing/2014/main" id="{C458E90F-DECF-CD03-6CD6-68C8C04EE7E4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12" name="Rechteck 811">
              <a:extLst>
                <a:ext uri="{FF2B5EF4-FFF2-40B4-BE49-F238E27FC236}">
                  <a16:creationId xmlns:a16="http://schemas.microsoft.com/office/drawing/2014/main" id="{9DA7D94C-050C-34A0-3025-5FA0600265C9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13" name="Rechteck 812">
              <a:extLst>
                <a:ext uri="{FF2B5EF4-FFF2-40B4-BE49-F238E27FC236}">
                  <a16:creationId xmlns:a16="http://schemas.microsoft.com/office/drawing/2014/main" id="{287D988C-85BF-6B48-9AE5-787A1918A92F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14" name="Rechteck 813">
              <a:extLst>
                <a:ext uri="{FF2B5EF4-FFF2-40B4-BE49-F238E27FC236}">
                  <a16:creationId xmlns:a16="http://schemas.microsoft.com/office/drawing/2014/main" id="{56EAA463-96F6-4AEB-9590-FAC72A9FF3E4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15" name="Rechteck 814">
              <a:extLst>
                <a:ext uri="{FF2B5EF4-FFF2-40B4-BE49-F238E27FC236}">
                  <a16:creationId xmlns:a16="http://schemas.microsoft.com/office/drawing/2014/main" id="{DAAFD3F3-E60D-BD60-BAE7-2C9F39840322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16" name="Rechteck 815">
              <a:extLst>
                <a:ext uri="{FF2B5EF4-FFF2-40B4-BE49-F238E27FC236}">
                  <a16:creationId xmlns:a16="http://schemas.microsoft.com/office/drawing/2014/main" id="{7469B639-5654-B4B2-301C-B2A195990AC2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17" name="Rechteck 816">
              <a:extLst>
                <a:ext uri="{FF2B5EF4-FFF2-40B4-BE49-F238E27FC236}">
                  <a16:creationId xmlns:a16="http://schemas.microsoft.com/office/drawing/2014/main" id="{0B235F84-F13F-7026-A7B2-EE803E6343B8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18" name="Rechteck 817">
              <a:extLst>
                <a:ext uri="{FF2B5EF4-FFF2-40B4-BE49-F238E27FC236}">
                  <a16:creationId xmlns:a16="http://schemas.microsoft.com/office/drawing/2014/main" id="{F08BD829-0469-7A1D-ED41-DFED8CC3C214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19" name="Rechteck 818">
              <a:extLst>
                <a:ext uri="{FF2B5EF4-FFF2-40B4-BE49-F238E27FC236}">
                  <a16:creationId xmlns:a16="http://schemas.microsoft.com/office/drawing/2014/main" id="{2F6AC070-0D04-DFE9-8A90-C9C3D11CD41B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20" name="Rechteck 819">
              <a:extLst>
                <a:ext uri="{FF2B5EF4-FFF2-40B4-BE49-F238E27FC236}">
                  <a16:creationId xmlns:a16="http://schemas.microsoft.com/office/drawing/2014/main" id="{6732A629-6BEA-1E17-80F0-97C9313244A2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21" name="Rechteck 820">
              <a:extLst>
                <a:ext uri="{FF2B5EF4-FFF2-40B4-BE49-F238E27FC236}">
                  <a16:creationId xmlns:a16="http://schemas.microsoft.com/office/drawing/2014/main" id="{D5411F75-F711-4872-0630-38E610D71EC8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22" name="Rechteck 821">
              <a:extLst>
                <a:ext uri="{FF2B5EF4-FFF2-40B4-BE49-F238E27FC236}">
                  <a16:creationId xmlns:a16="http://schemas.microsoft.com/office/drawing/2014/main" id="{ABFFBA6C-BB33-2333-AEFF-DEA77F22D413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23" name="Rechteck 822">
              <a:extLst>
                <a:ext uri="{FF2B5EF4-FFF2-40B4-BE49-F238E27FC236}">
                  <a16:creationId xmlns:a16="http://schemas.microsoft.com/office/drawing/2014/main" id="{DA7B8043-F122-02EE-9727-11A2C62F866B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24" name="Rechteck 823">
              <a:extLst>
                <a:ext uri="{FF2B5EF4-FFF2-40B4-BE49-F238E27FC236}">
                  <a16:creationId xmlns:a16="http://schemas.microsoft.com/office/drawing/2014/main" id="{5C3B3919-CA17-A20B-ADC1-88CF5071535F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25" name="Rechteck 824">
              <a:extLst>
                <a:ext uri="{FF2B5EF4-FFF2-40B4-BE49-F238E27FC236}">
                  <a16:creationId xmlns:a16="http://schemas.microsoft.com/office/drawing/2014/main" id="{FCE00C98-A299-00C7-A705-522F0CCF6E3C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26" name="Rechteck 825">
              <a:extLst>
                <a:ext uri="{FF2B5EF4-FFF2-40B4-BE49-F238E27FC236}">
                  <a16:creationId xmlns:a16="http://schemas.microsoft.com/office/drawing/2014/main" id="{B15237C3-CCC5-AB99-934D-D008E34FB577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27" name="Rechteck 826">
              <a:extLst>
                <a:ext uri="{FF2B5EF4-FFF2-40B4-BE49-F238E27FC236}">
                  <a16:creationId xmlns:a16="http://schemas.microsoft.com/office/drawing/2014/main" id="{0FBE18D5-B92C-B5DE-8527-4AB6AAA58902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28" name="Rechteck 827">
              <a:extLst>
                <a:ext uri="{FF2B5EF4-FFF2-40B4-BE49-F238E27FC236}">
                  <a16:creationId xmlns:a16="http://schemas.microsoft.com/office/drawing/2014/main" id="{B6A15BE1-8E92-71C4-0722-F91ADA3D08D1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29" name="Rechteck 828">
              <a:extLst>
                <a:ext uri="{FF2B5EF4-FFF2-40B4-BE49-F238E27FC236}">
                  <a16:creationId xmlns:a16="http://schemas.microsoft.com/office/drawing/2014/main" id="{890880A8-B676-E9F5-30F2-AEF7319F82F6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30" name="Rechteck 829">
              <a:extLst>
                <a:ext uri="{FF2B5EF4-FFF2-40B4-BE49-F238E27FC236}">
                  <a16:creationId xmlns:a16="http://schemas.microsoft.com/office/drawing/2014/main" id="{58B32076-7010-70AB-47DB-2A9E766D343B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31" name="Rechteck 830">
              <a:extLst>
                <a:ext uri="{FF2B5EF4-FFF2-40B4-BE49-F238E27FC236}">
                  <a16:creationId xmlns:a16="http://schemas.microsoft.com/office/drawing/2014/main" id="{A7DEE6AA-3009-06D0-1AA5-C04105E892AD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32" name="Rechteck 831">
              <a:extLst>
                <a:ext uri="{FF2B5EF4-FFF2-40B4-BE49-F238E27FC236}">
                  <a16:creationId xmlns:a16="http://schemas.microsoft.com/office/drawing/2014/main" id="{C89F7EB9-DD8A-B64C-EBFB-4AA3030E9C86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33" name="Rechteck 832">
              <a:extLst>
                <a:ext uri="{FF2B5EF4-FFF2-40B4-BE49-F238E27FC236}">
                  <a16:creationId xmlns:a16="http://schemas.microsoft.com/office/drawing/2014/main" id="{7041C42E-9861-F095-9086-329339EFE1D0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34" name="Rechteck 833">
              <a:extLst>
                <a:ext uri="{FF2B5EF4-FFF2-40B4-BE49-F238E27FC236}">
                  <a16:creationId xmlns:a16="http://schemas.microsoft.com/office/drawing/2014/main" id="{FBA90863-A969-674C-2542-AF6BE2C0585D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35" name="Rechteck 834">
              <a:extLst>
                <a:ext uri="{FF2B5EF4-FFF2-40B4-BE49-F238E27FC236}">
                  <a16:creationId xmlns:a16="http://schemas.microsoft.com/office/drawing/2014/main" id="{BCF2B235-7843-9E9C-53AB-EA3DB7C70F8D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36" name="Rechteck 835">
              <a:extLst>
                <a:ext uri="{FF2B5EF4-FFF2-40B4-BE49-F238E27FC236}">
                  <a16:creationId xmlns:a16="http://schemas.microsoft.com/office/drawing/2014/main" id="{7A4B2C44-ACB5-9C04-66B1-94CC48CC12DC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37" name="Rechteck 836">
              <a:extLst>
                <a:ext uri="{FF2B5EF4-FFF2-40B4-BE49-F238E27FC236}">
                  <a16:creationId xmlns:a16="http://schemas.microsoft.com/office/drawing/2014/main" id="{5467E3D3-DAC6-D181-AE7B-5ADA622213B2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38" name="Rechteck 837">
              <a:extLst>
                <a:ext uri="{FF2B5EF4-FFF2-40B4-BE49-F238E27FC236}">
                  <a16:creationId xmlns:a16="http://schemas.microsoft.com/office/drawing/2014/main" id="{0604A39C-78F8-C308-C447-9E2C0F0B637B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39" name="Rechteck 838">
              <a:extLst>
                <a:ext uri="{FF2B5EF4-FFF2-40B4-BE49-F238E27FC236}">
                  <a16:creationId xmlns:a16="http://schemas.microsoft.com/office/drawing/2014/main" id="{4D209CF4-A854-A84D-7325-9727CF781A84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40" name="Rechteck 839">
              <a:extLst>
                <a:ext uri="{FF2B5EF4-FFF2-40B4-BE49-F238E27FC236}">
                  <a16:creationId xmlns:a16="http://schemas.microsoft.com/office/drawing/2014/main" id="{FB72D9D8-0D73-8F9B-C137-030F08FE8078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41" name="Rechteck 840">
              <a:extLst>
                <a:ext uri="{FF2B5EF4-FFF2-40B4-BE49-F238E27FC236}">
                  <a16:creationId xmlns:a16="http://schemas.microsoft.com/office/drawing/2014/main" id="{4417E7F1-07F6-47D1-3105-91024A09678C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42" name="Rechteck 841">
              <a:extLst>
                <a:ext uri="{FF2B5EF4-FFF2-40B4-BE49-F238E27FC236}">
                  <a16:creationId xmlns:a16="http://schemas.microsoft.com/office/drawing/2014/main" id="{ACB85D56-0C1A-E89C-5E2F-D8AFBA82FCE4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43" name="Rechteck 842">
              <a:extLst>
                <a:ext uri="{FF2B5EF4-FFF2-40B4-BE49-F238E27FC236}">
                  <a16:creationId xmlns:a16="http://schemas.microsoft.com/office/drawing/2014/main" id="{0F6D8E6E-8F01-5828-6EB4-BC1A60679729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44" name="Rechteck 843">
              <a:extLst>
                <a:ext uri="{FF2B5EF4-FFF2-40B4-BE49-F238E27FC236}">
                  <a16:creationId xmlns:a16="http://schemas.microsoft.com/office/drawing/2014/main" id="{39DC6C3E-45C0-021E-69B5-F2B00336EF0B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45" name="Rechteck 844">
              <a:extLst>
                <a:ext uri="{FF2B5EF4-FFF2-40B4-BE49-F238E27FC236}">
                  <a16:creationId xmlns:a16="http://schemas.microsoft.com/office/drawing/2014/main" id="{6A195341-A24A-62BF-5B98-A7EC93E67287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46" name="Rechteck 845">
              <a:extLst>
                <a:ext uri="{FF2B5EF4-FFF2-40B4-BE49-F238E27FC236}">
                  <a16:creationId xmlns:a16="http://schemas.microsoft.com/office/drawing/2014/main" id="{164FE846-3DD7-F692-6B45-AC76ED227EFE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47" name="Rechteck 846">
              <a:extLst>
                <a:ext uri="{FF2B5EF4-FFF2-40B4-BE49-F238E27FC236}">
                  <a16:creationId xmlns:a16="http://schemas.microsoft.com/office/drawing/2014/main" id="{5F7CDF77-EEC4-F3FE-8840-D40958A93CAA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48" name="Rechteck 847">
              <a:extLst>
                <a:ext uri="{FF2B5EF4-FFF2-40B4-BE49-F238E27FC236}">
                  <a16:creationId xmlns:a16="http://schemas.microsoft.com/office/drawing/2014/main" id="{A5054CBC-D618-628F-6C1D-2BF3265B7929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49" name="Rechteck 848">
              <a:extLst>
                <a:ext uri="{FF2B5EF4-FFF2-40B4-BE49-F238E27FC236}">
                  <a16:creationId xmlns:a16="http://schemas.microsoft.com/office/drawing/2014/main" id="{52065B4D-5480-1DD6-FDFA-1F9C5D092838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50" name="Rechteck 849">
              <a:extLst>
                <a:ext uri="{FF2B5EF4-FFF2-40B4-BE49-F238E27FC236}">
                  <a16:creationId xmlns:a16="http://schemas.microsoft.com/office/drawing/2014/main" id="{959EFBB6-C8BB-0A30-0028-5C95628A6588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51" name="Rechteck 850">
              <a:extLst>
                <a:ext uri="{FF2B5EF4-FFF2-40B4-BE49-F238E27FC236}">
                  <a16:creationId xmlns:a16="http://schemas.microsoft.com/office/drawing/2014/main" id="{9B41C9F4-4504-3AEA-E62F-5AAF472FCC87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52" name="Rechteck 851">
              <a:extLst>
                <a:ext uri="{FF2B5EF4-FFF2-40B4-BE49-F238E27FC236}">
                  <a16:creationId xmlns:a16="http://schemas.microsoft.com/office/drawing/2014/main" id="{2846F681-06FE-78C3-5BD1-DEDD99707D52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53" name="Rechteck 852">
              <a:extLst>
                <a:ext uri="{FF2B5EF4-FFF2-40B4-BE49-F238E27FC236}">
                  <a16:creationId xmlns:a16="http://schemas.microsoft.com/office/drawing/2014/main" id="{A4F8D042-C9E1-3C50-4A42-7B8A21D9D0DA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54" name="Rechteck 853">
              <a:extLst>
                <a:ext uri="{FF2B5EF4-FFF2-40B4-BE49-F238E27FC236}">
                  <a16:creationId xmlns:a16="http://schemas.microsoft.com/office/drawing/2014/main" id="{17628820-63E8-0C0B-1B52-87E7A798E2ED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55" name="Rechteck 854">
              <a:extLst>
                <a:ext uri="{FF2B5EF4-FFF2-40B4-BE49-F238E27FC236}">
                  <a16:creationId xmlns:a16="http://schemas.microsoft.com/office/drawing/2014/main" id="{D4857A53-AA25-C5B5-C62E-D8EC5D00B5E9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56" name="Rechteck 855">
              <a:extLst>
                <a:ext uri="{FF2B5EF4-FFF2-40B4-BE49-F238E27FC236}">
                  <a16:creationId xmlns:a16="http://schemas.microsoft.com/office/drawing/2014/main" id="{9554AE00-33D1-9901-74FD-C7C480A0C4BF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57" name="Rechteck 856">
              <a:extLst>
                <a:ext uri="{FF2B5EF4-FFF2-40B4-BE49-F238E27FC236}">
                  <a16:creationId xmlns:a16="http://schemas.microsoft.com/office/drawing/2014/main" id="{E18A28BF-D90B-7FCC-097B-01A58B47BE5A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58" name="Rechteck 857">
              <a:extLst>
                <a:ext uri="{FF2B5EF4-FFF2-40B4-BE49-F238E27FC236}">
                  <a16:creationId xmlns:a16="http://schemas.microsoft.com/office/drawing/2014/main" id="{9D1043CA-1347-B7C0-C608-0D37AE3798A5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59" name="Rechteck 858">
              <a:extLst>
                <a:ext uri="{FF2B5EF4-FFF2-40B4-BE49-F238E27FC236}">
                  <a16:creationId xmlns:a16="http://schemas.microsoft.com/office/drawing/2014/main" id="{6775D9CD-9541-1DB4-4500-EEAC84730A78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60" name="Rechteck 859">
              <a:extLst>
                <a:ext uri="{FF2B5EF4-FFF2-40B4-BE49-F238E27FC236}">
                  <a16:creationId xmlns:a16="http://schemas.microsoft.com/office/drawing/2014/main" id="{A141D2A8-32EC-0BDC-69C0-6536BF3D30CA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61" name="Rechteck 860">
              <a:extLst>
                <a:ext uri="{FF2B5EF4-FFF2-40B4-BE49-F238E27FC236}">
                  <a16:creationId xmlns:a16="http://schemas.microsoft.com/office/drawing/2014/main" id="{D7438712-AF86-5C9D-1265-35623D13BA2B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62" name="Rechteck 861">
              <a:extLst>
                <a:ext uri="{FF2B5EF4-FFF2-40B4-BE49-F238E27FC236}">
                  <a16:creationId xmlns:a16="http://schemas.microsoft.com/office/drawing/2014/main" id="{4B0EDF7B-9C31-496F-EA7C-F6339ED79A5B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63" name="Rechteck 862">
              <a:extLst>
                <a:ext uri="{FF2B5EF4-FFF2-40B4-BE49-F238E27FC236}">
                  <a16:creationId xmlns:a16="http://schemas.microsoft.com/office/drawing/2014/main" id="{2F2F28C2-6749-1E1B-FB02-253AB279DE8D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64" name="Rechteck 863">
              <a:extLst>
                <a:ext uri="{FF2B5EF4-FFF2-40B4-BE49-F238E27FC236}">
                  <a16:creationId xmlns:a16="http://schemas.microsoft.com/office/drawing/2014/main" id="{1447EEB4-BFD5-B500-E6D8-BCE910041E3F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65" name="Rechteck 864">
              <a:extLst>
                <a:ext uri="{FF2B5EF4-FFF2-40B4-BE49-F238E27FC236}">
                  <a16:creationId xmlns:a16="http://schemas.microsoft.com/office/drawing/2014/main" id="{B8289306-C784-72C9-2271-05152E5596E2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66" name="Rechteck 865">
              <a:extLst>
                <a:ext uri="{FF2B5EF4-FFF2-40B4-BE49-F238E27FC236}">
                  <a16:creationId xmlns:a16="http://schemas.microsoft.com/office/drawing/2014/main" id="{F8976596-83CD-3E52-8B5E-9368F32C8275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67" name="Rechteck 866">
              <a:extLst>
                <a:ext uri="{FF2B5EF4-FFF2-40B4-BE49-F238E27FC236}">
                  <a16:creationId xmlns:a16="http://schemas.microsoft.com/office/drawing/2014/main" id="{2D8B26A8-32FE-CF95-3109-C46A20552142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68" name="Rechteck 867">
              <a:extLst>
                <a:ext uri="{FF2B5EF4-FFF2-40B4-BE49-F238E27FC236}">
                  <a16:creationId xmlns:a16="http://schemas.microsoft.com/office/drawing/2014/main" id="{B9508BEE-FCFB-B324-2244-4371A26857D2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69" name="Rechteck 868">
              <a:extLst>
                <a:ext uri="{FF2B5EF4-FFF2-40B4-BE49-F238E27FC236}">
                  <a16:creationId xmlns:a16="http://schemas.microsoft.com/office/drawing/2014/main" id="{796CFFAF-9F64-7114-DAAE-B7A0107D101E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70" name="Rechteck 869">
              <a:extLst>
                <a:ext uri="{FF2B5EF4-FFF2-40B4-BE49-F238E27FC236}">
                  <a16:creationId xmlns:a16="http://schemas.microsoft.com/office/drawing/2014/main" id="{97273EC4-D9FA-81D6-1ECA-5ACADF0310D1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71" name="Rechteck 870">
              <a:extLst>
                <a:ext uri="{FF2B5EF4-FFF2-40B4-BE49-F238E27FC236}">
                  <a16:creationId xmlns:a16="http://schemas.microsoft.com/office/drawing/2014/main" id="{6D6D43F6-636A-6267-8D3B-76E801F3F1B8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72" name="Rechteck 871">
              <a:extLst>
                <a:ext uri="{FF2B5EF4-FFF2-40B4-BE49-F238E27FC236}">
                  <a16:creationId xmlns:a16="http://schemas.microsoft.com/office/drawing/2014/main" id="{13E44501-F893-7599-EFAA-ACA93CE8D181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73" name="Rechteck 872">
              <a:extLst>
                <a:ext uri="{FF2B5EF4-FFF2-40B4-BE49-F238E27FC236}">
                  <a16:creationId xmlns:a16="http://schemas.microsoft.com/office/drawing/2014/main" id="{DB8A4AB2-A4BD-D460-F697-75F446145335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74" name="Rechteck 873">
              <a:extLst>
                <a:ext uri="{FF2B5EF4-FFF2-40B4-BE49-F238E27FC236}">
                  <a16:creationId xmlns:a16="http://schemas.microsoft.com/office/drawing/2014/main" id="{3B7C5169-4B93-F020-8301-08E8D8F859B7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75" name="Rechteck 874">
              <a:extLst>
                <a:ext uri="{FF2B5EF4-FFF2-40B4-BE49-F238E27FC236}">
                  <a16:creationId xmlns:a16="http://schemas.microsoft.com/office/drawing/2014/main" id="{D66F246E-E2AD-4FCE-DA02-A0569419AB01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76" name="Rechteck 875">
              <a:extLst>
                <a:ext uri="{FF2B5EF4-FFF2-40B4-BE49-F238E27FC236}">
                  <a16:creationId xmlns:a16="http://schemas.microsoft.com/office/drawing/2014/main" id="{8F441EA5-933C-0DAA-C135-0A106AE930DC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77" name="Rechteck 876">
              <a:extLst>
                <a:ext uri="{FF2B5EF4-FFF2-40B4-BE49-F238E27FC236}">
                  <a16:creationId xmlns:a16="http://schemas.microsoft.com/office/drawing/2014/main" id="{2301517F-6B9D-C113-ED01-252F69F32641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78" name="Rechteck 877">
              <a:extLst>
                <a:ext uri="{FF2B5EF4-FFF2-40B4-BE49-F238E27FC236}">
                  <a16:creationId xmlns:a16="http://schemas.microsoft.com/office/drawing/2014/main" id="{AD387318-ABEA-BE68-FD8A-B09A22C2D0E4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79" name="Rechteck 878">
              <a:extLst>
                <a:ext uri="{FF2B5EF4-FFF2-40B4-BE49-F238E27FC236}">
                  <a16:creationId xmlns:a16="http://schemas.microsoft.com/office/drawing/2014/main" id="{B1BCC114-981E-CECE-94E3-5D845DDFDF4A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80" name="Rechteck 879">
              <a:extLst>
                <a:ext uri="{FF2B5EF4-FFF2-40B4-BE49-F238E27FC236}">
                  <a16:creationId xmlns:a16="http://schemas.microsoft.com/office/drawing/2014/main" id="{68DAB19E-E237-B5A1-56E0-F70BE632D9C2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81" name="Rechteck 880">
              <a:extLst>
                <a:ext uri="{FF2B5EF4-FFF2-40B4-BE49-F238E27FC236}">
                  <a16:creationId xmlns:a16="http://schemas.microsoft.com/office/drawing/2014/main" id="{D03098B9-8BDD-DEF3-9B72-085AD7A0EE17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82" name="Rechteck 881">
              <a:extLst>
                <a:ext uri="{FF2B5EF4-FFF2-40B4-BE49-F238E27FC236}">
                  <a16:creationId xmlns:a16="http://schemas.microsoft.com/office/drawing/2014/main" id="{E5833FD7-4A71-D266-0F33-7449DC5D6AE0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83" name="Rechteck 882">
              <a:extLst>
                <a:ext uri="{FF2B5EF4-FFF2-40B4-BE49-F238E27FC236}">
                  <a16:creationId xmlns:a16="http://schemas.microsoft.com/office/drawing/2014/main" id="{40965E07-8AF6-2EEB-5BD5-24E7BDC08D23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84" name="Rechteck 883">
              <a:extLst>
                <a:ext uri="{FF2B5EF4-FFF2-40B4-BE49-F238E27FC236}">
                  <a16:creationId xmlns:a16="http://schemas.microsoft.com/office/drawing/2014/main" id="{524BA64C-7AE1-629B-DC3B-B98C431EBD66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85" name="Rechteck 884">
              <a:extLst>
                <a:ext uri="{FF2B5EF4-FFF2-40B4-BE49-F238E27FC236}">
                  <a16:creationId xmlns:a16="http://schemas.microsoft.com/office/drawing/2014/main" id="{22738F78-25D2-86AA-2738-1658B9642003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86" name="Rechteck 885">
              <a:extLst>
                <a:ext uri="{FF2B5EF4-FFF2-40B4-BE49-F238E27FC236}">
                  <a16:creationId xmlns:a16="http://schemas.microsoft.com/office/drawing/2014/main" id="{58481F6F-CDDB-596C-F1D2-F9F9A04DD6EF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87" name="Rechteck 886">
              <a:extLst>
                <a:ext uri="{FF2B5EF4-FFF2-40B4-BE49-F238E27FC236}">
                  <a16:creationId xmlns:a16="http://schemas.microsoft.com/office/drawing/2014/main" id="{7BAC2EFB-CEC1-3EA3-1C8C-325C7A741EDF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88" name="Rechteck 887">
              <a:extLst>
                <a:ext uri="{FF2B5EF4-FFF2-40B4-BE49-F238E27FC236}">
                  <a16:creationId xmlns:a16="http://schemas.microsoft.com/office/drawing/2014/main" id="{399DA0FC-7FE3-3C10-5236-AE58EA4A5627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89" name="Rechteck 888">
              <a:extLst>
                <a:ext uri="{FF2B5EF4-FFF2-40B4-BE49-F238E27FC236}">
                  <a16:creationId xmlns:a16="http://schemas.microsoft.com/office/drawing/2014/main" id="{5FBFDB25-6339-51DD-27E6-315D545285D3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90" name="Rechteck 889">
              <a:extLst>
                <a:ext uri="{FF2B5EF4-FFF2-40B4-BE49-F238E27FC236}">
                  <a16:creationId xmlns:a16="http://schemas.microsoft.com/office/drawing/2014/main" id="{8D9A3026-4FC1-E77F-1A85-FE2E096BC64F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91" name="Rechteck 890">
              <a:extLst>
                <a:ext uri="{FF2B5EF4-FFF2-40B4-BE49-F238E27FC236}">
                  <a16:creationId xmlns:a16="http://schemas.microsoft.com/office/drawing/2014/main" id="{3E057DA9-4F16-2464-7825-F5BD7D689FF3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92" name="Rechteck 891">
              <a:extLst>
                <a:ext uri="{FF2B5EF4-FFF2-40B4-BE49-F238E27FC236}">
                  <a16:creationId xmlns:a16="http://schemas.microsoft.com/office/drawing/2014/main" id="{DA1FEBB3-9199-4266-0F07-4CABF2550D0B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93" name="Rechteck 892">
              <a:extLst>
                <a:ext uri="{FF2B5EF4-FFF2-40B4-BE49-F238E27FC236}">
                  <a16:creationId xmlns:a16="http://schemas.microsoft.com/office/drawing/2014/main" id="{1A34EDCD-4B0E-C585-C2A7-FB15FB927D84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94" name="Rechteck 893">
              <a:extLst>
                <a:ext uri="{FF2B5EF4-FFF2-40B4-BE49-F238E27FC236}">
                  <a16:creationId xmlns:a16="http://schemas.microsoft.com/office/drawing/2014/main" id="{D7EC70CC-4766-ACBE-F4B7-222FB3D3FBE6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95" name="Rechteck 894">
              <a:extLst>
                <a:ext uri="{FF2B5EF4-FFF2-40B4-BE49-F238E27FC236}">
                  <a16:creationId xmlns:a16="http://schemas.microsoft.com/office/drawing/2014/main" id="{07BD716B-7BA0-A01B-75ED-C99559591AA4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96" name="Rechteck 895">
              <a:extLst>
                <a:ext uri="{FF2B5EF4-FFF2-40B4-BE49-F238E27FC236}">
                  <a16:creationId xmlns:a16="http://schemas.microsoft.com/office/drawing/2014/main" id="{B1A4D53A-6209-F788-683F-CB126D893BB8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97" name="Rechteck 896">
              <a:extLst>
                <a:ext uri="{FF2B5EF4-FFF2-40B4-BE49-F238E27FC236}">
                  <a16:creationId xmlns:a16="http://schemas.microsoft.com/office/drawing/2014/main" id="{30F15415-DC9F-C8E8-55D6-D46A1DD96E07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98" name="Rechteck 897">
              <a:extLst>
                <a:ext uri="{FF2B5EF4-FFF2-40B4-BE49-F238E27FC236}">
                  <a16:creationId xmlns:a16="http://schemas.microsoft.com/office/drawing/2014/main" id="{9C037508-FA1D-1967-DAD8-47EF60B0395D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99" name="Rechteck 898">
              <a:extLst>
                <a:ext uri="{FF2B5EF4-FFF2-40B4-BE49-F238E27FC236}">
                  <a16:creationId xmlns:a16="http://schemas.microsoft.com/office/drawing/2014/main" id="{7FC4FDD3-1FB5-EF07-B599-F2DD8E87AD71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00" name="Rechteck 899">
              <a:extLst>
                <a:ext uri="{FF2B5EF4-FFF2-40B4-BE49-F238E27FC236}">
                  <a16:creationId xmlns:a16="http://schemas.microsoft.com/office/drawing/2014/main" id="{20E993A2-5C01-A802-FB62-31AA27CF0FFE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01" name="Rechteck 900">
              <a:extLst>
                <a:ext uri="{FF2B5EF4-FFF2-40B4-BE49-F238E27FC236}">
                  <a16:creationId xmlns:a16="http://schemas.microsoft.com/office/drawing/2014/main" id="{224C14B3-7990-3F7C-ED19-B8428C2C6604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02" name="Rechteck 901">
              <a:extLst>
                <a:ext uri="{FF2B5EF4-FFF2-40B4-BE49-F238E27FC236}">
                  <a16:creationId xmlns:a16="http://schemas.microsoft.com/office/drawing/2014/main" id="{55FED788-4480-06BC-DF52-98DDC450FEB5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03" name="Rechteck 902">
              <a:extLst>
                <a:ext uri="{FF2B5EF4-FFF2-40B4-BE49-F238E27FC236}">
                  <a16:creationId xmlns:a16="http://schemas.microsoft.com/office/drawing/2014/main" id="{193A1385-510A-842F-4549-63CF7B3E70AC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04" name="Rechteck 903">
              <a:extLst>
                <a:ext uri="{FF2B5EF4-FFF2-40B4-BE49-F238E27FC236}">
                  <a16:creationId xmlns:a16="http://schemas.microsoft.com/office/drawing/2014/main" id="{7B4BCCA5-925D-C66A-1F01-B5FF8AA5225C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05" name="Rechteck 904">
              <a:extLst>
                <a:ext uri="{FF2B5EF4-FFF2-40B4-BE49-F238E27FC236}">
                  <a16:creationId xmlns:a16="http://schemas.microsoft.com/office/drawing/2014/main" id="{020C98EB-4DDE-0DCD-8849-7AFF7EC0F35D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06" name="Rechteck 905">
              <a:extLst>
                <a:ext uri="{FF2B5EF4-FFF2-40B4-BE49-F238E27FC236}">
                  <a16:creationId xmlns:a16="http://schemas.microsoft.com/office/drawing/2014/main" id="{5BC08C52-4E75-B2C1-FCBA-90462A004C73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07" name="Rechteck 906">
              <a:extLst>
                <a:ext uri="{FF2B5EF4-FFF2-40B4-BE49-F238E27FC236}">
                  <a16:creationId xmlns:a16="http://schemas.microsoft.com/office/drawing/2014/main" id="{8FE29ED2-5729-D67F-F407-DE60F983D2C4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08" name="Rechteck 907">
              <a:extLst>
                <a:ext uri="{FF2B5EF4-FFF2-40B4-BE49-F238E27FC236}">
                  <a16:creationId xmlns:a16="http://schemas.microsoft.com/office/drawing/2014/main" id="{06199F18-8831-F211-F4A5-7B2EFFA3D91F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09" name="Rechteck 908">
              <a:extLst>
                <a:ext uri="{FF2B5EF4-FFF2-40B4-BE49-F238E27FC236}">
                  <a16:creationId xmlns:a16="http://schemas.microsoft.com/office/drawing/2014/main" id="{84B7E6B7-BB02-6222-F77D-56AB364E1B1B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10" name="Rechteck 909">
              <a:extLst>
                <a:ext uri="{FF2B5EF4-FFF2-40B4-BE49-F238E27FC236}">
                  <a16:creationId xmlns:a16="http://schemas.microsoft.com/office/drawing/2014/main" id="{741E9D2A-2EFD-9401-CFB0-B0C7BD870313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11" name="Rechteck 910">
              <a:extLst>
                <a:ext uri="{FF2B5EF4-FFF2-40B4-BE49-F238E27FC236}">
                  <a16:creationId xmlns:a16="http://schemas.microsoft.com/office/drawing/2014/main" id="{CC3B5957-54E3-A70E-AFE8-0E8C2AFDE212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12" name="Rechteck 911">
              <a:extLst>
                <a:ext uri="{FF2B5EF4-FFF2-40B4-BE49-F238E27FC236}">
                  <a16:creationId xmlns:a16="http://schemas.microsoft.com/office/drawing/2014/main" id="{2F81563D-DFAA-A1A8-6C25-50D8122B4AB9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13" name="Rechteck 912">
              <a:extLst>
                <a:ext uri="{FF2B5EF4-FFF2-40B4-BE49-F238E27FC236}">
                  <a16:creationId xmlns:a16="http://schemas.microsoft.com/office/drawing/2014/main" id="{F8BF82C4-A7A0-2DB9-B3FC-3E244A91B013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14" name="Rechteck 913">
              <a:extLst>
                <a:ext uri="{FF2B5EF4-FFF2-40B4-BE49-F238E27FC236}">
                  <a16:creationId xmlns:a16="http://schemas.microsoft.com/office/drawing/2014/main" id="{E6520E41-523D-F77C-9BCD-6813BCB047FA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15" name="Rechteck 914">
              <a:extLst>
                <a:ext uri="{FF2B5EF4-FFF2-40B4-BE49-F238E27FC236}">
                  <a16:creationId xmlns:a16="http://schemas.microsoft.com/office/drawing/2014/main" id="{AF2A62DB-7C62-332B-4AF3-D2E94A9B0066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16" name="Rechteck 915">
              <a:extLst>
                <a:ext uri="{FF2B5EF4-FFF2-40B4-BE49-F238E27FC236}">
                  <a16:creationId xmlns:a16="http://schemas.microsoft.com/office/drawing/2014/main" id="{22EA7930-8E66-4353-F00D-870670CC3AD2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17" name="Rechteck 916">
              <a:extLst>
                <a:ext uri="{FF2B5EF4-FFF2-40B4-BE49-F238E27FC236}">
                  <a16:creationId xmlns:a16="http://schemas.microsoft.com/office/drawing/2014/main" id="{E6A9B08B-631C-6262-3CBD-2F02788A22C7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18" name="Rechteck 917">
              <a:extLst>
                <a:ext uri="{FF2B5EF4-FFF2-40B4-BE49-F238E27FC236}">
                  <a16:creationId xmlns:a16="http://schemas.microsoft.com/office/drawing/2014/main" id="{1F2F13AA-E5FE-AEE7-B291-413059034D98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19" name="Rechteck 918">
              <a:extLst>
                <a:ext uri="{FF2B5EF4-FFF2-40B4-BE49-F238E27FC236}">
                  <a16:creationId xmlns:a16="http://schemas.microsoft.com/office/drawing/2014/main" id="{C1BA412A-EAA3-838F-E6E7-742E8B16E11D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20" name="Rechteck 919">
              <a:extLst>
                <a:ext uri="{FF2B5EF4-FFF2-40B4-BE49-F238E27FC236}">
                  <a16:creationId xmlns:a16="http://schemas.microsoft.com/office/drawing/2014/main" id="{F2F19031-5BE1-9C61-C3E2-A5B3C1F353EA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21" name="Rechteck 920">
              <a:extLst>
                <a:ext uri="{FF2B5EF4-FFF2-40B4-BE49-F238E27FC236}">
                  <a16:creationId xmlns:a16="http://schemas.microsoft.com/office/drawing/2014/main" id="{87B85A63-2DBE-E8F3-9437-AAC722215B21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22" name="Rechteck 921">
              <a:extLst>
                <a:ext uri="{FF2B5EF4-FFF2-40B4-BE49-F238E27FC236}">
                  <a16:creationId xmlns:a16="http://schemas.microsoft.com/office/drawing/2014/main" id="{07BE7378-0A76-734A-6FA4-82C320A05652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23" name="Rechteck 922">
              <a:extLst>
                <a:ext uri="{FF2B5EF4-FFF2-40B4-BE49-F238E27FC236}">
                  <a16:creationId xmlns:a16="http://schemas.microsoft.com/office/drawing/2014/main" id="{ED20F6CC-95EB-AC3B-CE02-ECE99A0EE839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24" name="Rechteck 923">
              <a:extLst>
                <a:ext uri="{FF2B5EF4-FFF2-40B4-BE49-F238E27FC236}">
                  <a16:creationId xmlns:a16="http://schemas.microsoft.com/office/drawing/2014/main" id="{41990BA0-A884-2241-5F8E-CD6E44477A1D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25" name="Rechteck 924">
              <a:extLst>
                <a:ext uri="{FF2B5EF4-FFF2-40B4-BE49-F238E27FC236}">
                  <a16:creationId xmlns:a16="http://schemas.microsoft.com/office/drawing/2014/main" id="{7A4CD870-5743-B0A5-9B28-ADECE0F2528C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26" name="Rechteck 925">
              <a:extLst>
                <a:ext uri="{FF2B5EF4-FFF2-40B4-BE49-F238E27FC236}">
                  <a16:creationId xmlns:a16="http://schemas.microsoft.com/office/drawing/2014/main" id="{C29E8053-11CC-10AB-3366-664E2932991A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27" name="Rechteck 926">
              <a:extLst>
                <a:ext uri="{FF2B5EF4-FFF2-40B4-BE49-F238E27FC236}">
                  <a16:creationId xmlns:a16="http://schemas.microsoft.com/office/drawing/2014/main" id="{38FB277F-A046-DE38-F84F-96177BAC96AA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28" name="Rechteck 927">
              <a:extLst>
                <a:ext uri="{FF2B5EF4-FFF2-40B4-BE49-F238E27FC236}">
                  <a16:creationId xmlns:a16="http://schemas.microsoft.com/office/drawing/2014/main" id="{3258A46E-8941-351B-324B-CD944E9AC0B8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29" name="Rechteck 928">
              <a:extLst>
                <a:ext uri="{FF2B5EF4-FFF2-40B4-BE49-F238E27FC236}">
                  <a16:creationId xmlns:a16="http://schemas.microsoft.com/office/drawing/2014/main" id="{4A012A93-E9C6-E018-30E4-009F5E31F5AD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30" name="Rechteck 929">
              <a:extLst>
                <a:ext uri="{FF2B5EF4-FFF2-40B4-BE49-F238E27FC236}">
                  <a16:creationId xmlns:a16="http://schemas.microsoft.com/office/drawing/2014/main" id="{42CE96EE-C205-51A5-0180-C360580F1023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31" name="Rechteck 930">
              <a:extLst>
                <a:ext uri="{FF2B5EF4-FFF2-40B4-BE49-F238E27FC236}">
                  <a16:creationId xmlns:a16="http://schemas.microsoft.com/office/drawing/2014/main" id="{9873D6D4-9E47-32D6-2734-1715C5D73311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32" name="Rechteck 931">
              <a:extLst>
                <a:ext uri="{FF2B5EF4-FFF2-40B4-BE49-F238E27FC236}">
                  <a16:creationId xmlns:a16="http://schemas.microsoft.com/office/drawing/2014/main" id="{F8A49CFF-A020-20DF-0D58-90385C5DFE1A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33" name="Rechteck 932">
              <a:extLst>
                <a:ext uri="{FF2B5EF4-FFF2-40B4-BE49-F238E27FC236}">
                  <a16:creationId xmlns:a16="http://schemas.microsoft.com/office/drawing/2014/main" id="{7D175062-B3FA-AD6D-BC01-AA0CECF061CC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34" name="Rechteck 933">
              <a:extLst>
                <a:ext uri="{FF2B5EF4-FFF2-40B4-BE49-F238E27FC236}">
                  <a16:creationId xmlns:a16="http://schemas.microsoft.com/office/drawing/2014/main" id="{974A26B8-6E53-E646-3356-698B787160AF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35" name="Rechteck 934">
              <a:extLst>
                <a:ext uri="{FF2B5EF4-FFF2-40B4-BE49-F238E27FC236}">
                  <a16:creationId xmlns:a16="http://schemas.microsoft.com/office/drawing/2014/main" id="{CC86BE8A-AD65-7A01-7E6F-7F2CD6A01D6E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36" name="Rechteck 935">
              <a:extLst>
                <a:ext uri="{FF2B5EF4-FFF2-40B4-BE49-F238E27FC236}">
                  <a16:creationId xmlns:a16="http://schemas.microsoft.com/office/drawing/2014/main" id="{B2ACD7E3-86A3-810A-C89A-DABBC9A61CEF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37" name="Rechteck 936">
              <a:extLst>
                <a:ext uri="{FF2B5EF4-FFF2-40B4-BE49-F238E27FC236}">
                  <a16:creationId xmlns:a16="http://schemas.microsoft.com/office/drawing/2014/main" id="{4EE21D62-4A0C-4DFD-AD2E-55377B55BAE8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38" name="Rechteck 937">
              <a:extLst>
                <a:ext uri="{FF2B5EF4-FFF2-40B4-BE49-F238E27FC236}">
                  <a16:creationId xmlns:a16="http://schemas.microsoft.com/office/drawing/2014/main" id="{D2EBC148-3280-29A1-31EF-72FDA9B13729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39" name="Rechteck 938">
              <a:extLst>
                <a:ext uri="{FF2B5EF4-FFF2-40B4-BE49-F238E27FC236}">
                  <a16:creationId xmlns:a16="http://schemas.microsoft.com/office/drawing/2014/main" id="{02E8F716-E944-C052-CE36-10C6799A12A0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40" name="Rechteck 939">
              <a:extLst>
                <a:ext uri="{FF2B5EF4-FFF2-40B4-BE49-F238E27FC236}">
                  <a16:creationId xmlns:a16="http://schemas.microsoft.com/office/drawing/2014/main" id="{1F5F36DE-71BA-83AB-4FC1-CF96ABACCB43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41" name="Rechteck 940">
              <a:extLst>
                <a:ext uri="{FF2B5EF4-FFF2-40B4-BE49-F238E27FC236}">
                  <a16:creationId xmlns:a16="http://schemas.microsoft.com/office/drawing/2014/main" id="{E82BF00A-D1C5-67F6-33B1-7DF1B2F1C054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42" name="Rechteck 941">
              <a:extLst>
                <a:ext uri="{FF2B5EF4-FFF2-40B4-BE49-F238E27FC236}">
                  <a16:creationId xmlns:a16="http://schemas.microsoft.com/office/drawing/2014/main" id="{16DF4BBA-CFBD-6DA5-173E-52CA0F0BE9E0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43" name="Rechteck 942">
              <a:extLst>
                <a:ext uri="{FF2B5EF4-FFF2-40B4-BE49-F238E27FC236}">
                  <a16:creationId xmlns:a16="http://schemas.microsoft.com/office/drawing/2014/main" id="{6C654F85-A559-F500-034D-C630676A5D19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44" name="Rechteck 943">
              <a:extLst>
                <a:ext uri="{FF2B5EF4-FFF2-40B4-BE49-F238E27FC236}">
                  <a16:creationId xmlns:a16="http://schemas.microsoft.com/office/drawing/2014/main" id="{8CF331F5-32B3-F97B-C9CA-8E63038565E6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45" name="Rechteck 944">
              <a:extLst>
                <a:ext uri="{FF2B5EF4-FFF2-40B4-BE49-F238E27FC236}">
                  <a16:creationId xmlns:a16="http://schemas.microsoft.com/office/drawing/2014/main" id="{58EE44C9-CC3A-245A-E544-EE8BC10C7A2B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46" name="Rechteck 945">
              <a:extLst>
                <a:ext uri="{FF2B5EF4-FFF2-40B4-BE49-F238E27FC236}">
                  <a16:creationId xmlns:a16="http://schemas.microsoft.com/office/drawing/2014/main" id="{3D69D25D-FD96-4C7D-8F9A-F7CE90F0A149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47" name="Rechteck 946">
              <a:extLst>
                <a:ext uri="{FF2B5EF4-FFF2-40B4-BE49-F238E27FC236}">
                  <a16:creationId xmlns:a16="http://schemas.microsoft.com/office/drawing/2014/main" id="{9CE369CC-AC2A-FA9A-9E75-5106EB39507C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48" name="Rechteck 947">
              <a:extLst>
                <a:ext uri="{FF2B5EF4-FFF2-40B4-BE49-F238E27FC236}">
                  <a16:creationId xmlns:a16="http://schemas.microsoft.com/office/drawing/2014/main" id="{72B05C4F-F21E-D1A8-08B3-1089D63679B0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49" name="Rechteck 948">
              <a:extLst>
                <a:ext uri="{FF2B5EF4-FFF2-40B4-BE49-F238E27FC236}">
                  <a16:creationId xmlns:a16="http://schemas.microsoft.com/office/drawing/2014/main" id="{8567DCB5-AD5B-AE23-8424-B3021EC0A4A5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50" name="Rechteck 949">
              <a:extLst>
                <a:ext uri="{FF2B5EF4-FFF2-40B4-BE49-F238E27FC236}">
                  <a16:creationId xmlns:a16="http://schemas.microsoft.com/office/drawing/2014/main" id="{1AADDD1F-C82B-3115-2597-8C5FDBFF1C87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51" name="Rechteck 950">
              <a:extLst>
                <a:ext uri="{FF2B5EF4-FFF2-40B4-BE49-F238E27FC236}">
                  <a16:creationId xmlns:a16="http://schemas.microsoft.com/office/drawing/2014/main" id="{CD44EB69-B2C6-6B60-99EC-87136821D921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52" name="Rechteck 951">
              <a:extLst>
                <a:ext uri="{FF2B5EF4-FFF2-40B4-BE49-F238E27FC236}">
                  <a16:creationId xmlns:a16="http://schemas.microsoft.com/office/drawing/2014/main" id="{B0017166-ABCA-1D7F-6017-9BA6DC427058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53" name="Rechteck 952">
              <a:extLst>
                <a:ext uri="{FF2B5EF4-FFF2-40B4-BE49-F238E27FC236}">
                  <a16:creationId xmlns:a16="http://schemas.microsoft.com/office/drawing/2014/main" id="{4FB3F06A-3544-E5D4-366C-267CE9554DB0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54" name="Rechteck 953">
              <a:extLst>
                <a:ext uri="{FF2B5EF4-FFF2-40B4-BE49-F238E27FC236}">
                  <a16:creationId xmlns:a16="http://schemas.microsoft.com/office/drawing/2014/main" id="{61674FDF-0EBD-CD04-1695-2569C28F7CA9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55" name="Rechteck 954">
              <a:extLst>
                <a:ext uri="{FF2B5EF4-FFF2-40B4-BE49-F238E27FC236}">
                  <a16:creationId xmlns:a16="http://schemas.microsoft.com/office/drawing/2014/main" id="{98191983-0F7E-1104-2740-66CA77B18AD5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56" name="Rechteck 955">
              <a:extLst>
                <a:ext uri="{FF2B5EF4-FFF2-40B4-BE49-F238E27FC236}">
                  <a16:creationId xmlns:a16="http://schemas.microsoft.com/office/drawing/2014/main" id="{C4AC54BD-8646-1F0E-5C69-AA48C3B4EE12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57" name="Rechteck 956">
              <a:extLst>
                <a:ext uri="{FF2B5EF4-FFF2-40B4-BE49-F238E27FC236}">
                  <a16:creationId xmlns:a16="http://schemas.microsoft.com/office/drawing/2014/main" id="{5ABB28DD-1460-EF46-90C1-A31A9199D33A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58" name="Rechteck 957">
              <a:extLst>
                <a:ext uri="{FF2B5EF4-FFF2-40B4-BE49-F238E27FC236}">
                  <a16:creationId xmlns:a16="http://schemas.microsoft.com/office/drawing/2014/main" id="{52165D76-E74C-D216-D112-52B2D62B5F39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59" name="Rechteck 958">
              <a:extLst>
                <a:ext uri="{FF2B5EF4-FFF2-40B4-BE49-F238E27FC236}">
                  <a16:creationId xmlns:a16="http://schemas.microsoft.com/office/drawing/2014/main" id="{5059C01F-F6FE-8E92-1EAF-B61BAA19ADD0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60" name="Rechteck 959">
              <a:extLst>
                <a:ext uri="{FF2B5EF4-FFF2-40B4-BE49-F238E27FC236}">
                  <a16:creationId xmlns:a16="http://schemas.microsoft.com/office/drawing/2014/main" id="{DA03E7C0-1A94-72D1-B7B7-2C1F3A3AABB1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61" name="Rechteck 960">
              <a:extLst>
                <a:ext uri="{FF2B5EF4-FFF2-40B4-BE49-F238E27FC236}">
                  <a16:creationId xmlns:a16="http://schemas.microsoft.com/office/drawing/2014/main" id="{D6BA087C-D1E3-412F-10B9-C4E4D1350E41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62" name="Rechteck 961">
              <a:extLst>
                <a:ext uri="{FF2B5EF4-FFF2-40B4-BE49-F238E27FC236}">
                  <a16:creationId xmlns:a16="http://schemas.microsoft.com/office/drawing/2014/main" id="{0A942A63-B471-966C-7A7E-72C09013CA9B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63" name="Rechteck 962">
              <a:extLst>
                <a:ext uri="{FF2B5EF4-FFF2-40B4-BE49-F238E27FC236}">
                  <a16:creationId xmlns:a16="http://schemas.microsoft.com/office/drawing/2014/main" id="{9D3F32E1-E23B-FC95-DA07-D8BA00C39D00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64" name="Rechteck 963">
              <a:extLst>
                <a:ext uri="{FF2B5EF4-FFF2-40B4-BE49-F238E27FC236}">
                  <a16:creationId xmlns:a16="http://schemas.microsoft.com/office/drawing/2014/main" id="{2A4628E4-1FDB-46EB-C022-0D5C25694B8C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65" name="Rechteck 964">
              <a:extLst>
                <a:ext uri="{FF2B5EF4-FFF2-40B4-BE49-F238E27FC236}">
                  <a16:creationId xmlns:a16="http://schemas.microsoft.com/office/drawing/2014/main" id="{25AF6449-43EC-D064-637D-2FFF4D3728B8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66" name="Rechteck 965">
              <a:extLst>
                <a:ext uri="{FF2B5EF4-FFF2-40B4-BE49-F238E27FC236}">
                  <a16:creationId xmlns:a16="http://schemas.microsoft.com/office/drawing/2014/main" id="{502B7D62-E8D1-15B1-4005-60549C2478AA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67" name="Rechteck 966">
              <a:extLst>
                <a:ext uri="{FF2B5EF4-FFF2-40B4-BE49-F238E27FC236}">
                  <a16:creationId xmlns:a16="http://schemas.microsoft.com/office/drawing/2014/main" id="{674C0385-C06F-406D-D15A-FAD4D8AD848C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68" name="Rechteck 967">
              <a:extLst>
                <a:ext uri="{FF2B5EF4-FFF2-40B4-BE49-F238E27FC236}">
                  <a16:creationId xmlns:a16="http://schemas.microsoft.com/office/drawing/2014/main" id="{A9943EEF-FB5B-AC27-8A22-19611164F69C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69" name="Rechteck 968">
              <a:extLst>
                <a:ext uri="{FF2B5EF4-FFF2-40B4-BE49-F238E27FC236}">
                  <a16:creationId xmlns:a16="http://schemas.microsoft.com/office/drawing/2014/main" id="{98EEF0B7-7B87-E740-33D5-9F174D52E952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70" name="Rechteck 969">
              <a:extLst>
                <a:ext uri="{FF2B5EF4-FFF2-40B4-BE49-F238E27FC236}">
                  <a16:creationId xmlns:a16="http://schemas.microsoft.com/office/drawing/2014/main" id="{0134FC07-3DF7-4C3E-98A3-5E348FB4AA3A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71" name="Rechteck 970">
              <a:extLst>
                <a:ext uri="{FF2B5EF4-FFF2-40B4-BE49-F238E27FC236}">
                  <a16:creationId xmlns:a16="http://schemas.microsoft.com/office/drawing/2014/main" id="{680653F0-7C46-8CF4-3016-49912DD2184E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72" name="Rechteck 971">
              <a:extLst>
                <a:ext uri="{FF2B5EF4-FFF2-40B4-BE49-F238E27FC236}">
                  <a16:creationId xmlns:a16="http://schemas.microsoft.com/office/drawing/2014/main" id="{21BF1A47-1ADF-9223-C04F-19D225632738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73" name="Rechteck 972">
              <a:extLst>
                <a:ext uri="{FF2B5EF4-FFF2-40B4-BE49-F238E27FC236}">
                  <a16:creationId xmlns:a16="http://schemas.microsoft.com/office/drawing/2014/main" id="{27A5C4D5-023E-69BC-C4A7-FFC4C633BE21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74" name="Rechteck 973">
              <a:extLst>
                <a:ext uri="{FF2B5EF4-FFF2-40B4-BE49-F238E27FC236}">
                  <a16:creationId xmlns:a16="http://schemas.microsoft.com/office/drawing/2014/main" id="{A72C044D-7AA9-7DED-4DD4-B549040CB905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75" name="Rechteck 974">
              <a:extLst>
                <a:ext uri="{FF2B5EF4-FFF2-40B4-BE49-F238E27FC236}">
                  <a16:creationId xmlns:a16="http://schemas.microsoft.com/office/drawing/2014/main" id="{C8070613-0CA8-B8B5-5A8F-40EADDCB2F21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76" name="Rechteck 975">
              <a:extLst>
                <a:ext uri="{FF2B5EF4-FFF2-40B4-BE49-F238E27FC236}">
                  <a16:creationId xmlns:a16="http://schemas.microsoft.com/office/drawing/2014/main" id="{63E6A1C9-2B8A-433D-BC67-F1EDC513E1AF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77" name="Rechteck 976">
              <a:extLst>
                <a:ext uri="{FF2B5EF4-FFF2-40B4-BE49-F238E27FC236}">
                  <a16:creationId xmlns:a16="http://schemas.microsoft.com/office/drawing/2014/main" id="{CAB35196-54FA-DABB-7E46-B9503190D238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78" name="Rechteck 977">
              <a:extLst>
                <a:ext uri="{FF2B5EF4-FFF2-40B4-BE49-F238E27FC236}">
                  <a16:creationId xmlns:a16="http://schemas.microsoft.com/office/drawing/2014/main" id="{1AF2ABEC-EA58-ED1E-4CC8-0A2432A4076E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79" name="Rechteck 978">
              <a:extLst>
                <a:ext uri="{FF2B5EF4-FFF2-40B4-BE49-F238E27FC236}">
                  <a16:creationId xmlns:a16="http://schemas.microsoft.com/office/drawing/2014/main" id="{53A8503A-1855-A3F4-19BA-B4AC0BB7503D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80" name="Rechteck 979">
              <a:extLst>
                <a:ext uri="{FF2B5EF4-FFF2-40B4-BE49-F238E27FC236}">
                  <a16:creationId xmlns:a16="http://schemas.microsoft.com/office/drawing/2014/main" id="{AD9E912B-C8E9-129F-42B1-6D1E422791E9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81" name="Rechteck 980">
              <a:extLst>
                <a:ext uri="{FF2B5EF4-FFF2-40B4-BE49-F238E27FC236}">
                  <a16:creationId xmlns:a16="http://schemas.microsoft.com/office/drawing/2014/main" id="{44E1B8D2-1799-8C8D-BDCE-ACE9880D3FA6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82" name="Rechteck 981">
              <a:extLst>
                <a:ext uri="{FF2B5EF4-FFF2-40B4-BE49-F238E27FC236}">
                  <a16:creationId xmlns:a16="http://schemas.microsoft.com/office/drawing/2014/main" id="{0E9CB05C-4E69-826D-7441-72B2F37582B2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83" name="Rechteck 982">
              <a:extLst>
                <a:ext uri="{FF2B5EF4-FFF2-40B4-BE49-F238E27FC236}">
                  <a16:creationId xmlns:a16="http://schemas.microsoft.com/office/drawing/2014/main" id="{EDB384EF-13AA-67CF-138C-270B0CD4B2D2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84" name="Rechteck 983">
              <a:extLst>
                <a:ext uri="{FF2B5EF4-FFF2-40B4-BE49-F238E27FC236}">
                  <a16:creationId xmlns:a16="http://schemas.microsoft.com/office/drawing/2014/main" id="{25614EFD-5648-DFF0-6EBD-064026DC6D45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85" name="Rechteck 984">
              <a:extLst>
                <a:ext uri="{FF2B5EF4-FFF2-40B4-BE49-F238E27FC236}">
                  <a16:creationId xmlns:a16="http://schemas.microsoft.com/office/drawing/2014/main" id="{10E130EC-E54A-C3D5-12AF-99E1010477CB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86" name="Rechteck 985">
              <a:extLst>
                <a:ext uri="{FF2B5EF4-FFF2-40B4-BE49-F238E27FC236}">
                  <a16:creationId xmlns:a16="http://schemas.microsoft.com/office/drawing/2014/main" id="{E4DF4B1B-9830-7394-6200-30F4070492C0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sp>
        <p:nvSpPr>
          <p:cNvPr id="480" name="Shape">
            <a:extLst>
              <a:ext uri="{FF2B5EF4-FFF2-40B4-BE49-F238E27FC236}">
                <a16:creationId xmlns:a16="http://schemas.microsoft.com/office/drawing/2014/main" id="{C6B2D270-DE50-2989-2167-C48C567567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911424" y="2060848"/>
            <a:ext cx="6344926" cy="3457575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7288205 w 8604028"/>
              <a:gd name="connsiteY2" fmla="*/ 427647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7288205 w 8604028"/>
              <a:gd name="connsiteY2" fmla="*/ 4306956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0714 w 8604028"/>
              <a:gd name="connsiteY2" fmla="*/ 3690820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7055711 w 8604028"/>
              <a:gd name="connsiteY2" fmla="*/ 481250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7055711" y="4812505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70" name="Shape">
            <a:extLst>
              <a:ext uri="{FF2B5EF4-FFF2-40B4-BE49-F238E27FC236}">
                <a16:creationId xmlns:a16="http://schemas.microsoft.com/office/drawing/2014/main" id="{CA04DA29-1BDE-4E17-8832-0715948621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911984" y="2059254"/>
            <a:ext cx="6344926" cy="3457575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7288205 w 8604028"/>
              <a:gd name="connsiteY2" fmla="*/ 427647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7288205 w 8604028"/>
              <a:gd name="connsiteY2" fmla="*/ 4306956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0714 w 8604028"/>
              <a:gd name="connsiteY2" fmla="*/ 3690820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7055711 w 8604028"/>
              <a:gd name="connsiteY2" fmla="*/ 481250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7055711" y="4812505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55" name="Title">
            <a:extLst>
              <a:ext uri="{FF2B5EF4-FFF2-40B4-BE49-F238E27FC236}">
                <a16:creationId xmlns:a16="http://schemas.microsoft.com/office/drawing/2014/main" id="{9258FB6E-C910-44A9-A44D-172431214D3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1127448" y="2277024"/>
            <a:ext cx="4896000" cy="1008000"/>
          </a:xfrm>
          <a:prstGeom prst="rect">
            <a:avLst/>
          </a:prstGeom>
          <a:noFill/>
          <a:ln w="127">
            <a:noFill/>
          </a:ln>
        </p:spPr>
        <p:txBody>
          <a:bodyPr vert="horz" lIns="0" tIns="0" rIns="0" bIns="0" anchor="t">
            <a:noAutofit/>
          </a:bodyPr>
          <a:lstStyle>
            <a:lvl1pPr algn="l">
              <a:lnSpc>
                <a:spcPct val="90000"/>
              </a:lnSpc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[Thank You and </a:t>
            </a:r>
            <a:br>
              <a:rPr lang="en-GB"/>
            </a:br>
            <a:r>
              <a:rPr lang="en-GB"/>
              <a:t>Call to action]</a:t>
            </a:r>
          </a:p>
        </p:txBody>
      </p:sp>
      <p:sp>
        <p:nvSpPr>
          <p:cNvPr id="274" name="Subtitle">
            <a:extLst>
              <a:ext uri="{FF2B5EF4-FFF2-40B4-BE49-F238E27FC236}">
                <a16:creationId xmlns:a16="http://schemas.microsoft.com/office/drawing/2014/main" id="{A8B8056C-BBE6-D8A0-F11F-1492BA40AB9A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1127984" y="3573048"/>
            <a:ext cx="4896008" cy="288000"/>
          </a:xfrm>
          <a:prstGeom prst="rect">
            <a:avLst/>
          </a:prstGeom>
          <a:noFill/>
          <a:ln w="127">
            <a:noFill/>
          </a:ln>
        </p:spPr>
        <p:txBody>
          <a:bodyPr wrap="none" lIns="0" tIns="0" r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pPr lvl="0"/>
            <a:r>
              <a:rPr lang="en-GB"/>
              <a:t>gfk.com</a:t>
            </a:r>
          </a:p>
        </p:txBody>
      </p:sp>
      <p:pic>
        <p:nvPicPr>
          <p:cNvPr id="479" name="Logo">
            <a:extLst>
              <a:ext uri="{FF2B5EF4-FFF2-40B4-BE49-F238E27FC236}">
                <a16:creationId xmlns:a16="http://schemas.microsoft.com/office/drawing/2014/main" id="{CD1F25FC-D457-A092-4A7D-4BC76B748F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8033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25401A3-1209-B2CE-B713-0032FCB4AD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4546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25401A3-1209-B2CE-B713-0032FCB4A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85" name="Gruppieren 584">
            <a:extLst>
              <a:ext uri="{FF2B5EF4-FFF2-40B4-BE49-F238E27FC236}">
                <a16:creationId xmlns:a16="http://schemas.microsoft.com/office/drawing/2014/main" id="{71CE88F9-7B3E-662C-9819-E2922DB3BEA2}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586" name="Rechteck 585">
              <a:extLst>
                <a:ext uri="{FF2B5EF4-FFF2-40B4-BE49-F238E27FC236}">
                  <a16:creationId xmlns:a16="http://schemas.microsoft.com/office/drawing/2014/main" id="{B7C09CB3-AFF1-BC22-2342-777800DE803F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7" name="Rechteck 586">
              <a:extLst>
                <a:ext uri="{FF2B5EF4-FFF2-40B4-BE49-F238E27FC236}">
                  <a16:creationId xmlns:a16="http://schemas.microsoft.com/office/drawing/2014/main" id="{5EF131E0-24CF-4830-B56A-655E784BA020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8" name="Rechteck 587">
              <a:extLst>
                <a:ext uri="{FF2B5EF4-FFF2-40B4-BE49-F238E27FC236}">
                  <a16:creationId xmlns:a16="http://schemas.microsoft.com/office/drawing/2014/main" id="{96917198-8F30-57F1-0DF8-D44160EACEC0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9" name="Rechteck 588">
              <a:extLst>
                <a:ext uri="{FF2B5EF4-FFF2-40B4-BE49-F238E27FC236}">
                  <a16:creationId xmlns:a16="http://schemas.microsoft.com/office/drawing/2014/main" id="{71E0D0C9-047F-18E1-F917-19980AF5758A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0" name="Rechteck 589">
              <a:extLst>
                <a:ext uri="{FF2B5EF4-FFF2-40B4-BE49-F238E27FC236}">
                  <a16:creationId xmlns:a16="http://schemas.microsoft.com/office/drawing/2014/main" id="{764117CA-7850-7B85-C4B7-1D29998CAA7F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1" name="Rechteck 590">
              <a:extLst>
                <a:ext uri="{FF2B5EF4-FFF2-40B4-BE49-F238E27FC236}">
                  <a16:creationId xmlns:a16="http://schemas.microsoft.com/office/drawing/2014/main" id="{CF20E419-5A96-F33B-2EF6-30999CE22DFF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2" name="Rechteck 591">
              <a:extLst>
                <a:ext uri="{FF2B5EF4-FFF2-40B4-BE49-F238E27FC236}">
                  <a16:creationId xmlns:a16="http://schemas.microsoft.com/office/drawing/2014/main" id="{41AB5805-99B9-CD9E-AD06-97342D74E43E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3" name="Rechteck 592">
              <a:extLst>
                <a:ext uri="{FF2B5EF4-FFF2-40B4-BE49-F238E27FC236}">
                  <a16:creationId xmlns:a16="http://schemas.microsoft.com/office/drawing/2014/main" id="{5499895A-E5F9-383E-F1AA-515F4117F25F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4" name="Rechteck 593">
              <a:extLst>
                <a:ext uri="{FF2B5EF4-FFF2-40B4-BE49-F238E27FC236}">
                  <a16:creationId xmlns:a16="http://schemas.microsoft.com/office/drawing/2014/main" id="{6FA1979F-712B-45F6-A799-048EAC1C5ACD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5" name="Rechteck 594">
              <a:extLst>
                <a:ext uri="{FF2B5EF4-FFF2-40B4-BE49-F238E27FC236}">
                  <a16:creationId xmlns:a16="http://schemas.microsoft.com/office/drawing/2014/main" id="{4B25A6BF-2CF0-AACA-C0D0-5478FDE6EFE7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6" name="Rechteck 595">
              <a:extLst>
                <a:ext uri="{FF2B5EF4-FFF2-40B4-BE49-F238E27FC236}">
                  <a16:creationId xmlns:a16="http://schemas.microsoft.com/office/drawing/2014/main" id="{2EF7B93B-CD4F-1E39-AA38-313C32EF11B0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7" name="Rechteck 596">
              <a:extLst>
                <a:ext uri="{FF2B5EF4-FFF2-40B4-BE49-F238E27FC236}">
                  <a16:creationId xmlns:a16="http://schemas.microsoft.com/office/drawing/2014/main" id="{376F25B5-C243-FA1C-73CA-E3F141C15D15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8" name="Rechteck 597">
              <a:extLst>
                <a:ext uri="{FF2B5EF4-FFF2-40B4-BE49-F238E27FC236}">
                  <a16:creationId xmlns:a16="http://schemas.microsoft.com/office/drawing/2014/main" id="{D63A065B-B446-0A28-E6CC-F372662D0815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9" name="Rechteck 598">
              <a:extLst>
                <a:ext uri="{FF2B5EF4-FFF2-40B4-BE49-F238E27FC236}">
                  <a16:creationId xmlns:a16="http://schemas.microsoft.com/office/drawing/2014/main" id="{7F480CF5-E3B0-1FFB-D2EA-027330018EDC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0" name="Rechteck 599">
              <a:extLst>
                <a:ext uri="{FF2B5EF4-FFF2-40B4-BE49-F238E27FC236}">
                  <a16:creationId xmlns:a16="http://schemas.microsoft.com/office/drawing/2014/main" id="{A8215330-4C4F-DFD2-3FB6-4463D57A896A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1" name="Rechteck 600">
              <a:extLst>
                <a:ext uri="{FF2B5EF4-FFF2-40B4-BE49-F238E27FC236}">
                  <a16:creationId xmlns:a16="http://schemas.microsoft.com/office/drawing/2014/main" id="{0F511BE1-0578-CECA-9FCF-57A07E6013DA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2" name="Rechteck 601">
              <a:extLst>
                <a:ext uri="{FF2B5EF4-FFF2-40B4-BE49-F238E27FC236}">
                  <a16:creationId xmlns:a16="http://schemas.microsoft.com/office/drawing/2014/main" id="{4D92469E-1A84-C4DC-1C28-362FE1F80170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3" name="Rechteck 602">
              <a:extLst>
                <a:ext uri="{FF2B5EF4-FFF2-40B4-BE49-F238E27FC236}">
                  <a16:creationId xmlns:a16="http://schemas.microsoft.com/office/drawing/2014/main" id="{A3F616E9-3899-9A4E-6C6A-BE6D18EFB359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4" name="Rechteck 603">
              <a:extLst>
                <a:ext uri="{FF2B5EF4-FFF2-40B4-BE49-F238E27FC236}">
                  <a16:creationId xmlns:a16="http://schemas.microsoft.com/office/drawing/2014/main" id="{E12A6315-EA1B-4348-468D-17F0317164BA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5" name="Rechteck 604">
              <a:extLst>
                <a:ext uri="{FF2B5EF4-FFF2-40B4-BE49-F238E27FC236}">
                  <a16:creationId xmlns:a16="http://schemas.microsoft.com/office/drawing/2014/main" id="{67CBE059-3168-A5F0-960E-86EC42983DE4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6" name="Rechteck 605">
              <a:extLst>
                <a:ext uri="{FF2B5EF4-FFF2-40B4-BE49-F238E27FC236}">
                  <a16:creationId xmlns:a16="http://schemas.microsoft.com/office/drawing/2014/main" id="{4F952E03-03D8-4FA9-6876-55E6F167612F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7" name="Rechteck 606">
              <a:extLst>
                <a:ext uri="{FF2B5EF4-FFF2-40B4-BE49-F238E27FC236}">
                  <a16:creationId xmlns:a16="http://schemas.microsoft.com/office/drawing/2014/main" id="{9781E2B1-D2B7-B239-AA17-ADF731E59027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8" name="Rechteck 607">
              <a:extLst>
                <a:ext uri="{FF2B5EF4-FFF2-40B4-BE49-F238E27FC236}">
                  <a16:creationId xmlns:a16="http://schemas.microsoft.com/office/drawing/2014/main" id="{6C801BB5-807A-4827-A2AA-0A5E489660EB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9" name="Rechteck 608">
              <a:extLst>
                <a:ext uri="{FF2B5EF4-FFF2-40B4-BE49-F238E27FC236}">
                  <a16:creationId xmlns:a16="http://schemas.microsoft.com/office/drawing/2014/main" id="{C9351406-BC3C-3A76-D3EE-311FA6AEE5AF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0" name="Rechteck 609">
              <a:extLst>
                <a:ext uri="{FF2B5EF4-FFF2-40B4-BE49-F238E27FC236}">
                  <a16:creationId xmlns:a16="http://schemas.microsoft.com/office/drawing/2014/main" id="{864FFF29-1734-CDA2-770B-D642E6FFE800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1" name="Rechteck 610">
              <a:extLst>
                <a:ext uri="{FF2B5EF4-FFF2-40B4-BE49-F238E27FC236}">
                  <a16:creationId xmlns:a16="http://schemas.microsoft.com/office/drawing/2014/main" id="{75603CEF-4B6B-FC00-1C15-F887E657866A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2" name="Rechteck 611">
              <a:extLst>
                <a:ext uri="{FF2B5EF4-FFF2-40B4-BE49-F238E27FC236}">
                  <a16:creationId xmlns:a16="http://schemas.microsoft.com/office/drawing/2014/main" id="{EC41CD1A-DB84-D2E3-5CFD-ED5C6865C4E9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3" name="Rechteck 612">
              <a:extLst>
                <a:ext uri="{FF2B5EF4-FFF2-40B4-BE49-F238E27FC236}">
                  <a16:creationId xmlns:a16="http://schemas.microsoft.com/office/drawing/2014/main" id="{16DB458E-8483-3C9D-54C1-9306327797EF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4" name="Rechteck 613">
              <a:extLst>
                <a:ext uri="{FF2B5EF4-FFF2-40B4-BE49-F238E27FC236}">
                  <a16:creationId xmlns:a16="http://schemas.microsoft.com/office/drawing/2014/main" id="{ED33D231-67E9-CDC1-A787-0826B3EBC4AA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5" name="Rechteck 614">
              <a:extLst>
                <a:ext uri="{FF2B5EF4-FFF2-40B4-BE49-F238E27FC236}">
                  <a16:creationId xmlns:a16="http://schemas.microsoft.com/office/drawing/2014/main" id="{F2C9561C-50FF-BDD7-46DF-1015DC89A301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6" name="Rechteck 615">
              <a:extLst>
                <a:ext uri="{FF2B5EF4-FFF2-40B4-BE49-F238E27FC236}">
                  <a16:creationId xmlns:a16="http://schemas.microsoft.com/office/drawing/2014/main" id="{5635B396-D32F-2732-9547-961DC89BBF16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7" name="Rechteck 616">
              <a:extLst>
                <a:ext uri="{FF2B5EF4-FFF2-40B4-BE49-F238E27FC236}">
                  <a16:creationId xmlns:a16="http://schemas.microsoft.com/office/drawing/2014/main" id="{BFF89F95-095F-1A5F-177C-CB80C179423A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8" name="Rechteck 617">
              <a:extLst>
                <a:ext uri="{FF2B5EF4-FFF2-40B4-BE49-F238E27FC236}">
                  <a16:creationId xmlns:a16="http://schemas.microsoft.com/office/drawing/2014/main" id="{05287B02-DB44-E981-5F19-A6F3480BE66E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9" name="Rechteck 618">
              <a:extLst>
                <a:ext uri="{FF2B5EF4-FFF2-40B4-BE49-F238E27FC236}">
                  <a16:creationId xmlns:a16="http://schemas.microsoft.com/office/drawing/2014/main" id="{CF16CE80-AF95-488C-1048-CB3580AF25DB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0" name="Rechteck 619">
              <a:extLst>
                <a:ext uri="{FF2B5EF4-FFF2-40B4-BE49-F238E27FC236}">
                  <a16:creationId xmlns:a16="http://schemas.microsoft.com/office/drawing/2014/main" id="{444259D9-9356-DD1C-0E3A-8A13C18DE49B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1" name="Rechteck 620">
              <a:extLst>
                <a:ext uri="{FF2B5EF4-FFF2-40B4-BE49-F238E27FC236}">
                  <a16:creationId xmlns:a16="http://schemas.microsoft.com/office/drawing/2014/main" id="{EBDF79E8-3A91-30BE-899C-BC394028D0CB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2" name="Rechteck 621">
              <a:extLst>
                <a:ext uri="{FF2B5EF4-FFF2-40B4-BE49-F238E27FC236}">
                  <a16:creationId xmlns:a16="http://schemas.microsoft.com/office/drawing/2014/main" id="{BDE54795-9DE7-D8EF-05F9-F1328F740160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3" name="Rechteck 622">
              <a:extLst>
                <a:ext uri="{FF2B5EF4-FFF2-40B4-BE49-F238E27FC236}">
                  <a16:creationId xmlns:a16="http://schemas.microsoft.com/office/drawing/2014/main" id="{3A26B2B3-D668-7E1D-BAAF-8D7D82B9E0DA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4" name="Rechteck 623">
              <a:extLst>
                <a:ext uri="{FF2B5EF4-FFF2-40B4-BE49-F238E27FC236}">
                  <a16:creationId xmlns:a16="http://schemas.microsoft.com/office/drawing/2014/main" id="{53FECD20-9DD7-E07D-503D-556C1FE07470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5" name="Rechteck 624">
              <a:extLst>
                <a:ext uri="{FF2B5EF4-FFF2-40B4-BE49-F238E27FC236}">
                  <a16:creationId xmlns:a16="http://schemas.microsoft.com/office/drawing/2014/main" id="{C2180200-F75D-2060-C358-E83F31E372CA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6" name="Rechteck 625">
              <a:extLst>
                <a:ext uri="{FF2B5EF4-FFF2-40B4-BE49-F238E27FC236}">
                  <a16:creationId xmlns:a16="http://schemas.microsoft.com/office/drawing/2014/main" id="{7839BC33-661E-4095-04EF-B33333C88152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7" name="Rechteck 626">
              <a:extLst>
                <a:ext uri="{FF2B5EF4-FFF2-40B4-BE49-F238E27FC236}">
                  <a16:creationId xmlns:a16="http://schemas.microsoft.com/office/drawing/2014/main" id="{3943B8BE-4166-9B9F-4A76-C4CDC438269E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8" name="Rechteck 627">
              <a:extLst>
                <a:ext uri="{FF2B5EF4-FFF2-40B4-BE49-F238E27FC236}">
                  <a16:creationId xmlns:a16="http://schemas.microsoft.com/office/drawing/2014/main" id="{9E1CF367-855E-7F01-6FAD-CA6E9CBDE247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9" name="Rechteck 628">
              <a:extLst>
                <a:ext uri="{FF2B5EF4-FFF2-40B4-BE49-F238E27FC236}">
                  <a16:creationId xmlns:a16="http://schemas.microsoft.com/office/drawing/2014/main" id="{14409D53-5492-673D-FDAF-96025350F2E3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0" name="Rechteck 629">
              <a:extLst>
                <a:ext uri="{FF2B5EF4-FFF2-40B4-BE49-F238E27FC236}">
                  <a16:creationId xmlns:a16="http://schemas.microsoft.com/office/drawing/2014/main" id="{8FA82199-8539-8BD2-D317-95EF33EA400B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1" name="Rechteck 630">
              <a:extLst>
                <a:ext uri="{FF2B5EF4-FFF2-40B4-BE49-F238E27FC236}">
                  <a16:creationId xmlns:a16="http://schemas.microsoft.com/office/drawing/2014/main" id="{6D37843F-5524-0CA2-DCFF-7D77C778ECB1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2" name="Rechteck 631">
              <a:extLst>
                <a:ext uri="{FF2B5EF4-FFF2-40B4-BE49-F238E27FC236}">
                  <a16:creationId xmlns:a16="http://schemas.microsoft.com/office/drawing/2014/main" id="{E39444A8-4CFC-4AA6-5BB7-7ADF4AF3AFDB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3" name="Rechteck 632">
              <a:extLst>
                <a:ext uri="{FF2B5EF4-FFF2-40B4-BE49-F238E27FC236}">
                  <a16:creationId xmlns:a16="http://schemas.microsoft.com/office/drawing/2014/main" id="{1C7CEFFA-A014-5D1B-12B6-0969C50CB2BC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4" name="Rechteck 633">
              <a:extLst>
                <a:ext uri="{FF2B5EF4-FFF2-40B4-BE49-F238E27FC236}">
                  <a16:creationId xmlns:a16="http://schemas.microsoft.com/office/drawing/2014/main" id="{12F965CF-A4D0-6EE3-8AD9-E7D1BD5CB791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5" name="Rechteck 634">
              <a:extLst>
                <a:ext uri="{FF2B5EF4-FFF2-40B4-BE49-F238E27FC236}">
                  <a16:creationId xmlns:a16="http://schemas.microsoft.com/office/drawing/2014/main" id="{61D76738-AC3C-9A84-BF68-F77291C6089F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6" name="Rechteck 635">
              <a:extLst>
                <a:ext uri="{FF2B5EF4-FFF2-40B4-BE49-F238E27FC236}">
                  <a16:creationId xmlns:a16="http://schemas.microsoft.com/office/drawing/2014/main" id="{2DB00B71-33AF-016F-6C07-634AEA5D7689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7" name="Rechteck 636">
              <a:extLst>
                <a:ext uri="{FF2B5EF4-FFF2-40B4-BE49-F238E27FC236}">
                  <a16:creationId xmlns:a16="http://schemas.microsoft.com/office/drawing/2014/main" id="{63205632-DF1C-CDBA-B27E-276552ED76DC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8" name="Rechteck 637">
              <a:extLst>
                <a:ext uri="{FF2B5EF4-FFF2-40B4-BE49-F238E27FC236}">
                  <a16:creationId xmlns:a16="http://schemas.microsoft.com/office/drawing/2014/main" id="{99E07D82-6852-80A4-72BE-25C577A1309B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9" name="Rechteck 638">
              <a:extLst>
                <a:ext uri="{FF2B5EF4-FFF2-40B4-BE49-F238E27FC236}">
                  <a16:creationId xmlns:a16="http://schemas.microsoft.com/office/drawing/2014/main" id="{30F184F8-8C49-2947-11F0-1A2BED00F199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0" name="Rechteck 639">
              <a:extLst>
                <a:ext uri="{FF2B5EF4-FFF2-40B4-BE49-F238E27FC236}">
                  <a16:creationId xmlns:a16="http://schemas.microsoft.com/office/drawing/2014/main" id="{917DDC0A-63AB-3583-5106-CE28AF6740DA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1" name="Rechteck 640">
              <a:extLst>
                <a:ext uri="{FF2B5EF4-FFF2-40B4-BE49-F238E27FC236}">
                  <a16:creationId xmlns:a16="http://schemas.microsoft.com/office/drawing/2014/main" id="{04FDACF2-03C5-ECB6-4FE2-98C272233331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2" name="Rechteck 641">
              <a:extLst>
                <a:ext uri="{FF2B5EF4-FFF2-40B4-BE49-F238E27FC236}">
                  <a16:creationId xmlns:a16="http://schemas.microsoft.com/office/drawing/2014/main" id="{BDC9C2CF-F8EA-82D3-6AE4-9930F173CAD4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3" name="Rechteck 642">
              <a:extLst>
                <a:ext uri="{FF2B5EF4-FFF2-40B4-BE49-F238E27FC236}">
                  <a16:creationId xmlns:a16="http://schemas.microsoft.com/office/drawing/2014/main" id="{3943179D-E0E9-53C1-BA0D-D1F13C92C2F7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4" name="Rechteck 643">
              <a:extLst>
                <a:ext uri="{FF2B5EF4-FFF2-40B4-BE49-F238E27FC236}">
                  <a16:creationId xmlns:a16="http://schemas.microsoft.com/office/drawing/2014/main" id="{57F99BED-BAC8-2D26-37BE-AEADDF57614E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5" name="Rechteck 644">
              <a:extLst>
                <a:ext uri="{FF2B5EF4-FFF2-40B4-BE49-F238E27FC236}">
                  <a16:creationId xmlns:a16="http://schemas.microsoft.com/office/drawing/2014/main" id="{7EC04F11-DD82-DCDD-F48F-79E0A16A73E2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6" name="Rechteck 645">
              <a:extLst>
                <a:ext uri="{FF2B5EF4-FFF2-40B4-BE49-F238E27FC236}">
                  <a16:creationId xmlns:a16="http://schemas.microsoft.com/office/drawing/2014/main" id="{B039ADEF-069D-885B-FBC3-772D0DC83306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7" name="Rechteck 646">
              <a:extLst>
                <a:ext uri="{FF2B5EF4-FFF2-40B4-BE49-F238E27FC236}">
                  <a16:creationId xmlns:a16="http://schemas.microsoft.com/office/drawing/2014/main" id="{E2EDA083-8ED6-70E6-BA68-5D7F6B64820D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8" name="Rechteck 647">
              <a:extLst>
                <a:ext uri="{FF2B5EF4-FFF2-40B4-BE49-F238E27FC236}">
                  <a16:creationId xmlns:a16="http://schemas.microsoft.com/office/drawing/2014/main" id="{07DF6384-DF32-D462-1D3C-AF93910ACA03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9" name="Rechteck 648">
              <a:extLst>
                <a:ext uri="{FF2B5EF4-FFF2-40B4-BE49-F238E27FC236}">
                  <a16:creationId xmlns:a16="http://schemas.microsoft.com/office/drawing/2014/main" id="{673E9861-2C4B-8165-320A-174B22138497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0" name="Rechteck 649">
              <a:extLst>
                <a:ext uri="{FF2B5EF4-FFF2-40B4-BE49-F238E27FC236}">
                  <a16:creationId xmlns:a16="http://schemas.microsoft.com/office/drawing/2014/main" id="{6E2DEF7A-B63D-F9B0-0FD9-BDD037A06F10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1" name="Rechteck 650">
              <a:extLst>
                <a:ext uri="{FF2B5EF4-FFF2-40B4-BE49-F238E27FC236}">
                  <a16:creationId xmlns:a16="http://schemas.microsoft.com/office/drawing/2014/main" id="{F995B3A3-E893-3B0E-865F-52EE1E1C8984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2" name="Rechteck 651">
              <a:extLst>
                <a:ext uri="{FF2B5EF4-FFF2-40B4-BE49-F238E27FC236}">
                  <a16:creationId xmlns:a16="http://schemas.microsoft.com/office/drawing/2014/main" id="{3A199312-7BC9-419F-D070-56808D058244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3" name="Rechteck 652">
              <a:extLst>
                <a:ext uri="{FF2B5EF4-FFF2-40B4-BE49-F238E27FC236}">
                  <a16:creationId xmlns:a16="http://schemas.microsoft.com/office/drawing/2014/main" id="{96BE5EDE-2245-933E-A3A5-E4122C710B21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4" name="Rechteck 653">
              <a:extLst>
                <a:ext uri="{FF2B5EF4-FFF2-40B4-BE49-F238E27FC236}">
                  <a16:creationId xmlns:a16="http://schemas.microsoft.com/office/drawing/2014/main" id="{AC960E7D-5B54-6C41-64EC-4058010634A8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5" name="Rechteck 654">
              <a:extLst>
                <a:ext uri="{FF2B5EF4-FFF2-40B4-BE49-F238E27FC236}">
                  <a16:creationId xmlns:a16="http://schemas.microsoft.com/office/drawing/2014/main" id="{5448331B-D858-D989-02A9-C92958ADE585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6" name="Rechteck 655">
              <a:extLst>
                <a:ext uri="{FF2B5EF4-FFF2-40B4-BE49-F238E27FC236}">
                  <a16:creationId xmlns:a16="http://schemas.microsoft.com/office/drawing/2014/main" id="{5391D9C0-E0E4-5579-5CFE-D81B24CEFEF6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7" name="Rechteck 656">
              <a:extLst>
                <a:ext uri="{FF2B5EF4-FFF2-40B4-BE49-F238E27FC236}">
                  <a16:creationId xmlns:a16="http://schemas.microsoft.com/office/drawing/2014/main" id="{2155DB51-34E4-EFD5-C110-A399EEEF9F7E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8" name="Rechteck 657">
              <a:extLst>
                <a:ext uri="{FF2B5EF4-FFF2-40B4-BE49-F238E27FC236}">
                  <a16:creationId xmlns:a16="http://schemas.microsoft.com/office/drawing/2014/main" id="{5DBC532B-DAEE-F0A5-88B5-A83615D9C9AB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9" name="Rechteck 658">
              <a:extLst>
                <a:ext uri="{FF2B5EF4-FFF2-40B4-BE49-F238E27FC236}">
                  <a16:creationId xmlns:a16="http://schemas.microsoft.com/office/drawing/2014/main" id="{3CD66F09-FE8D-5B0F-057F-E8B8A0F6A131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0" name="Rechteck 659">
              <a:extLst>
                <a:ext uri="{FF2B5EF4-FFF2-40B4-BE49-F238E27FC236}">
                  <a16:creationId xmlns:a16="http://schemas.microsoft.com/office/drawing/2014/main" id="{C34B329B-CEC0-7544-EA7D-5DBF84EC62F6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1" name="Rechteck 660">
              <a:extLst>
                <a:ext uri="{FF2B5EF4-FFF2-40B4-BE49-F238E27FC236}">
                  <a16:creationId xmlns:a16="http://schemas.microsoft.com/office/drawing/2014/main" id="{7D8E993B-7CBE-D62B-F510-FC0A97B386EC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2" name="Rechteck 661">
              <a:extLst>
                <a:ext uri="{FF2B5EF4-FFF2-40B4-BE49-F238E27FC236}">
                  <a16:creationId xmlns:a16="http://schemas.microsoft.com/office/drawing/2014/main" id="{15A64811-339A-1C9F-B922-310360E8D56D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3" name="Rechteck 662">
              <a:extLst>
                <a:ext uri="{FF2B5EF4-FFF2-40B4-BE49-F238E27FC236}">
                  <a16:creationId xmlns:a16="http://schemas.microsoft.com/office/drawing/2014/main" id="{B45BBAEC-9FAF-1C0E-FFE7-2BE11EDA3301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4" name="Rechteck 663">
              <a:extLst>
                <a:ext uri="{FF2B5EF4-FFF2-40B4-BE49-F238E27FC236}">
                  <a16:creationId xmlns:a16="http://schemas.microsoft.com/office/drawing/2014/main" id="{122D88FB-6D60-298C-16FA-3D2ACE847256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5" name="Rechteck 664">
              <a:extLst>
                <a:ext uri="{FF2B5EF4-FFF2-40B4-BE49-F238E27FC236}">
                  <a16:creationId xmlns:a16="http://schemas.microsoft.com/office/drawing/2014/main" id="{AA464710-D7EC-C186-23EA-5E68AEAFF098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6" name="Rechteck 665">
              <a:extLst>
                <a:ext uri="{FF2B5EF4-FFF2-40B4-BE49-F238E27FC236}">
                  <a16:creationId xmlns:a16="http://schemas.microsoft.com/office/drawing/2014/main" id="{CC854502-523A-AFC0-DEB4-A4C6DCCC25EA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7" name="Rechteck 666">
              <a:extLst>
                <a:ext uri="{FF2B5EF4-FFF2-40B4-BE49-F238E27FC236}">
                  <a16:creationId xmlns:a16="http://schemas.microsoft.com/office/drawing/2014/main" id="{B49DE712-C165-3604-8226-81CF0C9F7209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8" name="Rechteck 667">
              <a:extLst>
                <a:ext uri="{FF2B5EF4-FFF2-40B4-BE49-F238E27FC236}">
                  <a16:creationId xmlns:a16="http://schemas.microsoft.com/office/drawing/2014/main" id="{84366458-6EE8-BBDD-2756-16F0927D8AFD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9" name="Rechteck 668">
              <a:extLst>
                <a:ext uri="{FF2B5EF4-FFF2-40B4-BE49-F238E27FC236}">
                  <a16:creationId xmlns:a16="http://schemas.microsoft.com/office/drawing/2014/main" id="{3DC5C7D5-0576-1CD6-5A6B-52FFA939774C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0" name="Rechteck 669">
              <a:extLst>
                <a:ext uri="{FF2B5EF4-FFF2-40B4-BE49-F238E27FC236}">
                  <a16:creationId xmlns:a16="http://schemas.microsoft.com/office/drawing/2014/main" id="{AAE4743D-C99B-0750-3508-43E2516570B7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1" name="Rechteck 670">
              <a:extLst>
                <a:ext uri="{FF2B5EF4-FFF2-40B4-BE49-F238E27FC236}">
                  <a16:creationId xmlns:a16="http://schemas.microsoft.com/office/drawing/2014/main" id="{50571E59-3780-FA39-2E48-026A634D15C7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2" name="Rechteck 671">
              <a:extLst>
                <a:ext uri="{FF2B5EF4-FFF2-40B4-BE49-F238E27FC236}">
                  <a16:creationId xmlns:a16="http://schemas.microsoft.com/office/drawing/2014/main" id="{49FDA538-2F5D-27DA-074A-92DD9C0BFD2E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3" name="Rechteck 672">
              <a:extLst>
                <a:ext uri="{FF2B5EF4-FFF2-40B4-BE49-F238E27FC236}">
                  <a16:creationId xmlns:a16="http://schemas.microsoft.com/office/drawing/2014/main" id="{0D50E3BC-6ADE-15A9-214C-38F19E8ECFFB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4" name="Rechteck 673">
              <a:extLst>
                <a:ext uri="{FF2B5EF4-FFF2-40B4-BE49-F238E27FC236}">
                  <a16:creationId xmlns:a16="http://schemas.microsoft.com/office/drawing/2014/main" id="{874D328C-C1BC-47D8-4C91-5613E308B347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5" name="Rechteck 674">
              <a:extLst>
                <a:ext uri="{FF2B5EF4-FFF2-40B4-BE49-F238E27FC236}">
                  <a16:creationId xmlns:a16="http://schemas.microsoft.com/office/drawing/2014/main" id="{2A554747-DD24-9872-5976-8E8958F4CD27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6" name="Rechteck 675">
              <a:extLst>
                <a:ext uri="{FF2B5EF4-FFF2-40B4-BE49-F238E27FC236}">
                  <a16:creationId xmlns:a16="http://schemas.microsoft.com/office/drawing/2014/main" id="{2045DFB0-0BB9-0D06-3D2B-E63F6BDE2773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7" name="Rechteck 676">
              <a:extLst>
                <a:ext uri="{FF2B5EF4-FFF2-40B4-BE49-F238E27FC236}">
                  <a16:creationId xmlns:a16="http://schemas.microsoft.com/office/drawing/2014/main" id="{8F687CF7-CD51-3F1E-AD6D-04B3048AAD06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8" name="Rechteck 677">
              <a:extLst>
                <a:ext uri="{FF2B5EF4-FFF2-40B4-BE49-F238E27FC236}">
                  <a16:creationId xmlns:a16="http://schemas.microsoft.com/office/drawing/2014/main" id="{81B264B1-877B-4E29-3550-BAA6BEFECF3A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9" name="Rechteck 678">
              <a:extLst>
                <a:ext uri="{FF2B5EF4-FFF2-40B4-BE49-F238E27FC236}">
                  <a16:creationId xmlns:a16="http://schemas.microsoft.com/office/drawing/2014/main" id="{E47C82D3-F8D2-8DFA-C8CD-63CDA10528BD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0" name="Rechteck 679">
              <a:extLst>
                <a:ext uri="{FF2B5EF4-FFF2-40B4-BE49-F238E27FC236}">
                  <a16:creationId xmlns:a16="http://schemas.microsoft.com/office/drawing/2014/main" id="{930A7A40-382C-C54E-984A-E506B91B5B40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1" name="Rechteck 680">
              <a:extLst>
                <a:ext uri="{FF2B5EF4-FFF2-40B4-BE49-F238E27FC236}">
                  <a16:creationId xmlns:a16="http://schemas.microsoft.com/office/drawing/2014/main" id="{B41A3D9E-8508-EB50-0B54-7B4AA342A534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2" name="Rechteck 681">
              <a:extLst>
                <a:ext uri="{FF2B5EF4-FFF2-40B4-BE49-F238E27FC236}">
                  <a16:creationId xmlns:a16="http://schemas.microsoft.com/office/drawing/2014/main" id="{DB6F446A-103B-97FC-EBE9-BBC4890763D0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3" name="Rechteck 682">
              <a:extLst>
                <a:ext uri="{FF2B5EF4-FFF2-40B4-BE49-F238E27FC236}">
                  <a16:creationId xmlns:a16="http://schemas.microsoft.com/office/drawing/2014/main" id="{1C483122-6EAB-C3C6-8F54-08AE652B9276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4" name="Rechteck 683">
              <a:extLst>
                <a:ext uri="{FF2B5EF4-FFF2-40B4-BE49-F238E27FC236}">
                  <a16:creationId xmlns:a16="http://schemas.microsoft.com/office/drawing/2014/main" id="{19509C6E-0FFF-C244-A551-91307F5B3DEC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5" name="Rechteck 684">
              <a:extLst>
                <a:ext uri="{FF2B5EF4-FFF2-40B4-BE49-F238E27FC236}">
                  <a16:creationId xmlns:a16="http://schemas.microsoft.com/office/drawing/2014/main" id="{39674905-C4D4-7CC6-CDEE-636DE8BDE72F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6" name="Rechteck 685">
              <a:extLst>
                <a:ext uri="{FF2B5EF4-FFF2-40B4-BE49-F238E27FC236}">
                  <a16:creationId xmlns:a16="http://schemas.microsoft.com/office/drawing/2014/main" id="{CAD1DA37-C35B-2020-D739-15C02207A195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7" name="Rechteck 686">
              <a:extLst>
                <a:ext uri="{FF2B5EF4-FFF2-40B4-BE49-F238E27FC236}">
                  <a16:creationId xmlns:a16="http://schemas.microsoft.com/office/drawing/2014/main" id="{4F89A6D8-A531-8FEB-5675-22273018C855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8" name="Rechteck 687">
              <a:extLst>
                <a:ext uri="{FF2B5EF4-FFF2-40B4-BE49-F238E27FC236}">
                  <a16:creationId xmlns:a16="http://schemas.microsoft.com/office/drawing/2014/main" id="{804D21EB-34D8-09BA-DAB9-EDB1371935D6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9" name="Rechteck 688">
              <a:extLst>
                <a:ext uri="{FF2B5EF4-FFF2-40B4-BE49-F238E27FC236}">
                  <a16:creationId xmlns:a16="http://schemas.microsoft.com/office/drawing/2014/main" id="{CEAAC0E7-B81A-A84D-1764-68697EFF805B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0" name="Rechteck 689">
              <a:extLst>
                <a:ext uri="{FF2B5EF4-FFF2-40B4-BE49-F238E27FC236}">
                  <a16:creationId xmlns:a16="http://schemas.microsoft.com/office/drawing/2014/main" id="{CCE27AEA-32ED-71AA-DE9E-C084CE5DA1FF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1" name="Rechteck 690">
              <a:extLst>
                <a:ext uri="{FF2B5EF4-FFF2-40B4-BE49-F238E27FC236}">
                  <a16:creationId xmlns:a16="http://schemas.microsoft.com/office/drawing/2014/main" id="{2B471207-418E-6ACB-F920-274149E65A81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2" name="Rechteck 691">
              <a:extLst>
                <a:ext uri="{FF2B5EF4-FFF2-40B4-BE49-F238E27FC236}">
                  <a16:creationId xmlns:a16="http://schemas.microsoft.com/office/drawing/2014/main" id="{253F4C61-E51B-A31C-437F-EEF4F8570226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3" name="Rechteck 692">
              <a:extLst>
                <a:ext uri="{FF2B5EF4-FFF2-40B4-BE49-F238E27FC236}">
                  <a16:creationId xmlns:a16="http://schemas.microsoft.com/office/drawing/2014/main" id="{99713628-DC78-ECBF-ABBB-B42A814972AB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4" name="Rechteck 693">
              <a:extLst>
                <a:ext uri="{FF2B5EF4-FFF2-40B4-BE49-F238E27FC236}">
                  <a16:creationId xmlns:a16="http://schemas.microsoft.com/office/drawing/2014/main" id="{A53FC6F1-B745-9578-B255-448966C69200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5" name="Rechteck 694">
              <a:extLst>
                <a:ext uri="{FF2B5EF4-FFF2-40B4-BE49-F238E27FC236}">
                  <a16:creationId xmlns:a16="http://schemas.microsoft.com/office/drawing/2014/main" id="{181A3FA9-32F4-D64A-2409-883DF8C3C2E6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6" name="Rechteck 695">
              <a:extLst>
                <a:ext uri="{FF2B5EF4-FFF2-40B4-BE49-F238E27FC236}">
                  <a16:creationId xmlns:a16="http://schemas.microsoft.com/office/drawing/2014/main" id="{E795399E-E0FE-97E4-F981-D839295DB860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7" name="Rechteck 696">
              <a:extLst>
                <a:ext uri="{FF2B5EF4-FFF2-40B4-BE49-F238E27FC236}">
                  <a16:creationId xmlns:a16="http://schemas.microsoft.com/office/drawing/2014/main" id="{7894E590-844B-C908-79B4-931D5253B6D3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8" name="Rechteck 697">
              <a:extLst>
                <a:ext uri="{FF2B5EF4-FFF2-40B4-BE49-F238E27FC236}">
                  <a16:creationId xmlns:a16="http://schemas.microsoft.com/office/drawing/2014/main" id="{280163C9-E744-D666-9E7B-41020E3AB72F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9" name="Rechteck 698">
              <a:extLst>
                <a:ext uri="{FF2B5EF4-FFF2-40B4-BE49-F238E27FC236}">
                  <a16:creationId xmlns:a16="http://schemas.microsoft.com/office/drawing/2014/main" id="{7A31D744-7452-14D9-2D35-FEE927D1CAA3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0" name="Rechteck 699">
              <a:extLst>
                <a:ext uri="{FF2B5EF4-FFF2-40B4-BE49-F238E27FC236}">
                  <a16:creationId xmlns:a16="http://schemas.microsoft.com/office/drawing/2014/main" id="{CA63B1FA-C6E6-8E45-40FE-D92290FFF3E1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1" name="Rechteck 700">
              <a:extLst>
                <a:ext uri="{FF2B5EF4-FFF2-40B4-BE49-F238E27FC236}">
                  <a16:creationId xmlns:a16="http://schemas.microsoft.com/office/drawing/2014/main" id="{BF2D07C1-4C20-0357-B196-BAAD39D296A2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2" name="Rechteck 701">
              <a:extLst>
                <a:ext uri="{FF2B5EF4-FFF2-40B4-BE49-F238E27FC236}">
                  <a16:creationId xmlns:a16="http://schemas.microsoft.com/office/drawing/2014/main" id="{D5A5E5AF-775A-9684-3A22-7ACD93A2A970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3" name="Rechteck 702">
              <a:extLst>
                <a:ext uri="{FF2B5EF4-FFF2-40B4-BE49-F238E27FC236}">
                  <a16:creationId xmlns:a16="http://schemas.microsoft.com/office/drawing/2014/main" id="{91A254AC-1D4B-36A3-4E09-36AFBF890C99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4" name="Rechteck 703">
              <a:extLst>
                <a:ext uri="{FF2B5EF4-FFF2-40B4-BE49-F238E27FC236}">
                  <a16:creationId xmlns:a16="http://schemas.microsoft.com/office/drawing/2014/main" id="{1A570A4E-4DC8-FA7F-7160-39B7BE708BB6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5" name="Rechteck 704">
              <a:extLst>
                <a:ext uri="{FF2B5EF4-FFF2-40B4-BE49-F238E27FC236}">
                  <a16:creationId xmlns:a16="http://schemas.microsoft.com/office/drawing/2014/main" id="{EACC5360-6427-DBA1-924A-70DBE6463282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6" name="Rechteck 705">
              <a:extLst>
                <a:ext uri="{FF2B5EF4-FFF2-40B4-BE49-F238E27FC236}">
                  <a16:creationId xmlns:a16="http://schemas.microsoft.com/office/drawing/2014/main" id="{4B0B4BBD-9439-34C2-C6CC-95A540CFA7CA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7" name="Rechteck 706">
              <a:extLst>
                <a:ext uri="{FF2B5EF4-FFF2-40B4-BE49-F238E27FC236}">
                  <a16:creationId xmlns:a16="http://schemas.microsoft.com/office/drawing/2014/main" id="{B17E2CD9-C4CA-BA75-8FB2-51C75E141960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8" name="Rechteck 707">
              <a:extLst>
                <a:ext uri="{FF2B5EF4-FFF2-40B4-BE49-F238E27FC236}">
                  <a16:creationId xmlns:a16="http://schemas.microsoft.com/office/drawing/2014/main" id="{C40F7164-E113-A9C5-C24B-E978B2D36785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9" name="Rechteck 708">
              <a:extLst>
                <a:ext uri="{FF2B5EF4-FFF2-40B4-BE49-F238E27FC236}">
                  <a16:creationId xmlns:a16="http://schemas.microsoft.com/office/drawing/2014/main" id="{DB01BB92-4FA0-7D62-F488-58A68E48A6F7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0" name="Rechteck 709">
              <a:extLst>
                <a:ext uri="{FF2B5EF4-FFF2-40B4-BE49-F238E27FC236}">
                  <a16:creationId xmlns:a16="http://schemas.microsoft.com/office/drawing/2014/main" id="{6E4E369A-F28A-19A9-4F0C-F033838821EC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1" name="Rechteck 710">
              <a:extLst>
                <a:ext uri="{FF2B5EF4-FFF2-40B4-BE49-F238E27FC236}">
                  <a16:creationId xmlns:a16="http://schemas.microsoft.com/office/drawing/2014/main" id="{A00CE3B3-A7C5-7CCE-530C-5475BACB67C7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2" name="Rechteck 711">
              <a:extLst>
                <a:ext uri="{FF2B5EF4-FFF2-40B4-BE49-F238E27FC236}">
                  <a16:creationId xmlns:a16="http://schemas.microsoft.com/office/drawing/2014/main" id="{0F9031C3-372F-CD2F-3A98-877622403322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3" name="Rechteck 712">
              <a:extLst>
                <a:ext uri="{FF2B5EF4-FFF2-40B4-BE49-F238E27FC236}">
                  <a16:creationId xmlns:a16="http://schemas.microsoft.com/office/drawing/2014/main" id="{1443E469-9FCC-DBDC-E14D-8E776F8AEB53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4" name="Rechteck 713">
              <a:extLst>
                <a:ext uri="{FF2B5EF4-FFF2-40B4-BE49-F238E27FC236}">
                  <a16:creationId xmlns:a16="http://schemas.microsoft.com/office/drawing/2014/main" id="{5D3C61CC-ABF2-D46F-F971-CA4323D2B7CC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5" name="Rechteck 714">
              <a:extLst>
                <a:ext uri="{FF2B5EF4-FFF2-40B4-BE49-F238E27FC236}">
                  <a16:creationId xmlns:a16="http://schemas.microsoft.com/office/drawing/2014/main" id="{320FABFA-B1D6-E117-48BB-8F9A01E3673A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6" name="Rechteck 715">
              <a:extLst>
                <a:ext uri="{FF2B5EF4-FFF2-40B4-BE49-F238E27FC236}">
                  <a16:creationId xmlns:a16="http://schemas.microsoft.com/office/drawing/2014/main" id="{8DC80A83-EC79-45B7-15D4-FB5B673C4D19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7" name="Rechteck 716">
              <a:extLst>
                <a:ext uri="{FF2B5EF4-FFF2-40B4-BE49-F238E27FC236}">
                  <a16:creationId xmlns:a16="http://schemas.microsoft.com/office/drawing/2014/main" id="{A577330A-F589-8E5F-CB85-02AF08786286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8" name="Rechteck 717">
              <a:extLst>
                <a:ext uri="{FF2B5EF4-FFF2-40B4-BE49-F238E27FC236}">
                  <a16:creationId xmlns:a16="http://schemas.microsoft.com/office/drawing/2014/main" id="{D381650E-06C2-C760-AE1C-D4C3B6816408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9" name="Rechteck 718">
              <a:extLst>
                <a:ext uri="{FF2B5EF4-FFF2-40B4-BE49-F238E27FC236}">
                  <a16:creationId xmlns:a16="http://schemas.microsoft.com/office/drawing/2014/main" id="{29141E38-3E3E-C732-BB5B-B5B46BCD8FBC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0" name="Rechteck 719">
              <a:extLst>
                <a:ext uri="{FF2B5EF4-FFF2-40B4-BE49-F238E27FC236}">
                  <a16:creationId xmlns:a16="http://schemas.microsoft.com/office/drawing/2014/main" id="{9DE2E3C1-5583-593F-E5D8-A12AC4AB556E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1" name="Rechteck 720">
              <a:extLst>
                <a:ext uri="{FF2B5EF4-FFF2-40B4-BE49-F238E27FC236}">
                  <a16:creationId xmlns:a16="http://schemas.microsoft.com/office/drawing/2014/main" id="{2B9C3071-5C9F-536A-CF3C-54D3AE9879EB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2" name="Rechteck 721">
              <a:extLst>
                <a:ext uri="{FF2B5EF4-FFF2-40B4-BE49-F238E27FC236}">
                  <a16:creationId xmlns:a16="http://schemas.microsoft.com/office/drawing/2014/main" id="{F81644A7-4460-3B2E-8CC4-BE034C3DC2C5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3" name="Rechteck 722">
              <a:extLst>
                <a:ext uri="{FF2B5EF4-FFF2-40B4-BE49-F238E27FC236}">
                  <a16:creationId xmlns:a16="http://schemas.microsoft.com/office/drawing/2014/main" id="{5E8E011A-E9F5-C3AC-322B-330773B0FA79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4" name="Rechteck 723">
              <a:extLst>
                <a:ext uri="{FF2B5EF4-FFF2-40B4-BE49-F238E27FC236}">
                  <a16:creationId xmlns:a16="http://schemas.microsoft.com/office/drawing/2014/main" id="{3D8D594D-10FC-D95A-0577-8B7B834294EA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5" name="Rechteck 724">
              <a:extLst>
                <a:ext uri="{FF2B5EF4-FFF2-40B4-BE49-F238E27FC236}">
                  <a16:creationId xmlns:a16="http://schemas.microsoft.com/office/drawing/2014/main" id="{A9958DA1-D625-1C0A-A683-31C5820BE976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6" name="Rechteck 725">
              <a:extLst>
                <a:ext uri="{FF2B5EF4-FFF2-40B4-BE49-F238E27FC236}">
                  <a16:creationId xmlns:a16="http://schemas.microsoft.com/office/drawing/2014/main" id="{374F5934-6ECE-175C-DBE4-65460BD275D1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7" name="Rechteck 726">
              <a:extLst>
                <a:ext uri="{FF2B5EF4-FFF2-40B4-BE49-F238E27FC236}">
                  <a16:creationId xmlns:a16="http://schemas.microsoft.com/office/drawing/2014/main" id="{E9053F87-10D1-C3C3-1B42-3EF567FA8B55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8" name="Rechteck 727">
              <a:extLst>
                <a:ext uri="{FF2B5EF4-FFF2-40B4-BE49-F238E27FC236}">
                  <a16:creationId xmlns:a16="http://schemas.microsoft.com/office/drawing/2014/main" id="{2F093697-3051-3678-3572-2632CF70DED1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9" name="Rechteck 728">
              <a:extLst>
                <a:ext uri="{FF2B5EF4-FFF2-40B4-BE49-F238E27FC236}">
                  <a16:creationId xmlns:a16="http://schemas.microsoft.com/office/drawing/2014/main" id="{51895978-768E-DF20-9A71-452B78236DA7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0" name="Rechteck 729">
              <a:extLst>
                <a:ext uri="{FF2B5EF4-FFF2-40B4-BE49-F238E27FC236}">
                  <a16:creationId xmlns:a16="http://schemas.microsoft.com/office/drawing/2014/main" id="{018A5511-9143-24B8-0E90-EAA9C6AFA187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1" name="Rechteck 730">
              <a:extLst>
                <a:ext uri="{FF2B5EF4-FFF2-40B4-BE49-F238E27FC236}">
                  <a16:creationId xmlns:a16="http://schemas.microsoft.com/office/drawing/2014/main" id="{E7F12928-D575-00B4-7AE1-191BDF1FA947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2" name="Rechteck 731">
              <a:extLst>
                <a:ext uri="{FF2B5EF4-FFF2-40B4-BE49-F238E27FC236}">
                  <a16:creationId xmlns:a16="http://schemas.microsoft.com/office/drawing/2014/main" id="{B605AD07-FBC4-E46F-648B-DFB26B97E23D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3" name="Rechteck 732">
              <a:extLst>
                <a:ext uri="{FF2B5EF4-FFF2-40B4-BE49-F238E27FC236}">
                  <a16:creationId xmlns:a16="http://schemas.microsoft.com/office/drawing/2014/main" id="{1103C753-ED2B-F02B-F198-69678ECE8AF0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4" name="Rechteck 733">
              <a:extLst>
                <a:ext uri="{FF2B5EF4-FFF2-40B4-BE49-F238E27FC236}">
                  <a16:creationId xmlns:a16="http://schemas.microsoft.com/office/drawing/2014/main" id="{D8FBA847-9A7A-7A43-CDB8-DDFB2D8979D4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5" name="Rechteck 734">
              <a:extLst>
                <a:ext uri="{FF2B5EF4-FFF2-40B4-BE49-F238E27FC236}">
                  <a16:creationId xmlns:a16="http://schemas.microsoft.com/office/drawing/2014/main" id="{AE61CCAB-FCC0-7216-AB9E-6ECAFD48BF6F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6" name="Rechteck 735">
              <a:extLst>
                <a:ext uri="{FF2B5EF4-FFF2-40B4-BE49-F238E27FC236}">
                  <a16:creationId xmlns:a16="http://schemas.microsoft.com/office/drawing/2014/main" id="{8CC529D3-B8C7-158E-2695-FFF7CF8D8A84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7" name="Rechteck 736">
              <a:extLst>
                <a:ext uri="{FF2B5EF4-FFF2-40B4-BE49-F238E27FC236}">
                  <a16:creationId xmlns:a16="http://schemas.microsoft.com/office/drawing/2014/main" id="{33FD2AC1-8C1A-B152-79D0-7C24F299522F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8" name="Rechteck 737">
              <a:extLst>
                <a:ext uri="{FF2B5EF4-FFF2-40B4-BE49-F238E27FC236}">
                  <a16:creationId xmlns:a16="http://schemas.microsoft.com/office/drawing/2014/main" id="{4BD609FC-B7F7-0390-7ED3-83FAF24FA35D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9" name="Rechteck 738">
              <a:extLst>
                <a:ext uri="{FF2B5EF4-FFF2-40B4-BE49-F238E27FC236}">
                  <a16:creationId xmlns:a16="http://schemas.microsoft.com/office/drawing/2014/main" id="{F663EBC6-F09A-ED24-0F85-0C7AE36C9C27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0" name="Rechteck 739">
              <a:extLst>
                <a:ext uri="{FF2B5EF4-FFF2-40B4-BE49-F238E27FC236}">
                  <a16:creationId xmlns:a16="http://schemas.microsoft.com/office/drawing/2014/main" id="{C49EFA59-778D-BF09-8B71-DA41C4252E69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1" name="Rechteck 740">
              <a:extLst>
                <a:ext uri="{FF2B5EF4-FFF2-40B4-BE49-F238E27FC236}">
                  <a16:creationId xmlns:a16="http://schemas.microsoft.com/office/drawing/2014/main" id="{62C11425-39FE-40F6-4C69-B0C573A32808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2" name="Rechteck 741">
              <a:extLst>
                <a:ext uri="{FF2B5EF4-FFF2-40B4-BE49-F238E27FC236}">
                  <a16:creationId xmlns:a16="http://schemas.microsoft.com/office/drawing/2014/main" id="{E8746B96-D16A-E91E-79F5-360B4DEE6D48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3" name="Rechteck 742">
              <a:extLst>
                <a:ext uri="{FF2B5EF4-FFF2-40B4-BE49-F238E27FC236}">
                  <a16:creationId xmlns:a16="http://schemas.microsoft.com/office/drawing/2014/main" id="{6AED2833-A35C-7197-4A27-40626DAB991C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4" name="Rechteck 743">
              <a:extLst>
                <a:ext uri="{FF2B5EF4-FFF2-40B4-BE49-F238E27FC236}">
                  <a16:creationId xmlns:a16="http://schemas.microsoft.com/office/drawing/2014/main" id="{E96FF25A-734D-1AAB-01CD-B681A0BF51C2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5" name="Rechteck 744">
              <a:extLst>
                <a:ext uri="{FF2B5EF4-FFF2-40B4-BE49-F238E27FC236}">
                  <a16:creationId xmlns:a16="http://schemas.microsoft.com/office/drawing/2014/main" id="{AEA9EB58-A9D6-7C12-0A53-EE7AD90330E2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6" name="Rechteck 745">
              <a:extLst>
                <a:ext uri="{FF2B5EF4-FFF2-40B4-BE49-F238E27FC236}">
                  <a16:creationId xmlns:a16="http://schemas.microsoft.com/office/drawing/2014/main" id="{4EC8FD30-3217-035A-7781-DCE5B57C873C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7" name="Rechteck 746">
              <a:extLst>
                <a:ext uri="{FF2B5EF4-FFF2-40B4-BE49-F238E27FC236}">
                  <a16:creationId xmlns:a16="http://schemas.microsoft.com/office/drawing/2014/main" id="{5972FDC6-E490-DD1D-701C-85649A5203A1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8" name="Rechteck 747">
              <a:extLst>
                <a:ext uri="{FF2B5EF4-FFF2-40B4-BE49-F238E27FC236}">
                  <a16:creationId xmlns:a16="http://schemas.microsoft.com/office/drawing/2014/main" id="{AFCA06ED-52D0-886C-C114-AAECF12FAABD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9" name="Rechteck 748">
              <a:extLst>
                <a:ext uri="{FF2B5EF4-FFF2-40B4-BE49-F238E27FC236}">
                  <a16:creationId xmlns:a16="http://schemas.microsoft.com/office/drawing/2014/main" id="{7401361A-7502-F5D2-106D-67E1BB513E80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0" name="Rechteck 749">
              <a:extLst>
                <a:ext uri="{FF2B5EF4-FFF2-40B4-BE49-F238E27FC236}">
                  <a16:creationId xmlns:a16="http://schemas.microsoft.com/office/drawing/2014/main" id="{C1624EE1-76A1-9CBF-2515-3A622E9D481E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1" name="Rechteck 750">
              <a:extLst>
                <a:ext uri="{FF2B5EF4-FFF2-40B4-BE49-F238E27FC236}">
                  <a16:creationId xmlns:a16="http://schemas.microsoft.com/office/drawing/2014/main" id="{97EF7DFF-F047-956A-254F-B2F92C38EB7D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2" name="Rechteck 751">
              <a:extLst>
                <a:ext uri="{FF2B5EF4-FFF2-40B4-BE49-F238E27FC236}">
                  <a16:creationId xmlns:a16="http://schemas.microsoft.com/office/drawing/2014/main" id="{674D69B7-750B-62AE-9ECA-9D35102B3E8B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3" name="Rechteck 752">
              <a:extLst>
                <a:ext uri="{FF2B5EF4-FFF2-40B4-BE49-F238E27FC236}">
                  <a16:creationId xmlns:a16="http://schemas.microsoft.com/office/drawing/2014/main" id="{B94D7D5A-1C36-7D19-4040-6EE7B76A71DA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4" name="Rechteck 753">
              <a:extLst>
                <a:ext uri="{FF2B5EF4-FFF2-40B4-BE49-F238E27FC236}">
                  <a16:creationId xmlns:a16="http://schemas.microsoft.com/office/drawing/2014/main" id="{F1D49BBE-74A0-EB07-F3D4-FD4B10EEC616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5" name="Rechteck 754">
              <a:extLst>
                <a:ext uri="{FF2B5EF4-FFF2-40B4-BE49-F238E27FC236}">
                  <a16:creationId xmlns:a16="http://schemas.microsoft.com/office/drawing/2014/main" id="{FBB6554D-08F0-0C92-EDAE-A798CB54A22E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6" name="Rechteck 755">
              <a:extLst>
                <a:ext uri="{FF2B5EF4-FFF2-40B4-BE49-F238E27FC236}">
                  <a16:creationId xmlns:a16="http://schemas.microsoft.com/office/drawing/2014/main" id="{1500A330-DA56-B32F-AC26-9ABD3D722C15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7" name="Rechteck 756">
              <a:extLst>
                <a:ext uri="{FF2B5EF4-FFF2-40B4-BE49-F238E27FC236}">
                  <a16:creationId xmlns:a16="http://schemas.microsoft.com/office/drawing/2014/main" id="{FE2F15D8-A00E-591B-3CAA-4E0CCFDC10A3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8" name="Rechteck 757">
              <a:extLst>
                <a:ext uri="{FF2B5EF4-FFF2-40B4-BE49-F238E27FC236}">
                  <a16:creationId xmlns:a16="http://schemas.microsoft.com/office/drawing/2014/main" id="{1D0CC187-2DE9-1187-C1B2-848DD60FE640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9" name="Rechteck 758">
              <a:extLst>
                <a:ext uri="{FF2B5EF4-FFF2-40B4-BE49-F238E27FC236}">
                  <a16:creationId xmlns:a16="http://schemas.microsoft.com/office/drawing/2014/main" id="{AD01D13E-F465-BCD7-F39D-2FEAC90BF62D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0" name="Rechteck 759">
              <a:extLst>
                <a:ext uri="{FF2B5EF4-FFF2-40B4-BE49-F238E27FC236}">
                  <a16:creationId xmlns:a16="http://schemas.microsoft.com/office/drawing/2014/main" id="{F7A1C7C7-3B70-7F83-55A0-4D26516BF264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1" name="Rechteck 760">
              <a:extLst>
                <a:ext uri="{FF2B5EF4-FFF2-40B4-BE49-F238E27FC236}">
                  <a16:creationId xmlns:a16="http://schemas.microsoft.com/office/drawing/2014/main" id="{47046FB1-8044-1261-59A7-6F888049F318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2" name="Rechteck 761">
              <a:extLst>
                <a:ext uri="{FF2B5EF4-FFF2-40B4-BE49-F238E27FC236}">
                  <a16:creationId xmlns:a16="http://schemas.microsoft.com/office/drawing/2014/main" id="{19D60D94-14B9-D8A0-E8A8-53231DA36A59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3" name="Rechteck 762">
              <a:extLst>
                <a:ext uri="{FF2B5EF4-FFF2-40B4-BE49-F238E27FC236}">
                  <a16:creationId xmlns:a16="http://schemas.microsoft.com/office/drawing/2014/main" id="{E7B701E6-624C-EFCB-73DB-4F5F09974A51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4" name="Rechteck 763">
              <a:extLst>
                <a:ext uri="{FF2B5EF4-FFF2-40B4-BE49-F238E27FC236}">
                  <a16:creationId xmlns:a16="http://schemas.microsoft.com/office/drawing/2014/main" id="{C1B6A210-5C05-966C-472C-C7D9A1B08CBC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5" name="Rechteck 764">
              <a:extLst>
                <a:ext uri="{FF2B5EF4-FFF2-40B4-BE49-F238E27FC236}">
                  <a16:creationId xmlns:a16="http://schemas.microsoft.com/office/drawing/2014/main" id="{3F68AA23-0081-3404-265A-6498D460C73E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6" name="Rechteck 765">
              <a:extLst>
                <a:ext uri="{FF2B5EF4-FFF2-40B4-BE49-F238E27FC236}">
                  <a16:creationId xmlns:a16="http://schemas.microsoft.com/office/drawing/2014/main" id="{4EEAAE17-4B7B-B5BA-BB39-D630697BBDC4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7" name="Rechteck 766">
              <a:extLst>
                <a:ext uri="{FF2B5EF4-FFF2-40B4-BE49-F238E27FC236}">
                  <a16:creationId xmlns:a16="http://schemas.microsoft.com/office/drawing/2014/main" id="{5A75D2D2-9372-A16D-147F-4B5E8F7A0535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8" name="Rechteck 767">
              <a:extLst>
                <a:ext uri="{FF2B5EF4-FFF2-40B4-BE49-F238E27FC236}">
                  <a16:creationId xmlns:a16="http://schemas.microsoft.com/office/drawing/2014/main" id="{DB586407-DA7A-7A4B-3FA6-D404439CA121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9" name="Rechteck 768">
              <a:extLst>
                <a:ext uri="{FF2B5EF4-FFF2-40B4-BE49-F238E27FC236}">
                  <a16:creationId xmlns:a16="http://schemas.microsoft.com/office/drawing/2014/main" id="{68509614-5855-1489-6F9D-6A09D7733263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0" name="Rechteck 769">
              <a:extLst>
                <a:ext uri="{FF2B5EF4-FFF2-40B4-BE49-F238E27FC236}">
                  <a16:creationId xmlns:a16="http://schemas.microsoft.com/office/drawing/2014/main" id="{F983BA39-5894-CC31-43E6-DB6DDD986D8C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1" name="Rechteck 770">
              <a:extLst>
                <a:ext uri="{FF2B5EF4-FFF2-40B4-BE49-F238E27FC236}">
                  <a16:creationId xmlns:a16="http://schemas.microsoft.com/office/drawing/2014/main" id="{5FFACC0B-DE19-87E7-4A13-8325F7180174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2" name="Rechteck 771">
              <a:extLst>
                <a:ext uri="{FF2B5EF4-FFF2-40B4-BE49-F238E27FC236}">
                  <a16:creationId xmlns:a16="http://schemas.microsoft.com/office/drawing/2014/main" id="{682D6F1E-92E4-CD51-37C2-F06084603532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3" name="Rechteck 772">
              <a:extLst>
                <a:ext uri="{FF2B5EF4-FFF2-40B4-BE49-F238E27FC236}">
                  <a16:creationId xmlns:a16="http://schemas.microsoft.com/office/drawing/2014/main" id="{ED903198-140E-E724-074F-6752A6B7C121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4" name="Rechteck 773">
              <a:extLst>
                <a:ext uri="{FF2B5EF4-FFF2-40B4-BE49-F238E27FC236}">
                  <a16:creationId xmlns:a16="http://schemas.microsoft.com/office/drawing/2014/main" id="{A699F9C3-AE66-4A9F-5A4A-89DFE5DBF055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sp>
        <p:nvSpPr>
          <p:cNvPr id="275" name="Shape">
            <a:extLst>
              <a:ext uri="{FF2B5EF4-FFF2-40B4-BE49-F238E27FC236}">
                <a16:creationId xmlns:a16="http://schemas.microsoft.com/office/drawing/2014/main" id="{C0816E57-F737-4DE9-B1EF-B6C527A347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839416" y="1988840"/>
            <a:ext cx="3023255" cy="3019981"/>
          </a:xfrm>
          <a:custGeom>
            <a:avLst/>
            <a:gdLst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517775 w 3022600"/>
              <a:gd name="connsiteY2" fmla="*/ 2520950 h 3024187"/>
              <a:gd name="connsiteX3" fmla="*/ 0 w 3022600"/>
              <a:gd name="connsiteY3" fmla="*/ 3024187 h 302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22600" h="3024187">
                <a:moveTo>
                  <a:pt x="0" y="0"/>
                </a:moveTo>
                <a:lnTo>
                  <a:pt x="3022600" y="0"/>
                </a:lnTo>
                <a:lnTo>
                  <a:pt x="2517775" y="2520950"/>
                </a:lnTo>
                <a:lnTo>
                  <a:pt x="0" y="3024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sp>
        <p:nvSpPr>
          <p:cNvPr id="274" name="Shape">
            <a:extLst>
              <a:ext uri="{FF2B5EF4-FFF2-40B4-BE49-F238E27FC236}">
                <a16:creationId xmlns:a16="http://schemas.microsoft.com/office/drawing/2014/main" id="{2EF2035B-25E2-4574-8A4A-D1A83A6485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911424" y="2059254"/>
            <a:ext cx="2887350" cy="2884222"/>
          </a:xfrm>
          <a:custGeom>
            <a:avLst/>
            <a:gdLst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517775 w 3022600"/>
              <a:gd name="connsiteY2" fmla="*/ 2520950 h 3024187"/>
              <a:gd name="connsiteX3" fmla="*/ 0 w 3022600"/>
              <a:gd name="connsiteY3" fmla="*/ 3024187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438006 w 3022600"/>
              <a:gd name="connsiteY2" fmla="*/ 2461027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2600" h="3024187">
                <a:moveTo>
                  <a:pt x="0" y="0"/>
                </a:moveTo>
                <a:lnTo>
                  <a:pt x="3022600" y="0"/>
                </a:lnTo>
                <a:lnTo>
                  <a:pt x="2438006" y="2461027"/>
                </a:lnTo>
                <a:lnTo>
                  <a:pt x="0" y="3024187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sp>
        <p:nvSpPr>
          <p:cNvPr id="255" name="Title">
            <a:extLst>
              <a:ext uri="{FF2B5EF4-FFF2-40B4-BE49-F238E27FC236}">
                <a16:creationId xmlns:a16="http://schemas.microsoft.com/office/drawing/2014/main" id="{9258FB6E-C910-44A9-A44D-172431214D3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1127712" y="2276840"/>
            <a:ext cx="2376000" cy="1296000"/>
          </a:xfrm>
          <a:prstGeom prst="rect">
            <a:avLst/>
          </a:prstGeom>
          <a:noFill/>
          <a:ln w="127">
            <a:noFill/>
          </a:ln>
        </p:spPr>
        <p:txBody>
          <a:bodyPr vert="horz" lIns="0" tIns="0" rIns="0" bIns="0" anchor="t">
            <a:noAutofit/>
          </a:bodyPr>
          <a:lstStyle>
            <a:lvl1pPr algn="l">
              <a:lnSpc>
                <a:spcPct val="90000"/>
              </a:lnSpc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[Thank You]</a:t>
            </a:r>
          </a:p>
        </p:txBody>
      </p:sp>
      <p:sp>
        <p:nvSpPr>
          <p:cNvPr id="271" name="Subtitle">
            <a:extLst>
              <a:ext uri="{FF2B5EF4-FFF2-40B4-BE49-F238E27FC236}">
                <a16:creationId xmlns:a16="http://schemas.microsoft.com/office/drawing/2014/main" id="{266E9096-0006-85D5-E288-890B63E2FBD3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1125753" y="3789072"/>
            <a:ext cx="2159704" cy="288000"/>
          </a:xfrm>
          <a:prstGeom prst="rect">
            <a:avLst/>
          </a:prstGeom>
          <a:noFill/>
          <a:ln w="127">
            <a:noFill/>
          </a:ln>
        </p:spPr>
        <p:txBody>
          <a:bodyPr wrap="none" lIns="0" tIns="0" r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pPr lvl="0"/>
            <a:r>
              <a:rPr lang="en-GB"/>
              <a:t>gfk.com</a:t>
            </a:r>
          </a:p>
        </p:txBody>
      </p:sp>
      <p:pic>
        <p:nvPicPr>
          <p:cNvPr id="273" name="Logo">
            <a:extLst>
              <a:ext uri="{FF2B5EF4-FFF2-40B4-BE49-F238E27FC236}">
                <a16:creationId xmlns:a16="http://schemas.microsoft.com/office/drawing/2014/main" id="{4A8EE29D-1748-2592-7338-8972F90EB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355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 with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2BBC633-89A1-6361-22A8-D7CF6E7388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8950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2BBC633-89A1-6361-22A8-D7CF6E7388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6" name="Picture">
            <a:extLst>
              <a:ext uri="{FF2B5EF4-FFF2-40B4-BE49-F238E27FC236}">
                <a16:creationId xmlns:a16="http://schemas.microsoft.com/office/drawing/2014/main" id="{7F971BB4-CECE-4C6B-9C8F-D4F40265C4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6D9DC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EFDF75BA-555D-4338-B380-D9FEBC0FA6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 bwMode="gray">
          <a:xfrm>
            <a:off x="10128448" y="338138"/>
            <a:ext cx="1357714" cy="576000"/>
          </a:xfrm>
          <a:blipFill dpi="0"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10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0">
                <a:latin typeface="+mn-lt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 sz="1000" b="0"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0"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0"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0"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0">
                <a:latin typeface="+mn-lt"/>
              </a:defRPr>
            </a:lvl9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820BDBDE-2114-847E-0C16-7EB6B85C44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1424" y="2059254"/>
            <a:ext cx="2887350" cy="2884222"/>
          </a:xfrm>
          <a:custGeom>
            <a:avLst/>
            <a:gdLst>
              <a:gd name="connsiteX0" fmla="*/ 0 w 2887350"/>
              <a:gd name="connsiteY0" fmla="*/ 0 h 2884222"/>
              <a:gd name="connsiteX1" fmla="*/ 2887350 w 2887350"/>
              <a:gd name="connsiteY1" fmla="*/ 0 h 2884222"/>
              <a:gd name="connsiteX2" fmla="*/ 2328915 w 2887350"/>
              <a:gd name="connsiteY2" fmla="*/ 2347126 h 2884222"/>
              <a:gd name="connsiteX3" fmla="*/ 0 w 2887350"/>
              <a:gd name="connsiteY3" fmla="*/ 2884222 h 2884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87350" h="2884222">
                <a:moveTo>
                  <a:pt x="0" y="0"/>
                </a:moveTo>
                <a:lnTo>
                  <a:pt x="2887350" y="0"/>
                </a:lnTo>
                <a:lnTo>
                  <a:pt x="2328915" y="2347126"/>
                </a:lnTo>
                <a:lnTo>
                  <a:pt x="0" y="2884222"/>
                </a:lnTo>
                <a:close/>
              </a:path>
            </a:pathLst>
          </a:custGeom>
          <a:solidFill>
            <a:schemeClr val="tx1"/>
          </a:solidFill>
          <a:ln w="127">
            <a:solidFill>
              <a:schemeClr val="tx1"/>
            </a:solidFill>
          </a:ln>
        </p:spPr>
        <p:txBody>
          <a:bodyPr wrap="square" lIns="216000" tIns="180000" rIns="216000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/>
              <a:t>[Thank You]</a:t>
            </a:r>
          </a:p>
        </p:txBody>
      </p:sp>
      <p:sp>
        <p:nvSpPr>
          <p:cNvPr id="277" name="Subtitle 2">
            <a:extLst>
              <a:ext uri="{FF2B5EF4-FFF2-40B4-BE49-F238E27FC236}">
                <a16:creationId xmlns:a16="http://schemas.microsoft.com/office/drawing/2014/main" id="{ACF2BA01-68EA-4B41-8EA0-32D3161DE7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911424" y="3789040"/>
            <a:ext cx="2375704" cy="575960"/>
          </a:xfrm>
          <a:prstGeom prst="rect">
            <a:avLst/>
          </a:prstGeom>
          <a:noFill/>
          <a:ln w="0">
            <a:noFill/>
          </a:ln>
        </p:spPr>
        <p:txBody>
          <a:bodyPr lIns="21600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9pPr>
          </a:lstStyle>
          <a:p>
            <a:r>
              <a:rPr lang="en-GB"/>
              <a:t>gfk.com</a:t>
            </a:r>
          </a:p>
        </p:txBody>
      </p:sp>
    </p:spTree>
    <p:extLst>
      <p:ext uri="{BB962C8B-B14F-4D97-AF65-F5344CB8AC3E}">
        <p14:creationId xmlns:p14="http://schemas.microsoft.com/office/powerpoint/2010/main" val="13055230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vider 3 | Magant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id block">
            <a:extLst>
              <a:ext uri="{FF2B5EF4-FFF2-40B4-BE49-F238E27FC236}">
                <a16:creationId xmlns:a16="http://schemas.microsoft.com/office/drawing/2014/main" id="{38DDC2AA-44E3-D483-D767-22B5F537F4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 bwMode="gray">
          <a:xfrm>
            <a:off x="544857" y="1330142"/>
            <a:ext cx="11106000" cy="5060382"/>
            <a:chOff x="544857" y="1330143"/>
            <a:chExt cx="11106000" cy="5060381"/>
          </a:xfrm>
        </p:grpSpPr>
        <p:grpSp>
          <p:nvGrpSpPr>
            <p:cNvPr id="256" name="Gruppieren 255">
              <a:extLst>
                <a:ext uri="{FF2B5EF4-FFF2-40B4-BE49-F238E27FC236}">
                  <a16:creationId xmlns:a16="http://schemas.microsoft.com/office/drawing/2014/main" id="{1045CE29-5A15-42CA-B45D-0C7B637D677F}"/>
                </a:ext>
              </a:extLst>
            </p:cNvPr>
            <p:cNvGrpSpPr/>
            <p:nvPr userDrawn="1"/>
          </p:nvGrpSpPr>
          <p:grpSpPr bwMode="gray">
            <a:xfrm>
              <a:off x="544857" y="1330143"/>
              <a:ext cx="11106000" cy="4556381"/>
              <a:chOff x="544857" y="1330143"/>
              <a:chExt cx="11106000" cy="4556381"/>
            </a:xfrm>
          </p:grpSpPr>
          <p:sp>
            <p:nvSpPr>
              <p:cNvPr id="232" name="Rechteck 231">
                <a:extLst>
                  <a:ext uri="{FF2B5EF4-FFF2-40B4-BE49-F238E27FC236}">
                    <a16:creationId xmlns:a16="http://schemas.microsoft.com/office/drawing/2014/main" id="{685A504E-17E2-4A2D-A6F0-BBE208AA947D}"/>
                  </a:ext>
                </a:extLst>
              </p:cNvPr>
              <p:cNvSpPr/>
              <p:nvPr userDrawn="1"/>
            </p:nvSpPr>
            <p:spPr bwMode="gray">
              <a:xfrm>
                <a:off x="544857" y="133014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33" name="Rechteck 232">
                <a:extLst>
                  <a:ext uri="{FF2B5EF4-FFF2-40B4-BE49-F238E27FC236}">
                    <a16:creationId xmlns:a16="http://schemas.microsoft.com/office/drawing/2014/main" id="{701D83E5-E469-4B04-B160-AFF4CAEBE612}"/>
                  </a:ext>
                </a:extLst>
              </p:cNvPr>
              <p:cNvSpPr/>
              <p:nvPr userDrawn="1"/>
            </p:nvSpPr>
            <p:spPr bwMode="gray">
              <a:xfrm>
                <a:off x="1048857" y="133014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34" name="Rechteck 233">
                <a:extLst>
                  <a:ext uri="{FF2B5EF4-FFF2-40B4-BE49-F238E27FC236}">
                    <a16:creationId xmlns:a16="http://schemas.microsoft.com/office/drawing/2014/main" id="{9E68E1B6-2D89-467F-B551-D29FD827AB20}"/>
                  </a:ext>
                </a:extLst>
              </p:cNvPr>
              <p:cNvSpPr/>
              <p:nvPr userDrawn="1"/>
            </p:nvSpPr>
            <p:spPr bwMode="gray">
              <a:xfrm>
                <a:off x="1552857" y="133014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35" name="Rechteck 234">
                <a:extLst>
                  <a:ext uri="{FF2B5EF4-FFF2-40B4-BE49-F238E27FC236}">
                    <a16:creationId xmlns:a16="http://schemas.microsoft.com/office/drawing/2014/main" id="{9B62EEF5-070B-4619-8CF7-D639A30804F7}"/>
                  </a:ext>
                </a:extLst>
              </p:cNvPr>
              <p:cNvSpPr/>
              <p:nvPr userDrawn="1"/>
            </p:nvSpPr>
            <p:spPr bwMode="gray">
              <a:xfrm>
                <a:off x="2056857" y="133014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36" name="Rechteck 235">
                <a:extLst>
                  <a:ext uri="{FF2B5EF4-FFF2-40B4-BE49-F238E27FC236}">
                    <a16:creationId xmlns:a16="http://schemas.microsoft.com/office/drawing/2014/main" id="{8EA12D98-E1AF-4788-B4B1-076ED3BC3C48}"/>
                  </a:ext>
                </a:extLst>
              </p:cNvPr>
              <p:cNvSpPr/>
              <p:nvPr userDrawn="1"/>
            </p:nvSpPr>
            <p:spPr bwMode="gray">
              <a:xfrm>
                <a:off x="2560857" y="133014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37" name="Rechteck 236">
                <a:extLst>
                  <a:ext uri="{FF2B5EF4-FFF2-40B4-BE49-F238E27FC236}">
                    <a16:creationId xmlns:a16="http://schemas.microsoft.com/office/drawing/2014/main" id="{5A0A74B1-271F-4D59-A394-0C01EAAD9CC9}"/>
                  </a:ext>
                </a:extLst>
              </p:cNvPr>
              <p:cNvSpPr/>
              <p:nvPr userDrawn="1"/>
            </p:nvSpPr>
            <p:spPr bwMode="gray">
              <a:xfrm>
                <a:off x="3064857" y="133014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38" name="Rechteck 237">
                <a:extLst>
                  <a:ext uri="{FF2B5EF4-FFF2-40B4-BE49-F238E27FC236}">
                    <a16:creationId xmlns:a16="http://schemas.microsoft.com/office/drawing/2014/main" id="{015FB9AE-0865-49A6-B416-964B113B1E90}"/>
                  </a:ext>
                </a:extLst>
              </p:cNvPr>
              <p:cNvSpPr/>
              <p:nvPr userDrawn="1"/>
            </p:nvSpPr>
            <p:spPr bwMode="gray">
              <a:xfrm>
                <a:off x="3568857" y="133014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39" name="Rechteck 238">
                <a:extLst>
                  <a:ext uri="{FF2B5EF4-FFF2-40B4-BE49-F238E27FC236}">
                    <a16:creationId xmlns:a16="http://schemas.microsoft.com/office/drawing/2014/main" id="{12D0CC4B-EA33-487A-8055-BF4421F960EF}"/>
                  </a:ext>
                </a:extLst>
              </p:cNvPr>
              <p:cNvSpPr/>
              <p:nvPr userDrawn="1"/>
            </p:nvSpPr>
            <p:spPr bwMode="gray">
              <a:xfrm>
                <a:off x="4072857" y="133014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40" name="Rechteck 239">
                <a:extLst>
                  <a:ext uri="{FF2B5EF4-FFF2-40B4-BE49-F238E27FC236}">
                    <a16:creationId xmlns:a16="http://schemas.microsoft.com/office/drawing/2014/main" id="{072BC0AA-13FB-4A43-A00D-4AD28F44BD8B}"/>
                  </a:ext>
                </a:extLst>
              </p:cNvPr>
              <p:cNvSpPr/>
              <p:nvPr userDrawn="1"/>
            </p:nvSpPr>
            <p:spPr bwMode="gray">
              <a:xfrm>
                <a:off x="4576857" y="133014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41" name="Rechteck 240">
                <a:extLst>
                  <a:ext uri="{FF2B5EF4-FFF2-40B4-BE49-F238E27FC236}">
                    <a16:creationId xmlns:a16="http://schemas.microsoft.com/office/drawing/2014/main" id="{7580821F-193E-47DE-AF26-5B1C71D5223A}"/>
                  </a:ext>
                </a:extLst>
              </p:cNvPr>
              <p:cNvSpPr/>
              <p:nvPr userDrawn="1"/>
            </p:nvSpPr>
            <p:spPr bwMode="gray">
              <a:xfrm>
                <a:off x="5080857" y="133014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42" name="Rechteck 241">
                <a:extLst>
                  <a:ext uri="{FF2B5EF4-FFF2-40B4-BE49-F238E27FC236}">
                    <a16:creationId xmlns:a16="http://schemas.microsoft.com/office/drawing/2014/main" id="{473DCF27-75DC-499E-90B5-529C107512D4}"/>
                  </a:ext>
                </a:extLst>
              </p:cNvPr>
              <p:cNvSpPr/>
              <p:nvPr userDrawn="1"/>
            </p:nvSpPr>
            <p:spPr bwMode="gray">
              <a:xfrm>
                <a:off x="5584857" y="133014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43" name="Rechteck 242">
                <a:extLst>
                  <a:ext uri="{FF2B5EF4-FFF2-40B4-BE49-F238E27FC236}">
                    <a16:creationId xmlns:a16="http://schemas.microsoft.com/office/drawing/2014/main" id="{27EB1A6A-4036-41A6-A495-754EABC379DD}"/>
                  </a:ext>
                </a:extLst>
              </p:cNvPr>
              <p:cNvSpPr/>
              <p:nvPr userDrawn="1"/>
            </p:nvSpPr>
            <p:spPr bwMode="gray">
              <a:xfrm>
                <a:off x="6088857" y="133014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44" name="Rechteck 243">
                <a:extLst>
                  <a:ext uri="{FF2B5EF4-FFF2-40B4-BE49-F238E27FC236}">
                    <a16:creationId xmlns:a16="http://schemas.microsoft.com/office/drawing/2014/main" id="{DB604100-5D86-4412-A12E-FE650AE6B222}"/>
                  </a:ext>
                </a:extLst>
              </p:cNvPr>
              <p:cNvSpPr/>
              <p:nvPr userDrawn="1"/>
            </p:nvSpPr>
            <p:spPr bwMode="gray">
              <a:xfrm>
                <a:off x="6592857" y="133014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45" name="Rechteck 244">
                <a:extLst>
                  <a:ext uri="{FF2B5EF4-FFF2-40B4-BE49-F238E27FC236}">
                    <a16:creationId xmlns:a16="http://schemas.microsoft.com/office/drawing/2014/main" id="{59BB66B8-FB83-45DD-AD0F-B87D37B6CE38}"/>
                  </a:ext>
                </a:extLst>
              </p:cNvPr>
              <p:cNvSpPr/>
              <p:nvPr userDrawn="1"/>
            </p:nvSpPr>
            <p:spPr bwMode="gray">
              <a:xfrm>
                <a:off x="7096857" y="133014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46" name="Rechteck 245">
                <a:extLst>
                  <a:ext uri="{FF2B5EF4-FFF2-40B4-BE49-F238E27FC236}">
                    <a16:creationId xmlns:a16="http://schemas.microsoft.com/office/drawing/2014/main" id="{3F642384-F913-43FF-AA4C-C5430F1BD769}"/>
                  </a:ext>
                </a:extLst>
              </p:cNvPr>
              <p:cNvSpPr/>
              <p:nvPr userDrawn="1"/>
            </p:nvSpPr>
            <p:spPr bwMode="gray">
              <a:xfrm>
                <a:off x="7600857" y="133014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47" name="Rechteck 246">
                <a:extLst>
                  <a:ext uri="{FF2B5EF4-FFF2-40B4-BE49-F238E27FC236}">
                    <a16:creationId xmlns:a16="http://schemas.microsoft.com/office/drawing/2014/main" id="{1C9EE45D-8486-46A0-93FE-51FAFD32A2AD}"/>
                  </a:ext>
                </a:extLst>
              </p:cNvPr>
              <p:cNvSpPr/>
              <p:nvPr userDrawn="1"/>
            </p:nvSpPr>
            <p:spPr bwMode="gray">
              <a:xfrm>
                <a:off x="8104857" y="133014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48" name="Rechteck 247">
                <a:extLst>
                  <a:ext uri="{FF2B5EF4-FFF2-40B4-BE49-F238E27FC236}">
                    <a16:creationId xmlns:a16="http://schemas.microsoft.com/office/drawing/2014/main" id="{BCFEAFD4-F38D-4EE7-B94A-C03D41B2F19B}"/>
                  </a:ext>
                </a:extLst>
              </p:cNvPr>
              <p:cNvSpPr/>
              <p:nvPr userDrawn="1"/>
            </p:nvSpPr>
            <p:spPr bwMode="gray">
              <a:xfrm>
                <a:off x="8608857" y="133014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49" name="Rechteck 248">
                <a:extLst>
                  <a:ext uri="{FF2B5EF4-FFF2-40B4-BE49-F238E27FC236}">
                    <a16:creationId xmlns:a16="http://schemas.microsoft.com/office/drawing/2014/main" id="{19A97088-8AC0-4D85-A938-E0AF407F58F5}"/>
                  </a:ext>
                </a:extLst>
              </p:cNvPr>
              <p:cNvSpPr/>
              <p:nvPr userDrawn="1"/>
            </p:nvSpPr>
            <p:spPr bwMode="gray">
              <a:xfrm>
                <a:off x="9112857" y="133014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50" name="Rechteck 249">
                <a:extLst>
                  <a:ext uri="{FF2B5EF4-FFF2-40B4-BE49-F238E27FC236}">
                    <a16:creationId xmlns:a16="http://schemas.microsoft.com/office/drawing/2014/main" id="{1BE78612-E23C-4889-98A3-4F3D0AD01701}"/>
                  </a:ext>
                </a:extLst>
              </p:cNvPr>
              <p:cNvSpPr/>
              <p:nvPr userDrawn="1"/>
            </p:nvSpPr>
            <p:spPr bwMode="gray">
              <a:xfrm>
                <a:off x="9616857" y="133014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51" name="Rechteck 250">
                <a:extLst>
                  <a:ext uri="{FF2B5EF4-FFF2-40B4-BE49-F238E27FC236}">
                    <a16:creationId xmlns:a16="http://schemas.microsoft.com/office/drawing/2014/main" id="{95478A36-CFF2-4D0F-86BB-50D5ACA63A77}"/>
                  </a:ext>
                </a:extLst>
              </p:cNvPr>
              <p:cNvSpPr/>
              <p:nvPr userDrawn="1"/>
            </p:nvSpPr>
            <p:spPr bwMode="gray">
              <a:xfrm>
                <a:off x="10120857" y="133014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52" name="Rechteck 251">
                <a:extLst>
                  <a:ext uri="{FF2B5EF4-FFF2-40B4-BE49-F238E27FC236}">
                    <a16:creationId xmlns:a16="http://schemas.microsoft.com/office/drawing/2014/main" id="{8B2F016D-C735-4BD6-B7A3-36A81631DE55}"/>
                  </a:ext>
                </a:extLst>
              </p:cNvPr>
              <p:cNvSpPr/>
              <p:nvPr userDrawn="1"/>
            </p:nvSpPr>
            <p:spPr bwMode="gray">
              <a:xfrm>
                <a:off x="10624857" y="133014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53" name="Rechteck 252">
                <a:extLst>
                  <a:ext uri="{FF2B5EF4-FFF2-40B4-BE49-F238E27FC236}">
                    <a16:creationId xmlns:a16="http://schemas.microsoft.com/office/drawing/2014/main" id="{766F4501-72AA-43DF-92E3-F2CA9F7DFB09}"/>
                  </a:ext>
                </a:extLst>
              </p:cNvPr>
              <p:cNvSpPr/>
              <p:nvPr userDrawn="1"/>
            </p:nvSpPr>
            <p:spPr bwMode="gray">
              <a:xfrm>
                <a:off x="11128857" y="133014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54" name="Rechteck 253">
                <a:extLst>
                  <a:ext uri="{FF2B5EF4-FFF2-40B4-BE49-F238E27FC236}">
                    <a16:creationId xmlns:a16="http://schemas.microsoft.com/office/drawing/2014/main" id="{643DB0F4-4E5C-4681-AD6E-D3EC637755B0}"/>
                  </a:ext>
                </a:extLst>
              </p:cNvPr>
              <p:cNvSpPr/>
              <p:nvPr userDrawn="1"/>
            </p:nvSpPr>
            <p:spPr bwMode="gray">
              <a:xfrm>
                <a:off x="11632857" y="133014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09" name="Rechteck 208">
                <a:extLst>
                  <a:ext uri="{FF2B5EF4-FFF2-40B4-BE49-F238E27FC236}">
                    <a16:creationId xmlns:a16="http://schemas.microsoft.com/office/drawing/2014/main" id="{09BA6581-8608-45B0-874F-8CEDC52D2A0D}"/>
                  </a:ext>
                </a:extLst>
              </p:cNvPr>
              <p:cNvSpPr/>
              <p:nvPr userDrawn="1"/>
            </p:nvSpPr>
            <p:spPr bwMode="gray">
              <a:xfrm>
                <a:off x="544857" y="183440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17" name="Rechteck 216">
                <a:extLst>
                  <a:ext uri="{FF2B5EF4-FFF2-40B4-BE49-F238E27FC236}">
                    <a16:creationId xmlns:a16="http://schemas.microsoft.com/office/drawing/2014/main" id="{AE7B0E03-647B-4A30-A08D-FC24ABF0817B}"/>
                  </a:ext>
                </a:extLst>
              </p:cNvPr>
              <p:cNvSpPr/>
              <p:nvPr userDrawn="1"/>
            </p:nvSpPr>
            <p:spPr bwMode="gray">
              <a:xfrm>
                <a:off x="4576857" y="183440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18" name="Rechteck 217">
                <a:extLst>
                  <a:ext uri="{FF2B5EF4-FFF2-40B4-BE49-F238E27FC236}">
                    <a16:creationId xmlns:a16="http://schemas.microsoft.com/office/drawing/2014/main" id="{E532EAF4-4155-4FD7-8FE6-7E9D72383276}"/>
                  </a:ext>
                </a:extLst>
              </p:cNvPr>
              <p:cNvSpPr/>
              <p:nvPr userDrawn="1"/>
            </p:nvSpPr>
            <p:spPr bwMode="gray">
              <a:xfrm>
                <a:off x="5080857" y="183440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19" name="Rechteck 218">
                <a:extLst>
                  <a:ext uri="{FF2B5EF4-FFF2-40B4-BE49-F238E27FC236}">
                    <a16:creationId xmlns:a16="http://schemas.microsoft.com/office/drawing/2014/main" id="{45DFB2FB-C896-4B6B-BBBB-7AD5429C6916}"/>
                  </a:ext>
                </a:extLst>
              </p:cNvPr>
              <p:cNvSpPr/>
              <p:nvPr userDrawn="1"/>
            </p:nvSpPr>
            <p:spPr bwMode="gray">
              <a:xfrm>
                <a:off x="5584857" y="183440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20" name="Rechteck 219">
                <a:extLst>
                  <a:ext uri="{FF2B5EF4-FFF2-40B4-BE49-F238E27FC236}">
                    <a16:creationId xmlns:a16="http://schemas.microsoft.com/office/drawing/2014/main" id="{98AA6854-61F1-440A-8A8F-CFFF830A69B5}"/>
                  </a:ext>
                </a:extLst>
              </p:cNvPr>
              <p:cNvSpPr/>
              <p:nvPr userDrawn="1"/>
            </p:nvSpPr>
            <p:spPr bwMode="gray">
              <a:xfrm>
                <a:off x="6088857" y="183440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21" name="Rechteck 220">
                <a:extLst>
                  <a:ext uri="{FF2B5EF4-FFF2-40B4-BE49-F238E27FC236}">
                    <a16:creationId xmlns:a16="http://schemas.microsoft.com/office/drawing/2014/main" id="{9213B4B2-F118-437F-BA51-68C0CEB2C37D}"/>
                  </a:ext>
                </a:extLst>
              </p:cNvPr>
              <p:cNvSpPr/>
              <p:nvPr userDrawn="1"/>
            </p:nvSpPr>
            <p:spPr bwMode="gray">
              <a:xfrm>
                <a:off x="6592857" y="183440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22" name="Rechteck 221">
                <a:extLst>
                  <a:ext uri="{FF2B5EF4-FFF2-40B4-BE49-F238E27FC236}">
                    <a16:creationId xmlns:a16="http://schemas.microsoft.com/office/drawing/2014/main" id="{51104904-2B1A-4211-8E92-980CA6401FE1}"/>
                  </a:ext>
                </a:extLst>
              </p:cNvPr>
              <p:cNvSpPr/>
              <p:nvPr userDrawn="1"/>
            </p:nvSpPr>
            <p:spPr bwMode="gray">
              <a:xfrm>
                <a:off x="7096857" y="183440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23" name="Rechteck 222">
                <a:extLst>
                  <a:ext uri="{FF2B5EF4-FFF2-40B4-BE49-F238E27FC236}">
                    <a16:creationId xmlns:a16="http://schemas.microsoft.com/office/drawing/2014/main" id="{0C0A745A-4352-4AE3-B4CF-CBC9C6161F83}"/>
                  </a:ext>
                </a:extLst>
              </p:cNvPr>
              <p:cNvSpPr/>
              <p:nvPr userDrawn="1"/>
            </p:nvSpPr>
            <p:spPr bwMode="gray">
              <a:xfrm>
                <a:off x="7600857" y="183440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24" name="Rechteck 223">
                <a:extLst>
                  <a:ext uri="{FF2B5EF4-FFF2-40B4-BE49-F238E27FC236}">
                    <a16:creationId xmlns:a16="http://schemas.microsoft.com/office/drawing/2014/main" id="{900533CF-3E30-486D-B858-2A6BB0A8B403}"/>
                  </a:ext>
                </a:extLst>
              </p:cNvPr>
              <p:cNvSpPr/>
              <p:nvPr userDrawn="1"/>
            </p:nvSpPr>
            <p:spPr bwMode="gray">
              <a:xfrm>
                <a:off x="8104857" y="183440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25" name="Rechteck 224">
                <a:extLst>
                  <a:ext uri="{FF2B5EF4-FFF2-40B4-BE49-F238E27FC236}">
                    <a16:creationId xmlns:a16="http://schemas.microsoft.com/office/drawing/2014/main" id="{EECBA765-9A2B-4BEB-A4A3-BB196E4A1272}"/>
                  </a:ext>
                </a:extLst>
              </p:cNvPr>
              <p:cNvSpPr/>
              <p:nvPr userDrawn="1"/>
            </p:nvSpPr>
            <p:spPr bwMode="gray">
              <a:xfrm>
                <a:off x="8608857" y="183440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26" name="Rechteck 225">
                <a:extLst>
                  <a:ext uri="{FF2B5EF4-FFF2-40B4-BE49-F238E27FC236}">
                    <a16:creationId xmlns:a16="http://schemas.microsoft.com/office/drawing/2014/main" id="{8CDAF8E1-9FDF-4FFF-A539-B62DF4F8B1D0}"/>
                  </a:ext>
                </a:extLst>
              </p:cNvPr>
              <p:cNvSpPr/>
              <p:nvPr userDrawn="1"/>
            </p:nvSpPr>
            <p:spPr bwMode="gray">
              <a:xfrm>
                <a:off x="9112857" y="183440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27" name="Rechteck 226">
                <a:extLst>
                  <a:ext uri="{FF2B5EF4-FFF2-40B4-BE49-F238E27FC236}">
                    <a16:creationId xmlns:a16="http://schemas.microsoft.com/office/drawing/2014/main" id="{F469C4B9-F5A7-471D-87B6-86DCDD984E6A}"/>
                  </a:ext>
                </a:extLst>
              </p:cNvPr>
              <p:cNvSpPr/>
              <p:nvPr userDrawn="1"/>
            </p:nvSpPr>
            <p:spPr bwMode="gray">
              <a:xfrm>
                <a:off x="9616857" y="183440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28" name="Rechteck 227">
                <a:extLst>
                  <a:ext uri="{FF2B5EF4-FFF2-40B4-BE49-F238E27FC236}">
                    <a16:creationId xmlns:a16="http://schemas.microsoft.com/office/drawing/2014/main" id="{CD8A6844-D84A-41E9-A473-DF2584B6CB6B}"/>
                  </a:ext>
                </a:extLst>
              </p:cNvPr>
              <p:cNvSpPr/>
              <p:nvPr userDrawn="1"/>
            </p:nvSpPr>
            <p:spPr bwMode="gray">
              <a:xfrm>
                <a:off x="10120857" y="183440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29" name="Rechteck 228">
                <a:extLst>
                  <a:ext uri="{FF2B5EF4-FFF2-40B4-BE49-F238E27FC236}">
                    <a16:creationId xmlns:a16="http://schemas.microsoft.com/office/drawing/2014/main" id="{B9E60979-25A6-43C7-ACDF-3CE454E1E3BB}"/>
                  </a:ext>
                </a:extLst>
              </p:cNvPr>
              <p:cNvSpPr/>
              <p:nvPr userDrawn="1"/>
            </p:nvSpPr>
            <p:spPr bwMode="gray">
              <a:xfrm>
                <a:off x="10624857" y="183440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30" name="Rechteck 229">
                <a:extLst>
                  <a:ext uri="{FF2B5EF4-FFF2-40B4-BE49-F238E27FC236}">
                    <a16:creationId xmlns:a16="http://schemas.microsoft.com/office/drawing/2014/main" id="{21C2A753-8490-483B-A35A-7554245233B2}"/>
                  </a:ext>
                </a:extLst>
              </p:cNvPr>
              <p:cNvSpPr/>
              <p:nvPr userDrawn="1"/>
            </p:nvSpPr>
            <p:spPr bwMode="gray">
              <a:xfrm>
                <a:off x="11128857" y="183440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31" name="Rechteck 230">
                <a:extLst>
                  <a:ext uri="{FF2B5EF4-FFF2-40B4-BE49-F238E27FC236}">
                    <a16:creationId xmlns:a16="http://schemas.microsoft.com/office/drawing/2014/main" id="{48E2860D-B6F2-48CF-9C9A-A34D629FCF1D}"/>
                  </a:ext>
                </a:extLst>
              </p:cNvPr>
              <p:cNvSpPr/>
              <p:nvPr userDrawn="1"/>
            </p:nvSpPr>
            <p:spPr bwMode="gray">
              <a:xfrm>
                <a:off x="11632857" y="183440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86" name="Rechteck 185">
                <a:extLst>
                  <a:ext uri="{FF2B5EF4-FFF2-40B4-BE49-F238E27FC236}">
                    <a16:creationId xmlns:a16="http://schemas.microsoft.com/office/drawing/2014/main" id="{0EEBE660-04E2-4165-A9F4-221665830F46}"/>
                  </a:ext>
                </a:extLst>
              </p:cNvPr>
              <p:cNvSpPr/>
              <p:nvPr userDrawn="1"/>
            </p:nvSpPr>
            <p:spPr bwMode="gray">
              <a:xfrm>
                <a:off x="544857" y="233867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93" name="Rechteck 192">
                <a:extLst>
                  <a:ext uri="{FF2B5EF4-FFF2-40B4-BE49-F238E27FC236}">
                    <a16:creationId xmlns:a16="http://schemas.microsoft.com/office/drawing/2014/main" id="{826BC2C8-A39F-4C74-9305-0DE5BE8A4BE5}"/>
                  </a:ext>
                </a:extLst>
              </p:cNvPr>
              <p:cNvSpPr/>
              <p:nvPr userDrawn="1"/>
            </p:nvSpPr>
            <p:spPr bwMode="gray">
              <a:xfrm>
                <a:off x="4072857" y="233867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94" name="Rechteck 193">
                <a:extLst>
                  <a:ext uri="{FF2B5EF4-FFF2-40B4-BE49-F238E27FC236}">
                    <a16:creationId xmlns:a16="http://schemas.microsoft.com/office/drawing/2014/main" id="{300C435F-F2B3-4407-B684-A8B2A9601BD2}"/>
                  </a:ext>
                </a:extLst>
              </p:cNvPr>
              <p:cNvSpPr/>
              <p:nvPr userDrawn="1"/>
            </p:nvSpPr>
            <p:spPr bwMode="gray">
              <a:xfrm>
                <a:off x="4576857" y="233867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95" name="Rechteck 194">
                <a:extLst>
                  <a:ext uri="{FF2B5EF4-FFF2-40B4-BE49-F238E27FC236}">
                    <a16:creationId xmlns:a16="http://schemas.microsoft.com/office/drawing/2014/main" id="{5982FADE-AB98-4D29-843A-FFCE626A3BFD}"/>
                  </a:ext>
                </a:extLst>
              </p:cNvPr>
              <p:cNvSpPr/>
              <p:nvPr userDrawn="1"/>
            </p:nvSpPr>
            <p:spPr bwMode="gray">
              <a:xfrm>
                <a:off x="5080857" y="233867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96" name="Rechteck 195">
                <a:extLst>
                  <a:ext uri="{FF2B5EF4-FFF2-40B4-BE49-F238E27FC236}">
                    <a16:creationId xmlns:a16="http://schemas.microsoft.com/office/drawing/2014/main" id="{6F3841C8-2075-465A-871A-7A6390EEB6EE}"/>
                  </a:ext>
                </a:extLst>
              </p:cNvPr>
              <p:cNvSpPr/>
              <p:nvPr userDrawn="1"/>
            </p:nvSpPr>
            <p:spPr bwMode="gray">
              <a:xfrm>
                <a:off x="5584857" y="233867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97" name="Rechteck 196">
                <a:extLst>
                  <a:ext uri="{FF2B5EF4-FFF2-40B4-BE49-F238E27FC236}">
                    <a16:creationId xmlns:a16="http://schemas.microsoft.com/office/drawing/2014/main" id="{ED5124B1-48BA-4327-8B15-FA3B00AB6128}"/>
                  </a:ext>
                </a:extLst>
              </p:cNvPr>
              <p:cNvSpPr/>
              <p:nvPr userDrawn="1"/>
            </p:nvSpPr>
            <p:spPr bwMode="gray">
              <a:xfrm>
                <a:off x="6088857" y="233867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98" name="Rechteck 197">
                <a:extLst>
                  <a:ext uri="{FF2B5EF4-FFF2-40B4-BE49-F238E27FC236}">
                    <a16:creationId xmlns:a16="http://schemas.microsoft.com/office/drawing/2014/main" id="{567B5DFC-9EB8-4533-A016-F1F1777E8115}"/>
                  </a:ext>
                </a:extLst>
              </p:cNvPr>
              <p:cNvSpPr/>
              <p:nvPr userDrawn="1"/>
            </p:nvSpPr>
            <p:spPr bwMode="gray">
              <a:xfrm>
                <a:off x="6592857" y="233867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99" name="Rechteck 198">
                <a:extLst>
                  <a:ext uri="{FF2B5EF4-FFF2-40B4-BE49-F238E27FC236}">
                    <a16:creationId xmlns:a16="http://schemas.microsoft.com/office/drawing/2014/main" id="{A52B6C73-34BE-478C-8466-F413247783CA}"/>
                  </a:ext>
                </a:extLst>
              </p:cNvPr>
              <p:cNvSpPr/>
              <p:nvPr userDrawn="1"/>
            </p:nvSpPr>
            <p:spPr bwMode="gray">
              <a:xfrm>
                <a:off x="7096857" y="233867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00" name="Rechteck 199">
                <a:extLst>
                  <a:ext uri="{FF2B5EF4-FFF2-40B4-BE49-F238E27FC236}">
                    <a16:creationId xmlns:a16="http://schemas.microsoft.com/office/drawing/2014/main" id="{2BF88D13-B486-42DC-AEAC-3352B9F9C3AC}"/>
                  </a:ext>
                </a:extLst>
              </p:cNvPr>
              <p:cNvSpPr/>
              <p:nvPr userDrawn="1"/>
            </p:nvSpPr>
            <p:spPr bwMode="gray">
              <a:xfrm>
                <a:off x="7600857" y="233867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01" name="Rechteck 200">
                <a:extLst>
                  <a:ext uri="{FF2B5EF4-FFF2-40B4-BE49-F238E27FC236}">
                    <a16:creationId xmlns:a16="http://schemas.microsoft.com/office/drawing/2014/main" id="{1ABA925D-7425-41EC-B23C-0279BA21EAE2}"/>
                  </a:ext>
                </a:extLst>
              </p:cNvPr>
              <p:cNvSpPr/>
              <p:nvPr userDrawn="1"/>
            </p:nvSpPr>
            <p:spPr bwMode="gray">
              <a:xfrm>
                <a:off x="8104857" y="233867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02" name="Rechteck 201">
                <a:extLst>
                  <a:ext uri="{FF2B5EF4-FFF2-40B4-BE49-F238E27FC236}">
                    <a16:creationId xmlns:a16="http://schemas.microsoft.com/office/drawing/2014/main" id="{D4724992-60B4-4725-8552-8191319FFB3E}"/>
                  </a:ext>
                </a:extLst>
              </p:cNvPr>
              <p:cNvSpPr/>
              <p:nvPr userDrawn="1"/>
            </p:nvSpPr>
            <p:spPr bwMode="gray">
              <a:xfrm>
                <a:off x="8608857" y="233867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03" name="Rechteck 202">
                <a:extLst>
                  <a:ext uri="{FF2B5EF4-FFF2-40B4-BE49-F238E27FC236}">
                    <a16:creationId xmlns:a16="http://schemas.microsoft.com/office/drawing/2014/main" id="{BC121E38-8F51-4773-B69B-AC5FAAAF1731}"/>
                  </a:ext>
                </a:extLst>
              </p:cNvPr>
              <p:cNvSpPr/>
              <p:nvPr userDrawn="1"/>
            </p:nvSpPr>
            <p:spPr bwMode="gray">
              <a:xfrm>
                <a:off x="9112857" y="233867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04" name="Rechteck 203">
                <a:extLst>
                  <a:ext uri="{FF2B5EF4-FFF2-40B4-BE49-F238E27FC236}">
                    <a16:creationId xmlns:a16="http://schemas.microsoft.com/office/drawing/2014/main" id="{701097F7-2684-41E2-82CC-9C2D80B89CAC}"/>
                  </a:ext>
                </a:extLst>
              </p:cNvPr>
              <p:cNvSpPr/>
              <p:nvPr userDrawn="1"/>
            </p:nvSpPr>
            <p:spPr bwMode="gray">
              <a:xfrm>
                <a:off x="9616857" y="233867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05" name="Rechteck 204">
                <a:extLst>
                  <a:ext uri="{FF2B5EF4-FFF2-40B4-BE49-F238E27FC236}">
                    <a16:creationId xmlns:a16="http://schemas.microsoft.com/office/drawing/2014/main" id="{BA390E7B-078C-46C0-A745-DC25514DE60E}"/>
                  </a:ext>
                </a:extLst>
              </p:cNvPr>
              <p:cNvSpPr/>
              <p:nvPr userDrawn="1"/>
            </p:nvSpPr>
            <p:spPr bwMode="gray">
              <a:xfrm>
                <a:off x="10120857" y="233867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06" name="Rechteck 205">
                <a:extLst>
                  <a:ext uri="{FF2B5EF4-FFF2-40B4-BE49-F238E27FC236}">
                    <a16:creationId xmlns:a16="http://schemas.microsoft.com/office/drawing/2014/main" id="{4DE74DAD-7367-4EA2-A067-2EFF955B4C53}"/>
                  </a:ext>
                </a:extLst>
              </p:cNvPr>
              <p:cNvSpPr/>
              <p:nvPr userDrawn="1"/>
            </p:nvSpPr>
            <p:spPr bwMode="gray">
              <a:xfrm>
                <a:off x="10624857" y="233867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07" name="Rechteck 206">
                <a:extLst>
                  <a:ext uri="{FF2B5EF4-FFF2-40B4-BE49-F238E27FC236}">
                    <a16:creationId xmlns:a16="http://schemas.microsoft.com/office/drawing/2014/main" id="{CB0360D3-831E-4B29-9853-075595F38BD0}"/>
                  </a:ext>
                </a:extLst>
              </p:cNvPr>
              <p:cNvSpPr/>
              <p:nvPr userDrawn="1"/>
            </p:nvSpPr>
            <p:spPr bwMode="gray">
              <a:xfrm>
                <a:off x="11128857" y="233867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08" name="Rechteck 207">
                <a:extLst>
                  <a:ext uri="{FF2B5EF4-FFF2-40B4-BE49-F238E27FC236}">
                    <a16:creationId xmlns:a16="http://schemas.microsoft.com/office/drawing/2014/main" id="{C762FB80-2E4A-4E29-9D0F-53516FFE2431}"/>
                  </a:ext>
                </a:extLst>
              </p:cNvPr>
              <p:cNvSpPr/>
              <p:nvPr userDrawn="1"/>
            </p:nvSpPr>
            <p:spPr bwMode="gray">
              <a:xfrm>
                <a:off x="11632857" y="233867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63" name="Rechteck 162">
                <a:extLst>
                  <a:ext uri="{FF2B5EF4-FFF2-40B4-BE49-F238E27FC236}">
                    <a16:creationId xmlns:a16="http://schemas.microsoft.com/office/drawing/2014/main" id="{3F876AA5-3EE4-47E6-8733-B4A9D4D139DA}"/>
                  </a:ext>
                </a:extLst>
              </p:cNvPr>
              <p:cNvSpPr/>
              <p:nvPr userDrawn="1"/>
            </p:nvSpPr>
            <p:spPr bwMode="gray">
              <a:xfrm>
                <a:off x="544857" y="284293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70" name="Rechteck 169">
                <a:extLst>
                  <a:ext uri="{FF2B5EF4-FFF2-40B4-BE49-F238E27FC236}">
                    <a16:creationId xmlns:a16="http://schemas.microsoft.com/office/drawing/2014/main" id="{70E5711D-A205-48B6-BB90-E9465363F408}"/>
                  </a:ext>
                </a:extLst>
              </p:cNvPr>
              <p:cNvSpPr/>
              <p:nvPr userDrawn="1"/>
            </p:nvSpPr>
            <p:spPr bwMode="gray">
              <a:xfrm>
                <a:off x="4072857" y="284293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71" name="Rechteck 170">
                <a:extLst>
                  <a:ext uri="{FF2B5EF4-FFF2-40B4-BE49-F238E27FC236}">
                    <a16:creationId xmlns:a16="http://schemas.microsoft.com/office/drawing/2014/main" id="{178642D9-BD70-4051-8EAF-BFA354D749D3}"/>
                  </a:ext>
                </a:extLst>
              </p:cNvPr>
              <p:cNvSpPr/>
              <p:nvPr userDrawn="1"/>
            </p:nvSpPr>
            <p:spPr bwMode="gray">
              <a:xfrm>
                <a:off x="4576857" y="284293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72" name="Rechteck 171">
                <a:extLst>
                  <a:ext uri="{FF2B5EF4-FFF2-40B4-BE49-F238E27FC236}">
                    <a16:creationId xmlns:a16="http://schemas.microsoft.com/office/drawing/2014/main" id="{8FC5A0D6-7978-4B7E-A902-7B446D0C03CE}"/>
                  </a:ext>
                </a:extLst>
              </p:cNvPr>
              <p:cNvSpPr/>
              <p:nvPr userDrawn="1"/>
            </p:nvSpPr>
            <p:spPr bwMode="gray">
              <a:xfrm>
                <a:off x="5080857" y="284293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73" name="Rechteck 172">
                <a:extLst>
                  <a:ext uri="{FF2B5EF4-FFF2-40B4-BE49-F238E27FC236}">
                    <a16:creationId xmlns:a16="http://schemas.microsoft.com/office/drawing/2014/main" id="{B43BA8FB-7DB0-4ECD-825E-946F1260226D}"/>
                  </a:ext>
                </a:extLst>
              </p:cNvPr>
              <p:cNvSpPr/>
              <p:nvPr userDrawn="1"/>
            </p:nvSpPr>
            <p:spPr bwMode="gray">
              <a:xfrm>
                <a:off x="5584857" y="284293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74" name="Rechteck 173">
                <a:extLst>
                  <a:ext uri="{FF2B5EF4-FFF2-40B4-BE49-F238E27FC236}">
                    <a16:creationId xmlns:a16="http://schemas.microsoft.com/office/drawing/2014/main" id="{56BD4158-9C3E-4CE4-B53E-4828B3B5C881}"/>
                  </a:ext>
                </a:extLst>
              </p:cNvPr>
              <p:cNvSpPr/>
              <p:nvPr userDrawn="1"/>
            </p:nvSpPr>
            <p:spPr bwMode="gray">
              <a:xfrm>
                <a:off x="6088857" y="284293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75" name="Rechteck 174">
                <a:extLst>
                  <a:ext uri="{FF2B5EF4-FFF2-40B4-BE49-F238E27FC236}">
                    <a16:creationId xmlns:a16="http://schemas.microsoft.com/office/drawing/2014/main" id="{C7993FDB-6E37-4F23-92CE-BFE22D38E0B6}"/>
                  </a:ext>
                </a:extLst>
              </p:cNvPr>
              <p:cNvSpPr/>
              <p:nvPr userDrawn="1"/>
            </p:nvSpPr>
            <p:spPr bwMode="gray">
              <a:xfrm>
                <a:off x="6592857" y="284293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76" name="Rechteck 175">
                <a:extLst>
                  <a:ext uri="{FF2B5EF4-FFF2-40B4-BE49-F238E27FC236}">
                    <a16:creationId xmlns:a16="http://schemas.microsoft.com/office/drawing/2014/main" id="{3926EEFA-660E-44EB-81AB-E901CE08BD89}"/>
                  </a:ext>
                </a:extLst>
              </p:cNvPr>
              <p:cNvSpPr/>
              <p:nvPr userDrawn="1"/>
            </p:nvSpPr>
            <p:spPr bwMode="gray">
              <a:xfrm>
                <a:off x="7096857" y="284293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77" name="Rechteck 176">
                <a:extLst>
                  <a:ext uri="{FF2B5EF4-FFF2-40B4-BE49-F238E27FC236}">
                    <a16:creationId xmlns:a16="http://schemas.microsoft.com/office/drawing/2014/main" id="{E391821D-198C-4D64-892F-7DB88EECBE82}"/>
                  </a:ext>
                </a:extLst>
              </p:cNvPr>
              <p:cNvSpPr/>
              <p:nvPr userDrawn="1"/>
            </p:nvSpPr>
            <p:spPr bwMode="gray">
              <a:xfrm>
                <a:off x="7600857" y="284293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78" name="Rechteck 177">
                <a:extLst>
                  <a:ext uri="{FF2B5EF4-FFF2-40B4-BE49-F238E27FC236}">
                    <a16:creationId xmlns:a16="http://schemas.microsoft.com/office/drawing/2014/main" id="{7D00D717-B245-4DF7-957C-9AD9847EC001}"/>
                  </a:ext>
                </a:extLst>
              </p:cNvPr>
              <p:cNvSpPr/>
              <p:nvPr userDrawn="1"/>
            </p:nvSpPr>
            <p:spPr bwMode="gray">
              <a:xfrm>
                <a:off x="8104857" y="284293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79" name="Rechteck 178">
                <a:extLst>
                  <a:ext uri="{FF2B5EF4-FFF2-40B4-BE49-F238E27FC236}">
                    <a16:creationId xmlns:a16="http://schemas.microsoft.com/office/drawing/2014/main" id="{13224546-93BE-4D41-94A1-E4AEB0DFDBAC}"/>
                  </a:ext>
                </a:extLst>
              </p:cNvPr>
              <p:cNvSpPr/>
              <p:nvPr userDrawn="1"/>
            </p:nvSpPr>
            <p:spPr bwMode="gray">
              <a:xfrm>
                <a:off x="8608857" y="284293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80" name="Rechteck 179">
                <a:extLst>
                  <a:ext uri="{FF2B5EF4-FFF2-40B4-BE49-F238E27FC236}">
                    <a16:creationId xmlns:a16="http://schemas.microsoft.com/office/drawing/2014/main" id="{0ADA4B2C-AC81-4E55-A58F-E5A4AD684491}"/>
                  </a:ext>
                </a:extLst>
              </p:cNvPr>
              <p:cNvSpPr/>
              <p:nvPr userDrawn="1"/>
            </p:nvSpPr>
            <p:spPr bwMode="gray">
              <a:xfrm>
                <a:off x="9112857" y="284293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81" name="Rechteck 180">
                <a:extLst>
                  <a:ext uri="{FF2B5EF4-FFF2-40B4-BE49-F238E27FC236}">
                    <a16:creationId xmlns:a16="http://schemas.microsoft.com/office/drawing/2014/main" id="{0AD86A3C-3DCE-47B0-82BA-DEB7CA798E3B}"/>
                  </a:ext>
                </a:extLst>
              </p:cNvPr>
              <p:cNvSpPr/>
              <p:nvPr userDrawn="1"/>
            </p:nvSpPr>
            <p:spPr bwMode="gray">
              <a:xfrm>
                <a:off x="9616857" y="284293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82" name="Rechteck 181">
                <a:extLst>
                  <a:ext uri="{FF2B5EF4-FFF2-40B4-BE49-F238E27FC236}">
                    <a16:creationId xmlns:a16="http://schemas.microsoft.com/office/drawing/2014/main" id="{F848F392-9651-4C5F-935A-2CF428BA63D7}"/>
                  </a:ext>
                </a:extLst>
              </p:cNvPr>
              <p:cNvSpPr/>
              <p:nvPr userDrawn="1"/>
            </p:nvSpPr>
            <p:spPr bwMode="gray">
              <a:xfrm>
                <a:off x="10120857" y="284293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83" name="Rechteck 182">
                <a:extLst>
                  <a:ext uri="{FF2B5EF4-FFF2-40B4-BE49-F238E27FC236}">
                    <a16:creationId xmlns:a16="http://schemas.microsoft.com/office/drawing/2014/main" id="{F1D4DFF0-8BDE-4BC7-BCBF-51231E23AB58}"/>
                  </a:ext>
                </a:extLst>
              </p:cNvPr>
              <p:cNvSpPr/>
              <p:nvPr userDrawn="1"/>
            </p:nvSpPr>
            <p:spPr bwMode="gray">
              <a:xfrm>
                <a:off x="10624857" y="284293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84" name="Rechteck 183">
                <a:extLst>
                  <a:ext uri="{FF2B5EF4-FFF2-40B4-BE49-F238E27FC236}">
                    <a16:creationId xmlns:a16="http://schemas.microsoft.com/office/drawing/2014/main" id="{EC4E6386-E7DA-4F3F-9442-83A3DF0BFCA9}"/>
                  </a:ext>
                </a:extLst>
              </p:cNvPr>
              <p:cNvSpPr/>
              <p:nvPr userDrawn="1"/>
            </p:nvSpPr>
            <p:spPr bwMode="gray">
              <a:xfrm>
                <a:off x="11128857" y="284293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85" name="Rechteck 184">
                <a:extLst>
                  <a:ext uri="{FF2B5EF4-FFF2-40B4-BE49-F238E27FC236}">
                    <a16:creationId xmlns:a16="http://schemas.microsoft.com/office/drawing/2014/main" id="{3DD442B8-9DAF-44C1-843F-1C07229BB63D}"/>
                  </a:ext>
                </a:extLst>
              </p:cNvPr>
              <p:cNvSpPr/>
              <p:nvPr userDrawn="1"/>
            </p:nvSpPr>
            <p:spPr bwMode="gray">
              <a:xfrm>
                <a:off x="11632857" y="284293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40" name="Rechteck 139">
                <a:extLst>
                  <a:ext uri="{FF2B5EF4-FFF2-40B4-BE49-F238E27FC236}">
                    <a16:creationId xmlns:a16="http://schemas.microsoft.com/office/drawing/2014/main" id="{785CD665-EF25-4C19-88AE-389A71334ED1}"/>
                  </a:ext>
                </a:extLst>
              </p:cNvPr>
              <p:cNvSpPr/>
              <p:nvPr userDrawn="1"/>
            </p:nvSpPr>
            <p:spPr bwMode="gray">
              <a:xfrm>
                <a:off x="544857" y="334720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47" name="Rechteck 146">
                <a:extLst>
                  <a:ext uri="{FF2B5EF4-FFF2-40B4-BE49-F238E27FC236}">
                    <a16:creationId xmlns:a16="http://schemas.microsoft.com/office/drawing/2014/main" id="{361DF8C0-F550-4476-B6A2-09B55B7ABDC4}"/>
                  </a:ext>
                </a:extLst>
              </p:cNvPr>
              <p:cNvSpPr/>
              <p:nvPr userDrawn="1"/>
            </p:nvSpPr>
            <p:spPr bwMode="gray">
              <a:xfrm>
                <a:off x="4072857" y="334720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48" name="Rechteck 147">
                <a:extLst>
                  <a:ext uri="{FF2B5EF4-FFF2-40B4-BE49-F238E27FC236}">
                    <a16:creationId xmlns:a16="http://schemas.microsoft.com/office/drawing/2014/main" id="{F5542CF8-5238-4068-A95F-FD078E59F82F}"/>
                  </a:ext>
                </a:extLst>
              </p:cNvPr>
              <p:cNvSpPr/>
              <p:nvPr userDrawn="1"/>
            </p:nvSpPr>
            <p:spPr bwMode="gray">
              <a:xfrm>
                <a:off x="4576857" y="334720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49" name="Rechteck 148">
                <a:extLst>
                  <a:ext uri="{FF2B5EF4-FFF2-40B4-BE49-F238E27FC236}">
                    <a16:creationId xmlns:a16="http://schemas.microsoft.com/office/drawing/2014/main" id="{E0731F45-89BE-4363-850E-78C4494FE103}"/>
                  </a:ext>
                </a:extLst>
              </p:cNvPr>
              <p:cNvSpPr/>
              <p:nvPr userDrawn="1"/>
            </p:nvSpPr>
            <p:spPr bwMode="gray">
              <a:xfrm>
                <a:off x="5080857" y="334720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50" name="Rechteck 149">
                <a:extLst>
                  <a:ext uri="{FF2B5EF4-FFF2-40B4-BE49-F238E27FC236}">
                    <a16:creationId xmlns:a16="http://schemas.microsoft.com/office/drawing/2014/main" id="{85312427-E62B-46A8-93FB-3F087787CE44}"/>
                  </a:ext>
                </a:extLst>
              </p:cNvPr>
              <p:cNvSpPr/>
              <p:nvPr userDrawn="1"/>
            </p:nvSpPr>
            <p:spPr bwMode="gray">
              <a:xfrm>
                <a:off x="5584857" y="334720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51" name="Rechteck 150">
                <a:extLst>
                  <a:ext uri="{FF2B5EF4-FFF2-40B4-BE49-F238E27FC236}">
                    <a16:creationId xmlns:a16="http://schemas.microsoft.com/office/drawing/2014/main" id="{BF0FB778-7C28-44B6-AB0D-F661721804B0}"/>
                  </a:ext>
                </a:extLst>
              </p:cNvPr>
              <p:cNvSpPr/>
              <p:nvPr userDrawn="1"/>
            </p:nvSpPr>
            <p:spPr bwMode="gray">
              <a:xfrm>
                <a:off x="6088857" y="334720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52" name="Rechteck 151">
                <a:extLst>
                  <a:ext uri="{FF2B5EF4-FFF2-40B4-BE49-F238E27FC236}">
                    <a16:creationId xmlns:a16="http://schemas.microsoft.com/office/drawing/2014/main" id="{42C18607-363E-469D-8561-E130A1A0CF1C}"/>
                  </a:ext>
                </a:extLst>
              </p:cNvPr>
              <p:cNvSpPr/>
              <p:nvPr userDrawn="1"/>
            </p:nvSpPr>
            <p:spPr bwMode="gray">
              <a:xfrm>
                <a:off x="6592857" y="334720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53" name="Rechteck 152">
                <a:extLst>
                  <a:ext uri="{FF2B5EF4-FFF2-40B4-BE49-F238E27FC236}">
                    <a16:creationId xmlns:a16="http://schemas.microsoft.com/office/drawing/2014/main" id="{89EE43C5-85CB-44D4-98B3-870BF4767722}"/>
                  </a:ext>
                </a:extLst>
              </p:cNvPr>
              <p:cNvSpPr/>
              <p:nvPr userDrawn="1"/>
            </p:nvSpPr>
            <p:spPr bwMode="gray">
              <a:xfrm>
                <a:off x="7096857" y="334720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54" name="Rechteck 153">
                <a:extLst>
                  <a:ext uri="{FF2B5EF4-FFF2-40B4-BE49-F238E27FC236}">
                    <a16:creationId xmlns:a16="http://schemas.microsoft.com/office/drawing/2014/main" id="{16A1C7FE-E872-4634-8B32-98C782269B75}"/>
                  </a:ext>
                </a:extLst>
              </p:cNvPr>
              <p:cNvSpPr/>
              <p:nvPr userDrawn="1"/>
            </p:nvSpPr>
            <p:spPr bwMode="gray">
              <a:xfrm>
                <a:off x="7600857" y="334720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55" name="Rechteck 154">
                <a:extLst>
                  <a:ext uri="{FF2B5EF4-FFF2-40B4-BE49-F238E27FC236}">
                    <a16:creationId xmlns:a16="http://schemas.microsoft.com/office/drawing/2014/main" id="{76D8675B-FEC4-4B9D-8973-5184430EA885}"/>
                  </a:ext>
                </a:extLst>
              </p:cNvPr>
              <p:cNvSpPr/>
              <p:nvPr userDrawn="1"/>
            </p:nvSpPr>
            <p:spPr bwMode="gray">
              <a:xfrm>
                <a:off x="8104857" y="334720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56" name="Rechteck 155">
                <a:extLst>
                  <a:ext uri="{FF2B5EF4-FFF2-40B4-BE49-F238E27FC236}">
                    <a16:creationId xmlns:a16="http://schemas.microsoft.com/office/drawing/2014/main" id="{5456D3C0-06D8-450E-97A1-7880D824066B}"/>
                  </a:ext>
                </a:extLst>
              </p:cNvPr>
              <p:cNvSpPr/>
              <p:nvPr userDrawn="1"/>
            </p:nvSpPr>
            <p:spPr bwMode="gray">
              <a:xfrm>
                <a:off x="8608857" y="334720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57" name="Rechteck 156">
                <a:extLst>
                  <a:ext uri="{FF2B5EF4-FFF2-40B4-BE49-F238E27FC236}">
                    <a16:creationId xmlns:a16="http://schemas.microsoft.com/office/drawing/2014/main" id="{54205071-F2E0-45C4-8BB8-8F3773CF003F}"/>
                  </a:ext>
                </a:extLst>
              </p:cNvPr>
              <p:cNvSpPr/>
              <p:nvPr userDrawn="1"/>
            </p:nvSpPr>
            <p:spPr bwMode="gray">
              <a:xfrm>
                <a:off x="9112857" y="334720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58" name="Rechteck 157">
                <a:extLst>
                  <a:ext uri="{FF2B5EF4-FFF2-40B4-BE49-F238E27FC236}">
                    <a16:creationId xmlns:a16="http://schemas.microsoft.com/office/drawing/2014/main" id="{AA433A29-51FB-498D-9A16-2BC3BDB3142A}"/>
                  </a:ext>
                </a:extLst>
              </p:cNvPr>
              <p:cNvSpPr/>
              <p:nvPr userDrawn="1"/>
            </p:nvSpPr>
            <p:spPr bwMode="gray">
              <a:xfrm>
                <a:off x="9616857" y="334720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59" name="Rechteck 158">
                <a:extLst>
                  <a:ext uri="{FF2B5EF4-FFF2-40B4-BE49-F238E27FC236}">
                    <a16:creationId xmlns:a16="http://schemas.microsoft.com/office/drawing/2014/main" id="{1E6A0C28-1331-41C9-B8E5-D66CEAABE60C}"/>
                  </a:ext>
                </a:extLst>
              </p:cNvPr>
              <p:cNvSpPr/>
              <p:nvPr userDrawn="1"/>
            </p:nvSpPr>
            <p:spPr bwMode="gray">
              <a:xfrm>
                <a:off x="10120857" y="334720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60" name="Rechteck 159">
                <a:extLst>
                  <a:ext uri="{FF2B5EF4-FFF2-40B4-BE49-F238E27FC236}">
                    <a16:creationId xmlns:a16="http://schemas.microsoft.com/office/drawing/2014/main" id="{8D843DE8-1E1A-4320-9D69-68603F93F6B7}"/>
                  </a:ext>
                </a:extLst>
              </p:cNvPr>
              <p:cNvSpPr/>
              <p:nvPr userDrawn="1"/>
            </p:nvSpPr>
            <p:spPr bwMode="gray">
              <a:xfrm>
                <a:off x="10624857" y="334720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61" name="Rechteck 160">
                <a:extLst>
                  <a:ext uri="{FF2B5EF4-FFF2-40B4-BE49-F238E27FC236}">
                    <a16:creationId xmlns:a16="http://schemas.microsoft.com/office/drawing/2014/main" id="{788A449E-33C7-4BF5-89D0-D454DFD80070}"/>
                  </a:ext>
                </a:extLst>
              </p:cNvPr>
              <p:cNvSpPr/>
              <p:nvPr userDrawn="1"/>
            </p:nvSpPr>
            <p:spPr bwMode="gray">
              <a:xfrm>
                <a:off x="11128857" y="334720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62" name="Rechteck 161">
                <a:extLst>
                  <a:ext uri="{FF2B5EF4-FFF2-40B4-BE49-F238E27FC236}">
                    <a16:creationId xmlns:a16="http://schemas.microsoft.com/office/drawing/2014/main" id="{C4F9C6CC-A451-4303-8C16-F8503B0B07BA}"/>
                  </a:ext>
                </a:extLst>
              </p:cNvPr>
              <p:cNvSpPr/>
              <p:nvPr userDrawn="1"/>
            </p:nvSpPr>
            <p:spPr bwMode="gray">
              <a:xfrm>
                <a:off x="11632857" y="334720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17" name="Rechteck 116">
                <a:extLst>
                  <a:ext uri="{FF2B5EF4-FFF2-40B4-BE49-F238E27FC236}">
                    <a16:creationId xmlns:a16="http://schemas.microsoft.com/office/drawing/2014/main" id="{897628E3-3BC9-439F-A4A8-81DA6A28B6D5}"/>
                  </a:ext>
                </a:extLst>
              </p:cNvPr>
              <p:cNvSpPr/>
              <p:nvPr userDrawn="1"/>
            </p:nvSpPr>
            <p:spPr bwMode="gray">
              <a:xfrm>
                <a:off x="544857" y="385146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24" name="Rechteck 123">
                <a:extLst>
                  <a:ext uri="{FF2B5EF4-FFF2-40B4-BE49-F238E27FC236}">
                    <a16:creationId xmlns:a16="http://schemas.microsoft.com/office/drawing/2014/main" id="{0B258158-5BD3-4B8A-AE8E-3AC53DDDD59A}"/>
                  </a:ext>
                </a:extLst>
              </p:cNvPr>
              <p:cNvSpPr/>
              <p:nvPr userDrawn="1"/>
            </p:nvSpPr>
            <p:spPr bwMode="gray">
              <a:xfrm>
                <a:off x="4072857" y="385146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25" name="Rechteck 124">
                <a:extLst>
                  <a:ext uri="{FF2B5EF4-FFF2-40B4-BE49-F238E27FC236}">
                    <a16:creationId xmlns:a16="http://schemas.microsoft.com/office/drawing/2014/main" id="{8E3E0611-4AA7-4E27-BF97-0C29FC0B98D6}"/>
                  </a:ext>
                </a:extLst>
              </p:cNvPr>
              <p:cNvSpPr/>
              <p:nvPr userDrawn="1"/>
            </p:nvSpPr>
            <p:spPr bwMode="gray">
              <a:xfrm>
                <a:off x="4576857" y="385146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26" name="Rechteck 125">
                <a:extLst>
                  <a:ext uri="{FF2B5EF4-FFF2-40B4-BE49-F238E27FC236}">
                    <a16:creationId xmlns:a16="http://schemas.microsoft.com/office/drawing/2014/main" id="{0AFE87D2-03AE-471A-A379-570069C935BB}"/>
                  </a:ext>
                </a:extLst>
              </p:cNvPr>
              <p:cNvSpPr/>
              <p:nvPr userDrawn="1"/>
            </p:nvSpPr>
            <p:spPr bwMode="gray">
              <a:xfrm>
                <a:off x="5080857" y="385146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27" name="Rechteck 126">
                <a:extLst>
                  <a:ext uri="{FF2B5EF4-FFF2-40B4-BE49-F238E27FC236}">
                    <a16:creationId xmlns:a16="http://schemas.microsoft.com/office/drawing/2014/main" id="{9A58FAE6-AF62-4593-BA9C-58147124118C}"/>
                  </a:ext>
                </a:extLst>
              </p:cNvPr>
              <p:cNvSpPr/>
              <p:nvPr userDrawn="1"/>
            </p:nvSpPr>
            <p:spPr bwMode="gray">
              <a:xfrm>
                <a:off x="5584857" y="385146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28" name="Rechteck 127">
                <a:extLst>
                  <a:ext uri="{FF2B5EF4-FFF2-40B4-BE49-F238E27FC236}">
                    <a16:creationId xmlns:a16="http://schemas.microsoft.com/office/drawing/2014/main" id="{3735F87C-9A4D-4F99-AA06-EA93816C6104}"/>
                  </a:ext>
                </a:extLst>
              </p:cNvPr>
              <p:cNvSpPr/>
              <p:nvPr userDrawn="1"/>
            </p:nvSpPr>
            <p:spPr bwMode="gray">
              <a:xfrm>
                <a:off x="6088857" y="385146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29" name="Rechteck 128">
                <a:extLst>
                  <a:ext uri="{FF2B5EF4-FFF2-40B4-BE49-F238E27FC236}">
                    <a16:creationId xmlns:a16="http://schemas.microsoft.com/office/drawing/2014/main" id="{3136FD68-9BFE-42E1-8B22-0184880114A3}"/>
                  </a:ext>
                </a:extLst>
              </p:cNvPr>
              <p:cNvSpPr/>
              <p:nvPr userDrawn="1"/>
            </p:nvSpPr>
            <p:spPr bwMode="gray">
              <a:xfrm>
                <a:off x="6592857" y="385146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30" name="Rechteck 129">
                <a:extLst>
                  <a:ext uri="{FF2B5EF4-FFF2-40B4-BE49-F238E27FC236}">
                    <a16:creationId xmlns:a16="http://schemas.microsoft.com/office/drawing/2014/main" id="{A53B8CDE-21FA-486F-817B-7085756C4127}"/>
                  </a:ext>
                </a:extLst>
              </p:cNvPr>
              <p:cNvSpPr/>
              <p:nvPr userDrawn="1"/>
            </p:nvSpPr>
            <p:spPr bwMode="gray">
              <a:xfrm>
                <a:off x="7096857" y="385146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31" name="Rechteck 130">
                <a:extLst>
                  <a:ext uri="{FF2B5EF4-FFF2-40B4-BE49-F238E27FC236}">
                    <a16:creationId xmlns:a16="http://schemas.microsoft.com/office/drawing/2014/main" id="{5CB765D2-6AFD-4B75-9200-04CEF0B2956A}"/>
                  </a:ext>
                </a:extLst>
              </p:cNvPr>
              <p:cNvSpPr/>
              <p:nvPr userDrawn="1"/>
            </p:nvSpPr>
            <p:spPr bwMode="gray">
              <a:xfrm>
                <a:off x="7600857" y="385146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32" name="Rechteck 131">
                <a:extLst>
                  <a:ext uri="{FF2B5EF4-FFF2-40B4-BE49-F238E27FC236}">
                    <a16:creationId xmlns:a16="http://schemas.microsoft.com/office/drawing/2014/main" id="{E246F609-7871-426B-96AA-507DECD87CE4}"/>
                  </a:ext>
                </a:extLst>
              </p:cNvPr>
              <p:cNvSpPr/>
              <p:nvPr userDrawn="1"/>
            </p:nvSpPr>
            <p:spPr bwMode="gray">
              <a:xfrm>
                <a:off x="8104857" y="385146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33" name="Rechteck 132">
                <a:extLst>
                  <a:ext uri="{FF2B5EF4-FFF2-40B4-BE49-F238E27FC236}">
                    <a16:creationId xmlns:a16="http://schemas.microsoft.com/office/drawing/2014/main" id="{70082C22-BE31-4E88-94F2-89659C78E951}"/>
                  </a:ext>
                </a:extLst>
              </p:cNvPr>
              <p:cNvSpPr/>
              <p:nvPr userDrawn="1"/>
            </p:nvSpPr>
            <p:spPr bwMode="gray">
              <a:xfrm>
                <a:off x="8608857" y="385146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34" name="Rechteck 133">
                <a:extLst>
                  <a:ext uri="{FF2B5EF4-FFF2-40B4-BE49-F238E27FC236}">
                    <a16:creationId xmlns:a16="http://schemas.microsoft.com/office/drawing/2014/main" id="{984F59B6-9F1B-496F-917A-980B1969CDED}"/>
                  </a:ext>
                </a:extLst>
              </p:cNvPr>
              <p:cNvSpPr/>
              <p:nvPr userDrawn="1"/>
            </p:nvSpPr>
            <p:spPr bwMode="gray">
              <a:xfrm>
                <a:off x="9112857" y="385146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35" name="Rechteck 134">
                <a:extLst>
                  <a:ext uri="{FF2B5EF4-FFF2-40B4-BE49-F238E27FC236}">
                    <a16:creationId xmlns:a16="http://schemas.microsoft.com/office/drawing/2014/main" id="{F36C125E-C210-4700-9A55-EFF0D0931FF9}"/>
                  </a:ext>
                </a:extLst>
              </p:cNvPr>
              <p:cNvSpPr/>
              <p:nvPr userDrawn="1"/>
            </p:nvSpPr>
            <p:spPr bwMode="gray">
              <a:xfrm>
                <a:off x="9616857" y="385146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36" name="Rechteck 135">
                <a:extLst>
                  <a:ext uri="{FF2B5EF4-FFF2-40B4-BE49-F238E27FC236}">
                    <a16:creationId xmlns:a16="http://schemas.microsoft.com/office/drawing/2014/main" id="{D94EC043-A0CA-4E8B-A6B0-54C4E76FEE73}"/>
                  </a:ext>
                </a:extLst>
              </p:cNvPr>
              <p:cNvSpPr/>
              <p:nvPr userDrawn="1"/>
            </p:nvSpPr>
            <p:spPr bwMode="gray">
              <a:xfrm>
                <a:off x="10120857" y="385146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37" name="Rechteck 136">
                <a:extLst>
                  <a:ext uri="{FF2B5EF4-FFF2-40B4-BE49-F238E27FC236}">
                    <a16:creationId xmlns:a16="http://schemas.microsoft.com/office/drawing/2014/main" id="{8561D26A-7267-4069-B474-2BF7D6BC6668}"/>
                  </a:ext>
                </a:extLst>
              </p:cNvPr>
              <p:cNvSpPr/>
              <p:nvPr userDrawn="1"/>
            </p:nvSpPr>
            <p:spPr bwMode="gray">
              <a:xfrm>
                <a:off x="10624857" y="385146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38" name="Rechteck 137">
                <a:extLst>
                  <a:ext uri="{FF2B5EF4-FFF2-40B4-BE49-F238E27FC236}">
                    <a16:creationId xmlns:a16="http://schemas.microsoft.com/office/drawing/2014/main" id="{165D5D3D-65F2-402C-83D4-F2566799D638}"/>
                  </a:ext>
                </a:extLst>
              </p:cNvPr>
              <p:cNvSpPr/>
              <p:nvPr userDrawn="1"/>
            </p:nvSpPr>
            <p:spPr bwMode="gray">
              <a:xfrm>
                <a:off x="11128857" y="385146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39" name="Rechteck 138">
                <a:extLst>
                  <a:ext uri="{FF2B5EF4-FFF2-40B4-BE49-F238E27FC236}">
                    <a16:creationId xmlns:a16="http://schemas.microsoft.com/office/drawing/2014/main" id="{EA8E5FC3-9A26-48E5-B7FD-ED57F25729DC}"/>
                  </a:ext>
                </a:extLst>
              </p:cNvPr>
              <p:cNvSpPr/>
              <p:nvPr userDrawn="1"/>
            </p:nvSpPr>
            <p:spPr bwMode="gray">
              <a:xfrm>
                <a:off x="11632857" y="385146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94" name="Rechteck 93">
                <a:extLst>
                  <a:ext uri="{FF2B5EF4-FFF2-40B4-BE49-F238E27FC236}">
                    <a16:creationId xmlns:a16="http://schemas.microsoft.com/office/drawing/2014/main" id="{915094B3-0D5C-4E00-BAFD-9265956C358D}"/>
                  </a:ext>
                </a:extLst>
              </p:cNvPr>
              <p:cNvSpPr/>
              <p:nvPr userDrawn="1"/>
            </p:nvSpPr>
            <p:spPr bwMode="gray">
              <a:xfrm>
                <a:off x="544857" y="435573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01" name="Rechteck 100">
                <a:extLst>
                  <a:ext uri="{FF2B5EF4-FFF2-40B4-BE49-F238E27FC236}">
                    <a16:creationId xmlns:a16="http://schemas.microsoft.com/office/drawing/2014/main" id="{EB7B1712-3C1A-40AC-8EC2-DA741112E3C8}"/>
                  </a:ext>
                </a:extLst>
              </p:cNvPr>
              <p:cNvSpPr/>
              <p:nvPr userDrawn="1"/>
            </p:nvSpPr>
            <p:spPr bwMode="gray">
              <a:xfrm>
                <a:off x="4072857" y="435573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02" name="Rechteck 101">
                <a:extLst>
                  <a:ext uri="{FF2B5EF4-FFF2-40B4-BE49-F238E27FC236}">
                    <a16:creationId xmlns:a16="http://schemas.microsoft.com/office/drawing/2014/main" id="{A7F062AB-14B4-4821-8E5E-C39AF933C3A5}"/>
                  </a:ext>
                </a:extLst>
              </p:cNvPr>
              <p:cNvSpPr/>
              <p:nvPr userDrawn="1"/>
            </p:nvSpPr>
            <p:spPr bwMode="gray">
              <a:xfrm>
                <a:off x="4576857" y="435573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D50D981-57DD-4780-8952-7E1E8861E62F}"/>
                  </a:ext>
                </a:extLst>
              </p:cNvPr>
              <p:cNvSpPr/>
              <p:nvPr userDrawn="1"/>
            </p:nvSpPr>
            <p:spPr bwMode="gray">
              <a:xfrm>
                <a:off x="5080857" y="435573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DD88A155-79CA-43F8-9EBF-D1415386230D}"/>
                  </a:ext>
                </a:extLst>
              </p:cNvPr>
              <p:cNvSpPr/>
              <p:nvPr userDrawn="1"/>
            </p:nvSpPr>
            <p:spPr bwMode="gray">
              <a:xfrm>
                <a:off x="5584857" y="435573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323678F8-6C93-4FEF-A545-334F1BAF743D}"/>
                  </a:ext>
                </a:extLst>
              </p:cNvPr>
              <p:cNvSpPr/>
              <p:nvPr userDrawn="1"/>
            </p:nvSpPr>
            <p:spPr bwMode="gray">
              <a:xfrm>
                <a:off x="6088857" y="435573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C5DDF84A-84A5-4D44-9520-37B34C663952}"/>
                  </a:ext>
                </a:extLst>
              </p:cNvPr>
              <p:cNvSpPr/>
              <p:nvPr userDrawn="1"/>
            </p:nvSpPr>
            <p:spPr bwMode="gray">
              <a:xfrm>
                <a:off x="6592857" y="435573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05642004-E042-4470-8063-062CD8C494D6}"/>
                  </a:ext>
                </a:extLst>
              </p:cNvPr>
              <p:cNvSpPr/>
              <p:nvPr userDrawn="1"/>
            </p:nvSpPr>
            <p:spPr bwMode="gray">
              <a:xfrm>
                <a:off x="7096857" y="435573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98D70360-C63C-45C5-B94B-176A33F02BAC}"/>
                  </a:ext>
                </a:extLst>
              </p:cNvPr>
              <p:cNvSpPr/>
              <p:nvPr userDrawn="1"/>
            </p:nvSpPr>
            <p:spPr bwMode="gray">
              <a:xfrm>
                <a:off x="7600857" y="435573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09" name="Rechteck 108">
                <a:extLst>
                  <a:ext uri="{FF2B5EF4-FFF2-40B4-BE49-F238E27FC236}">
                    <a16:creationId xmlns:a16="http://schemas.microsoft.com/office/drawing/2014/main" id="{A01AE2F8-5E36-41C6-88EF-07627D68828E}"/>
                  </a:ext>
                </a:extLst>
              </p:cNvPr>
              <p:cNvSpPr/>
              <p:nvPr userDrawn="1"/>
            </p:nvSpPr>
            <p:spPr bwMode="gray">
              <a:xfrm>
                <a:off x="8104857" y="435573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10" name="Rechteck 109">
                <a:extLst>
                  <a:ext uri="{FF2B5EF4-FFF2-40B4-BE49-F238E27FC236}">
                    <a16:creationId xmlns:a16="http://schemas.microsoft.com/office/drawing/2014/main" id="{C4AF0C4F-5E5C-4B56-AFE0-A2941E3EA9C1}"/>
                  </a:ext>
                </a:extLst>
              </p:cNvPr>
              <p:cNvSpPr/>
              <p:nvPr userDrawn="1"/>
            </p:nvSpPr>
            <p:spPr bwMode="gray">
              <a:xfrm>
                <a:off x="8608857" y="435573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11" name="Rechteck 110">
                <a:extLst>
                  <a:ext uri="{FF2B5EF4-FFF2-40B4-BE49-F238E27FC236}">
                    <a16:creationId xmlns:a16="http://schemas.microsoft.com/office/drawing/2014/main" id="{A8E3E9A3-9986-4C65-A570-E53D54FBC6D3}"/>
                  </a:ext>
                </a:extLst>
              </p:cNvPr>
              <p:cNvSpPr/>
              <p:nvPr userDrawn="1"/>
            </p:nvSpPr>
            <p:spPr bwMode="gray">
              <a:xfrm>
                <a:off x="9112857" y="435573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12" name="Rechteck 111">
                <a:extLst>
                  <a:ext uri="{FF2B5EF4-FFF2-40B4-BE49-F238E27FC236}">
                    <a16:creationId xmlns:a16="http://schemas.microsoft.com/office/drawing/2014/main" id="{23EB26E9-AF47-4BE3-9D68-6E251D7AE1B1}"/>
                  </a:ext>
                </a:extLst>
              </p:cNvPr>
              <p:cNvSpPr/>
              <p:nvPr userDrawn="1"/>
            </p:nvSpPr>
            <p:spPr bwMode="gray">
              <a:xfrm>
                <a:off x="9616857" y="435573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13" name="Rechteck 112">
                <a:extLst>
                  <a:ext uri="{FF2B5EF4-FFF2-40B4-BE49-F238E27FC236}">
                    <a16:creationId xmlns:a16="http://schemas.microsoft.com/office/drawing/2014/main" id="{75AA2AA3-BBF2-46D8-B12F-9C7954934D7D}"/>
                  </a:ext>
                </a:extLst>
              </p:cNvPr>
              <p:cNvSpPr/>
              <p:nvPr userDrawn="1"/>
            </p:nvSpPr>
            <p:spPr bwMode="gray">
              <a:xfrm>
                <a:off x="10120857" y="435573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14" name="Rechteck 113">
                <a:extLst>
                  <a:ext uri="{FF2B5EF4-FFF2-40B4-BE49-F238E27FC236}">
                    <a16:creationId xmlns:a16="http://schemas.microsoft.com/office/drawing/2014/main" id="{46ACFF9E-1059-4C49-A62A-EAD256F2BC3A}"/>
                  </a:ext>
                </a:extLst>
              </p:cNvPr>
              <p:cNvSpPr/>
              <p:nvPr userDrawn="1"/>
            </p:nvSpPr>
            <p:spPr bwMode="gray">
              <a:xfrm>
                <a:off x="10624857" y="435573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15" name="Rechteck 114">
                <a:extLst>
                  <a:ext uri="{FF2B5EF4-FFF2-40B4-BE49-F238E27FC236}">
                    <a16:creationId xmlns:a16="http://schemas.microsoft.com/office/drawing/2014/main" id="{C1BDE0F2-30F2-4701-B3C3-5270794E281D}"/>
                  </a:ext>
                </a:extLst>
              </p:cNvPr>
              <p:cNvSpPr/>
              <p:nvPr userDrawn="1"/>
            </p:nvSpPr>
            <p:spPr bwMode="gray">
              <a:xfrm>
                <a:off x="11128857" y="435573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116" name="Rechteck 115">
                <a:extLst>
                  <a:ext uri="{FF2B5EF4-FFF2-40B4-BE49-F238E27FC236}">
                    <a16:creationId xmlns:a16="http://schemas.microsoft.com/office/drawing/2014/main" id="{1E794742-7356-47CF-850C-A5EB4F1A6161}"/>
                  </a:ext>
                </a:extLst>
              </p:cNvPr>
              <p:cNvSpPr/>
              <p:nvPr userDrawn="1"/>
            </p:nvSpPr>
            <p:spPr bwMode="gray">
              <a:xfrm>
                <a:off x="11632857" y="435573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71" name="Rechteck 70">
                <a:extLst>
                  <a:ext uri="{FF2B5EF4-FFF2-40B4-BE49-F238E27FC236}">
                    <a16:creationId xmlns:a16="http://schemas.microsoft.com/office/drawing/2014/main" id="{58907F58-AA99-42AC-BFD4-93B0FD927A10}"/>
                  </a:ext>
                </a:extLst>
              </p:cNvPr>
              <p:cNvSpPr/>
              <p:nvPr userDrawn="1"/>
            </p:nvSpPr>
            <p:spPr bwMode="gray">
              <a:xfrm>
                <a:off x="544857" y="485999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73" name="Rechteck 72">
                <a:extLst>
                  <a:ext uri="{FF2B5EF4-FFF2-40B4-BE49-F238E27FC236}">
                    <a16:creationId xmlns:a16="http://schemas.microsoft.com/office/drawing/2014/main" id="{38D97316-2C2D-4DB1-8DAC-BED6434FE1BF}"/>
                  </a:ext>
                </a:extLst>
              </p:cNvPr>
              <p:cNvSpPr/>
              <p:nvPr userDrawn="1"/>
            </p:nvSpPr>
            <p:spPr bwMode="gray">
              <a:xfrm>
                <a:off x="1552857" y="485999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74" name="Rechteck 73">
                <a:extLst>
                  <a:ext uri="{FF2B5EF4-FFF2-40B4-BE49-F238E27FC236}">
                    <a16:creationId xmlns:a16="http://schemas.microsoft.com/office/drawing/2014/main" id="{17223214-557E-4023-B297-AEAA0ED2798B}"/>
                  </a:ext>
                </a:extLst>
              </p:cNvPr>
              <p:cNvSpPr/>
              <p:nvPr userDrawn="1"/>
            </p:nvSpPr>
            <p:spPr bwMode="gray">
              <a:xfrm>
                <a:off x="2056857" y="485999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75" name="Rechteck 74">
                <a:extLst>
                  <a:ext uri="{FF2B5EF4-FFF2-40B4-BE49-F238E27FC236}">
                    <a16:creationId xmlns:a16="http://schemas.microsoft.com/office/drawing/2014/main" id="{DACEBCB3-3C01-473C-BFB8-A4C15141CDC4}"/>
                  </a:ext>
                </a:extLst>
              </p:cNvPr>
              <p:cNvSpPr/>
              <p:nvPr userDrawn="1"/>
            </p:nvSpPr>
            <p:spPr bwMode="gray">
              <a:xfrm>
                <a:off x="2560857" y="485999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76" name="Rechteck 75">
                <a:extLst>
                  <a:ext uri="{FF2B5EF4-FFF2-40B4-BE49-F238E27FC236}">
                    <a16:creationId xmlns:a16="http://schemas.microsoft.com/office/drawing/2014/main" id="{AE042C44-1233-4935-BF0E-17CD1C44E80B}"/>
                  </a:ext>
                </a:extLst>
              </p:cNvPr>
              <p:cNvSpPr/>
              <p:nvPr userDrawn="1"/>
            </p:nvSpPr>
            <p:spPr bwMode="gray">
              <a:xfrm>
                <a:off x="3064857" y="485999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77" name="Rechteck 76">
                <a:extLst>
                  <a:ext uri="{FF2B5EF4-FFF2-40B4-BE49-F238E27FC236}">
                    <a16:creationId xmlns:a16="http://schemas.microsoft.com/office/drawing/2014/main" id="{8C3A3BCA-FADF-4EC0-847E-CB1EFFA6AD7E}"/>
                  </a:ext>
                </a:extLst>
              </p:cNvPr>
              <p:cNvSpPr/>
              <p:nvPr userDrawn="1"/>
            </p:nvSpPr>
            <p:spPr bwMode="gray">
              <a:xfrm>
                <a:off x="3568857" y="485999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78" name="Rechteck 77">
                <a:extLst>
                  <a:ext uri="{FF2B5EF4-FFF2-40B4-BE49-F238E27FC236}">
                    <a16:creationId xmlns:a16="http://schemas.microsoft.com/office/drawing/2014/main" id="{49AC54E1-291C-452C-A944-D28B6FC3EF70}"/>
                  </a:ext>
                </a:extLst>
              </p:cNvPr>
              <p:cNvSpPr/>
              <p:nvPr userDrawn="1"/>
            </p:nvSpPr>
            <p:spPr bwMode="gray">
              <a:xfrm>
                <a:off x="4072857" y="485999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79" name="Rechteck 78">
                <a:extLst>
                  <a:ext uri="{FF2B5EF4-FFF2-40B4-BE49-F238E27FC236}">
                    <a16:creationId xmlns:a16="http://schemas.microsoft.com/office/drawing/2014/main" id="{04F47E4A-8D63-446D-9448-02601D75E127}"/>
                  </a:ext>
                </a:extLst>
              </p:cNvPr>
              <p:cNvSpPr/>
              <p:nvPr userDrawn="1"/>
            </p:nvSpPr>
            <p:spPr bwMode="gray">
              <a:xfrm>
                <a:off x="4576857" y="485999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A838FD34-A0A2-439E-87F4-E916960BDBA0}"/>
                  </a:ext>
                </a:extLst>
              </p:cNvPr>
              <p:cNvSpPr/>
              <p:nvPr userDrawn="1"/>
            </p:nvSpPr>
            <p:spPr bwMode="gray">
              <a:xfrm>
                <a:off x="10120857" y="485999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ECAD69F0-4A70-4CF1-99ED-0C35E035FC50}"/>
                  </a:ext>
                </a:extLst>
              </p:cNvPr>
              <p:cNvSpPr/>
              <p:nvPr userDrawn="1"/>
            </p:nvSpPr>
            <p:spPr bwMode="gray">
              <a:xfrm>
                <a:off x="10624857" y="485999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13E57AF2-DB33-4457-9294-286AEBAF27FF}"/>
                  </a:ext>
                </a:extLst>
              </p:cNvPr>
              <p:cNvSpPr/>
              <p:nvPr userDrawn="1"/>
            </p:nvSpPr>
            <p:spPr bwMode="gray">
              <a:xfrm>
                <a:off x="11128857" y="485999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C7D58A0D-97B3-4D45-B62C-04457451BC3E}"/>
                  </a:ext>
                </a:extLst>
              </p:cNvPr>
              <p:cNvSpPr/>
              <p:nvPr userDrawn="1"/>
            </p:nvSpPr>
            <p:spPr bwMode="gray">
              <a:xfrm>
                <a:off x="11632857" y="4859998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48" name="Rechteck 47">
                <a:extLst>
                  <a:ext uri="{FF2B5EF4-FFF2-40B4-BE49-F238E27FC236}">
                    <a16:creationId xmlns:a16="http://schemas.microsoft.com/office/drawing/2014/main" id="{BA7F6173-2610-40B6-BE80-3C90276610A1}"/>
                  </a:ext>
                </a:extLst>
              </p:cNvPr>
              <p:cNvSpPr/>
              <p:nvPr userDrawn="1"/>
            </p:nvSpPr>
            <p:spPr bwMode="gray">
              <a:xfrm>
                <a:off x="544857" y="536426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49" name="Rechteck 48">
                <a:extLst>
                  <a:ext uri="{FF2B5EF4-FFF2-40B4-BE49-F238E27FC236}">
                    <a16:creationId xmlns:a16="http://schemas.microsoft.com/office/drawing/2014/main" id="{E5F02F57-7840-417A-AEC4-9858AC0E1E7E}"/>
                  </a:ext>
                </a:extLst>
              </p:cNvPr>
              <p:cNvSpPr/>
              <p:nvPr userDrawn="1"/>
            </p:nvSpPr>
            <p:spPr bwMode="gray">
              <a:xfrm>
                <a:off x="1048857" y="536426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50" name="Rechteck 49">
                <a:extLst>
                  <a:ext uri="{FF2B5EF4-FFF2-40B4-BE49-F238E27FC236}">
                    <a16:creationId xmlns:a16="http://schemas.microsoft.com/office/drawing/2014/main" id="{3EC20D11-52B8-4C12-9CDE-3941D2757B23}"/>
                  </a:ext>
                </a:extLst>
              </p:cNvPr>
              <p:cNvSpPr/>
              <p:nvPr userDrawn="1"/>
            </p:nvSpPr>
            <p:spPr bwMode="gray">
              <a:xfrm>
                <a:off x="1552857" y="536426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51" name="Rechteck 50">
                <a:extLst>
                  <a:ext uri="{FF2B5EF4-FFF2-40B4-BE49-F238E27FC236}">
                    <a16:creationId xmlns:a16="http://schemas.microsoft.com/office/drawing/2014/main" id="{204D3772-6547-492D-9EB6-14A5836CBCE7}"/>
                  </a:ext>
                </a:extLst>
              </p:cNvPr>
              <p:cNvSpPr/>
              <p:nvPr userDrawn="1"/>
            </p:nvSpPr>
            <p:spPr bwMode="gray">
              <a:xfrm>
                <a:off x="2056857" y="536426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52" name="Rechteck 51">
                <a:extLst>
                  <a:ext uri="{FF2B5EF4-FFF2-40B4-BE49-F238E27FC236}">
                    <a16:creationId xmlns:a16="http://schemas.microsoft.com/office/drawing/2014/main" id="{6B3A1A54-A0D7-4410-B1F7-B6594770934C}"/>
                  </a:ext>
                </a:extLst>
              </p:cNvPr>
              <p:cNvSpPr/>
              <p:nvPr userDrawn="1"/>
            </p:nvSpPr>
            <p:spPr bwMode="gray">
              <a:xfrm>
                <a:off x="2560857" y="536426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53" name="Rechteck 52">
                <a:extLst>
                  <a:ext uri="{FF2B5EF4-FFF2-40B4-BE49-F238E27FC236}">
                    <a16:creationId xmlns:a16="http://schemas.microsoft.com/office/drawing/2014/main" id="{D7BDE2C2-E006-469E-B6CC-FA52F4DDE557}"/>
                  </a:ext>
                </a:extLst>
              </p:cNvPr>
              <p:cNvSpPr/>
              <p:nvPr userDrawn="1"/>
            </p:nvSpPr>
            <p:spPr bwMode="gray">
              <a:xfrm>
                <a:off x="3064857" y="536426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54" name="Rechteck 53">
                <a:extLst>
                  <a:ext uri="{FF2B5EF4-FFF2-40B4-BE49-F238E27FC236}">
                    <a16:creationId xmlns:a16="http://schemas.microsoft.com/office/drawing/2014/main" id="{735BC689-3F9F-4D06-897E-2B7A80CF122A}"/>
                  </a:ext>
                </a:extLst>
              </p:cNvPr>
              <p:cNvSpPr/>
              <p:nvPr userDrawn="1"/>
            </p:nvSpPr>
            <p:spPr bwMode="gray">
              <a:xfrm>
                <a:off x="3568857" y="536426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55" name="Rechteck 54">
                <a:extLst>
                  <a:ext uri="{FF2B5EF4-FFF2-40B4-BE49-F238E27FC236}">
                    <a16:creationId xmlns:a16="http://schemas.microsoft.com/office/drawing/2014/main" id="{3CC67979-918F-4745-89BB-FFE352837A0C}"/>
                  </a:ext>
                </a:extLst>
              </p:cNvPr>
              <p:cNvSpPr/>
              <p:nvPr userDrawn="1"/>
            </p:nvSpPr>
            <p:spPr bwMode="gray">
              <a:xfrm>
                <a:off x="4072857" y="536426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56" name="Rechteck 55">
                <a:extLst>
                  <a:ext uri="{FF2B5EF4-FFF2-40B4-BE49-F238E27FC236}">
                    <a16:creationId xmlns:a16="http://schemas.microsoft.com/office/drawing/2014/main" id="{2A08CC9A-0595-4A86-9F4A-CC518A658F87}"/>
                  </a:ext>
                </a:extLst>
              </p:cNvPr>
              <p:cNvSpPr/>
              <p:nvPr userDrawn="1"/>
            </p:nvSpPr>
            <p:spPr bwMode="gray">
              <a:xfrm>
                <a:off x="4576857" y="536426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57" name="Rechteck 56">
                <a:extLst>
                  <a:ext uri="{FF2B5EF4-FFF2-40B4-BE49-F238E27FC236}">
                    <a16:creationId xmlns:a16="http://schemas.microsoft.com/office/drawing/2014/main" id="{54E0CB2C-82D1-4398-B399-E15DB23E743C}"/>
                  </a:ext>
                </a:extLst>
              </p:cNvPr>
              <p:cNvSpPr/>
              <p:nvPr userDrawn="1"/>
            </p:nvSpPr>
            <p:spPr bwMode="gray">
              <a:xfrm>
                <a:off x="5080857" y="536426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58" name="Rechteck 57">
                <a:extLst>
                  <a:ext uri="{FF2B5EF4-FFF2-40B4-BE49-F238E27FC236}">
                    <a16:creationId xmlns:a16="http://schemas.microsoft.com/office/drawing/2014/main" id="{508AEF82-1A63-4D09-A56C-77BA8F40F779}"/>
                  </a:ext>
                </a:extLst>
              </p:cNvPr>
              <p:cNvSpPr/>
              <p:nvPr userDrawn="1"/>
            </p:nvSpPr>
            <p:spPr bwMode="gray">
              <a:xfrm>
                <a:off x="5584857" y="536426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59" name="Rechteck 58">
                <a:extLst>
                  <a:ext uri="{FF2B5EF4-FFF2-40B4-BE49-F238E27FC236}">
                    <a16:creationId xmlns:a16="http://schemas.microsoft.com/office/drawing/2014/main" id="{2ABEF4ED-7C97-4134-907F-5BE27BFE2068}"/>
                  </a:ext>
                </a:extLst>
              </p:cNvPr>
              <p:cNvSpPr/>
              <p:nvPr userDrawn="1"/>
            </p:nvSpPr>
            <p:spPr bwMode="gray">
              <a:xfrm>
                <a:off x="6088857" y="536426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60" name="Rechteck 59">
                <a:extLst>
                  <a:ext uri="{FF2B5EF4-FFF2-40B4-BE49-F238E27FC236}">
                    <a16:creationId xmlns:a16="http://schemas.microsoft.com/office/drawing/2014/main" id="{8B283F4C-5271-49F5-A7C7-F200D118E1B4}"/>
                  </a:ext>
                </a:extLst>
              </p:cNvPr>
              <p:cNvSpPr/>
              <p:nvPr userDrawn="1"/>
            </p:nvSpPr>
            <p:spPr bwMode="gray">
              <a:xfrm>
                <a:off x="6592857" y="536426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61" name="Rechteck 60">
                <a:extLst>
                  <a:ext uri="{FF2B5EF4-FFF2-40B4-BE49-F238E27FC236}">
                    <a16:creationId xmlns:a16="http://schemas.microsoft.com/office/drawing/2014/main" id="{7BAA5928-75A0-4A72-9F9A-4DFA820D2739}"/>
                  </a:ext>
                </a:extLst>
              </p:cNvPr>
              <p:cNvSpPr/>
              <p:nvPr userDrawn="1"/>
            </p:nvSpPr>
            <p:spPr bwMode="gray">
              <a:xfrm>
                <a:off x="7096857" y="536426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62" name="Rechteck 61">
                <a:extLst>
                  <a:ext uri="{FF2B5EF4-FFF2-40B4-BE49-F238E27FC236}">
                    <a16:creationId xmlns:a16="http://schemas.microsoft.com/office/drawing/2014/main" id="{25DAC501-A67C-48D3-9E09-942D81EEAB1B}"/>
                  </a:ext>
                </a:extLst>
              </p:cNvPr>
              <p:cNvSpPr/>
              <p:nvPr userDrawn="1"/>
            </p:nvSpPr>
            <p:spPr bwMode="gray">
              <a:xfrm>
                <a:off x="7600857" y="536426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63" name="Rechteck 62">
                <a:extLst>
                  <a:ext uri="{FF2B5EF4-FFF2-40B4-BE49-F238E27FC236}">
                    <a16:creationId xmlns:a16="http://schemas.microsoft.com/office/drawing/2014/main" id="{5D059E3D-4B8E-42D8-AF1B-3C9F06958F17}"/>
                  </a:ext>
                </a:extLst>
              </p:cNvPr>
              <p:cNvSpPr/>
              <p:nvPr userDrawn="1"/>
            </p:nvSpPr>
            <p:spPr bwMode="gray">
              <a:xfrm>
                <a:off x="8104857" y="536426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64" name="Rechteck 63">
                <a:extLst>
                  <a:ext uri="{FF2B5EF4-FFF2-40B4-BE49-F238E27FC236}">
                    <a16:creationId xmlns:a16="http://schemas.microsoft.com/office/drawing/2014/main" id="{A64EBCED-5031-42CD-B12E-18C5EDCEC30A}"/>
                  </a:ext>
                </a:extLst>
              </p:cNvPr>
              <p:cNvSpPr/>
              <p:nvPr userDrawn="1"/>
            </p:nvSpPr>
            <p:spPr bwMode="gray">
              <a:xfrm>
                <a:off x="8608857" y="536426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65" name="Rechteck 64">
                <a:extLst>
                  <a:ext uri="{FF2B5EF4-FFF2-40B4-BE49-F238E27FC236}">
                    <a16:creationId xmlns:a16="http://schemas.microsoft.com/office/drawing/2014/main" id="{11EF46AB-B93C-4BF4-93F3-0A814355834B}"/>
                  </a:ext>
                </a:extLst>
              </p:cNvPr>
              <p:cNvSpPr/>
              <p:nvPr userDrawn="1"/>
            </p:nvSpPr>
            <p:spPr bwMode="gray">
              <a:xfrm>
                <a:off x="9112857" y="536426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66" name="Rechteck 65">
                <a:extLst>
                  <a:ext uri="{FF2B5EF4-FFF2-40B4-BE49-F238E27FC236}">
                    <a16:creationId xmlns:a16="http://schemas.microsoft.com/office/drawing/2014/main" id="{CB5B0A9B-C91C-4C35-9D77-E34665037F6E}"/>
                  </a:ext>
                </a:extLst>
              </p:cNvPr>
              <p:cNvSpPr/>
              <p:nvPr userDrawn="1"/>
            </p:nvSpPr>
            <p:spPr bwMode="gray">
              <a:xfrm>
                <a:off x="9616857" y="536426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67" name="Rechteck 66">
                <a:extLst>
                  <a:ext uri="{FF2B5EF4-FFF2-40B4-BE49-F238E27FC236}">
                    <a16:creationId xmlns:a16="http://schemas.microsoft.com/office/drawing/2014/main" id="{99D21FC6-AFCC-45F7-BBEB-479CA9C5F9EE}"/>
                  </a:ext>
                </a:extLst>
              </p:cNvPr>
              <p:cNvSpPr/>
              <p:nvPr userDrawn="1"/>
            </p:nvSpPr>
            <p:spPr bwMode="gray">
              <a:xfrm>
                <a:off x="10120857" y="536426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68" name="Rechteck 67">
                <a:extLst>
                  <a:ext uri="{FF2B5EF4-FFF2-40B4-BE49-F238E27FC236}">
                    <a16:creationId xmlns:a16="http://schemas.microsoft.com/office/drawing/2014/main" id="{0B9715FF-E764-492B-AD19-FA0748A8E759}"/>
                  </a:ext>
                </a:extLst>
              </p:cNvPr>
              <p:cNvSpPr/>
              <p:nvPr userDrawn="1"/>
            </p:nvSpPr>
            <p:spPr bwMode="gray">
              <a:xfrm>
                <a:off x="10624857" y="536426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69" name="Rechteck 68">
                <a:extLst>
                  <a:ext uri="{FF2B5EF4-FFF2-40B4-BE49-F238E27FC236}">
                    <a16:creationId xmlns:a16="http://schemas.microsoft.com/office/drawing/2014/main" id="{C9E830D2-3FAE-4244-91EF-E8F2F8C06F30}"/>
                  </a:ext>
                </a:extLst>
              </p:cNvPr>
              <p:cNvSpPr/>
              <p:nvPr userDrawn="1"/>
            </p:nvSpPr>
            <p:spPr bwMode="gray">
              <a:xfrm>
                <a:off x="11128857" y="536426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70" name="Rechteck 69">
                <a:extLst>
                  <a:ext uri="{FF2B5EF4-FFF2-40B4-BE49-F238E27FC236}">
                    <a16:creationId xmlns:a16="http://schemas.microsoft.com/office/drawing/2014/main" id="{504B6033-44C6-4E6D-8973-9F62093DCDCC}"/>
                  </a:ext>
                </a:extLst>
              </p:cNvPr>
              <p:cNvSpPr/>
              <p:nvPr userDrawn="1"/>
            </p:nvSpPr>
            <p:spPr bwMode="gray">
              <a:xfrm>
                <a:off x="11632857" y="5364263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5" name="Rechteck 24">
                <a:extLst>
                  <a:ext uri="{FF2B5EF4-FFF2-40B4-BE49-F238E27FC236}">
                    <a16:creationId xmlns:a16="http://schemas.microsoft.com/office/drawing/2014/main" id="{B2BC2E9F-3F5C-4D87-9097-53DD6E154210}"/>
                  </a:ext>
                </a:extLst>
              </p:cNvPr>
              <p:cNvSpPr/>
              <p:nvPr userDrawn="1"/>
            </p:nvSpPr>
            <p:spPr bwMode="gray">
              <a:xfrm>
                <a:off x="544857" y="5868524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6" name="Rechteck 25">
                <a:extLst>
                  <a:ext uri="{FF2B5EF4-FFF2-40B4-BE49-F238E27FC236}">
                    <a16:creationId xmlns:a16="http://schemas.microsoft.com/office/drawing/2014/main" id="{AF48839B-F0E3-4FF1-A7AB-7406674D02FB}"/>
                  </a:ext>
                </a:extLst>
              </p:cNvPr>
              <p:cNvSpPr/>
              <p:nvPr userDrawn="1"/>
            </p:nvSpPr>
            <p:spPr bwMode="gray">
              <a:xfrm>
                <a:off x="1048857" y="5868524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7" name="Rechteck 26">
                <a:extLst>
                  <a:ext uri="{FF2B5EF4-FFF2-40B4-BE49-F238E27FC236}">
                    <a16:creationId xmlns:a16="http://schemas.microsoft.com/office/drawing/2014/main" id="{024FD805-0CF6-46FA-A196-0E6B1D7971A5}"/>
                  </a:ext>
                </a:extLst>
              </p:cNvPr>
              <p:cNvSpPr/>
              <p:nvPr userDrawn="1"/>
            </p:nvSpPr>
            <p:spPr bwMode="gray">
              <a:xfrm>
                <a:off x="1552857" y="5868524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8" name="Rechteck 27">
                <a:extLst>
                  <a:ext uri="{FF2B5EF4-FFF2-40B4-BE49-F238E27FC236}">
                    <a16:creationId xmlns:a16="http://schemas.microsoft.com/office/drawing/2014/main" id="{D3961323-9658-4B92-B641-DA1923A0005B}"/>
                  </a:ext>
                </a:extLst>
              </p:cNvPr>
              <p:cNvSpPr/>
              <p:nvPr userDrawn="1"/>
            </p:nvSpPr>
            <p:spPr bwMode="gray">
              <a:xfrm>
                <a:off x="2056857" y="5868524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9" name="Rechteck 28">
                <a:extLst>
                  <a:ext uri="{FF2B5EF4-FFF2-40B4-BE49-F238E27FC236}">
                    <a16:creationId xmlns:a16="http://schemas.microsoft.com/office/drawing/2014/main" id="{F266016E-464E-4A77-B067-75595047C1FF}"/>
                  </a:ext>
                </a:extLst>
              </p:cNvPr>
              <p:cNvSpPr/>
              <p:nvPr userDrawn="1"/>
            </p:nvSpPr>
            <p:spPr bwMode="gray">
              <a:xfrm>
                <a:off x="2560857" y="5868524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30" name="Rechteck 29">
                <a:extLst>
                  <a:ext uri="{FF2B5EF4-FFF2-40B4-BE49-F238E27FC236}">
                    <a16:creationId xmlns:a16="http://schemas.microsoft.com/office/drawing/2014/main" id="{C8A23C32-A337-4BC3-8398-3D15367EDE6A}"/>
                  </a:ext>
                </a:extLst>
              </p:cNvPr>
              <p:cNvSpPr/>
              <p:nvPr userDrawn="1"/>
            </p:nvSpPr>
            <p:spPr bwMode="gray">
              <a:xfrm>
                <a:off x="3064857" y="5868524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31" name="Rechteck 30">
                <a:extLst>
                  <a:ext uri="{FF2B5EF4-FFF2-40B4-BE49-F238E27FC236}">
                    <a16:creationId xmlns:a16="http://schemas.microsoft.com/office/drawing/2014/main" id="{73C66D45-1AD3-4520-8803-F6B7DDF4991B}"/>
                  </a:ext>
                </a:extLst>
              </p:cNvPr>
              <p:cNvSpPr/>
              <p:nvPr userDrawn="1"/>
            </p:nvSpPr>
            <p:spPr bwMode="gray">
              <a:xfrm>
                <a:off x="3568857" y="5868524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32" name="Rechteck 31">
                <a:extLst>
                  <a:ext uri="{FF2B5EF4-FFF2-40B4-BE49-F238E27FC236}">
                    <a16:creationId xmlns:a16="http://schemas.microsoft.com/office/drawing/2014/main" id="{E8748334-0A1A-468E-BD8C-0558D8960DA8}"/>
                  </a:ext>
                </a:extLst>
              </p:cNvPr>
              <p:cNvSpPr/>
              <p:nvPr userDrawn="1"/>
            </p:nvSpPr>
            <p:spPr bwMode="gray">
              <a:xfrm>
                <a:off x="4072857" y="5868524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33" name="Rechteck 32">
                <a:extLst>
                  <a:ext uri="{FF2B5EF4-FFF2-40B4-BE49-F238E27FC236}">
                    <a16:creationId xmlns:a16="http://schemas.microsoft.com/office/drawing/2014/main" id="{94791B9F-18CF-4988-A0F2-BEA7BA9CDBA8}"/>
                  </a:ext>
                </a:extLst>
              </p:cNvPr>
              <p:cNvSpPr/>
              <p:nvPr userDrawn="1"/>
            </p:nvSpPr>
            <p:spPr bwMode="gray">
              <a:xfrm>
                <a:off x="4576857" y="5868524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34" name="Rechteck 33">
                <a:extLst>
                  <a:ext uri="{FF2B5EF4-FFF2-40B4-BE49-F238E27FC236}">
                    <a16:creationId xmlns:a16="http://schemas.microsoft.com/office/drawing/2014/main" id="{28FE0F8A-2A51-493B-AD64-086D2DAA76DF}"/>
                  </a:ext>
                </a:extLst>
              </p:cNvPr>
              <p:cNvSpPr/>
              <p:nvPr userDrawn="1"/>
            </p:nvSpPr>
            <p:spPr bwMode="gray">
              <a:xfrm>
                <a:off x="5080857" y="5868524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35" name="Rechteck 34">
                <a:extLst>
                  <a:ext uri="{FF2B5EF4-FFF2-40B4-BE49-F238E27FC236}">
                    <a16:creationId xmlns:a16="http://schemas.microsoft.com/office/drawing/2014/main" id="{8138A776-E8D9-4112-B4A3-3C34FA4D32D8}"/>
                  </a:ext>
                </a:extLst>
              </p:cNvPr>
              <p:cNvSpPr/>
              <p:nvPr userDrawn="1"/>
            </p:nvSpPr>
            <p:spPr bwMode="gray">
              <a:xfrm>
                <a:off x="5584857" y="5868524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36" name="Rechteck 35">
                <a:extLst>
                  <a:ext uri="{FF2B5EF4-FFF2-40B4-BE49-F238E27FC236}">
                    <a16:creationId xmlns:a16="http://schemas.microsoft.com/office/drawing/2014/main" id="{A6DADB1B-E062-4A6C-B943-18BD9E295895}"/>
                  </a:ext>
                </a:extLst>
              </p:cNvPr>
              <p:cNvSpPr/>
              <p:nvPr userDrawn="1"/>
            </p:nvSpPr>
            <p:spPr bwMode="gray">
              <a:xfrm>
                <a:off x="6088857" y="5868524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37" name="Rechteck 36">
                <a:extLst>
                  <a:ext uri="{FF2B5EF4-FFF2-40B4-BE49-F238E27FC236}">
                    <a16:creationId xmlns:a16="http://schemas.microsoft.com/office/drawing/2014/main" id="{10B78D44-9C7E-4E25-8569-01313A480575}"/>
                  </a:ext>
                </a:extLst>
              </p:cNvPr>
              <p:cNvSpPr/>
              <p:nvPr userDrawn="1"/>
            </p:nvSpPr>
            <p:spPr bwMode="gray">
              <a:xfrm>
                <a:off x="6592857" y="5868524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38" name="Rechteck 37">
                <a:extLst>
                  <a:ext uri="{FF2B5EF4-FFF2-40B4-BE49-F238E27FC236}">
                    <a16:creationId xmlns:a16="http://schemas.microsoft.com/office/drawing/2014/main" id="{A52BD1A5-6608-4680-A3AE-57D5B2321051}"/>
                  </a:ext>
                </a:extLst>
              </p:cNvPr>
              <p:cNvSpPr/>
              <p:nvPr userDrawn="1"/>
            </p:nvSpPr>
            <p:spPr bwMode="gray">
              <a:xfrm>
                <a:off x="7096857" y="5868524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39" name="Rechteck 38">
                <a:extLst>
                  <a:ext uri="{FF2B5EF4-FFF2-40B4-BE49-F238E27FC236}">
                    <a16:creationId xmlns:a16="http://schemas.microsoft.com/office/drawing/2014/main" id="{E5B403E6-B1F5-4FD7-8857-2CBEFDF92277}"/>
                  </a:ext>
                </a:extLst>
              </p:cNvPr>
              <p:cNvSpPr/>
              <p:nvPr userDrawn="1"/>
            </p:nvSpPr>
            <p:spPr bwMode="gray">
              <a:xfrm>
                <a:off x="7600857" y="5868524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40" name="Rechteck 39">
                <a:extLst>
                  <a:ext uri="{FF2B5EF4-FFF2-40B4-BE49-F238E27FC236}">
                    <a16:creationId xmlns:a16="http://schemas.microsoft.com/office/drawing/2014/main" id="{44A4C016-DC31-4225-AC0F-BDE8AB49A7C0}"/>
                  </a:ext>
                </a:extLst>
              </p:cNvPr>
              <p:cNvSpPr/>
              <p:nvPr userDrawn="1"/>
            </p:nvSpPr>
            <p:spPr bwMode="gray">
              <a:xfrm>
                <a:off x="8104857" y="5868524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41" name="Rechteck 40">
                <a:extLst>
                  <a:ext uri="{FF2B5EF4-FFF2-40B4-BE49-F238E27FC236}">
                    <a16:creationId xmlns:a16="http://schemas.microsoft.com/office/drawing/2014/main" id="{80894296-4BA2-4EFB-AC48-59ADDCC5754E}"/>
                  </a:ext>
                </a:extLst>
              </p:cNvPr>
              <p:cNvSpPr/>
              <p:nvPr userDrawn="1"/>
            </p:nvSpPr>
            <p:spPr bwMode="gray">
              <a:xfrm>
                <a:off x="8608857" y="5868524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42" name="Rechteck 41">
                <a:extLst>
                  <a:ext uri="{FF2B5EF4-FFF2-40B4-BE49-F238E27FC236}">
                    <a16:creationId xmlns:a16="http://schemas.microsoft.com/office/drawing/2014/main" id="{991E814E-A443-4D67-986E-4D31F132A15D}"/>
                  </a:ext>
                </a:extLst>
              </p:cNvPr>
              <p:cNvSpPr/>
              <p:nvPr userDrawn="1"/>
            </p:nvSpPr>
            <p:spPr bwMode="gray">
              <a:xfrm>
                <a:off x="9112857" y="5868524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43" name="Rechteck 42">
                <a:extLst>
                  <a:ext uri="{FF2B5EF4-FFF2-40B4-BE49-F238E27FC236}">
                    <a16:creationId xmlns:a16="http://schemas.microsoft.com/office/drawing/2014/main" id="{7CED39BB-2FDE-428D-931E-1CFE5D416ED6}"/>
                  </a:ext>
                </a:extLst>
              </p:cNvPr>
              <p:cNvSpPr/>
              <p:nvPr userDrawn="1"/>
            </p:nvSpPr>
            <p:spPr bwMode="gray">
              <a:xfrm>
                <a:off x="9616857" y="5868524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44" name="Rechteck 43">
                <a:extLst>
                  <a:ext uri="{FF2B5EF4-FFF2-40B4-BE49-F238E27FC236}">
                    <a16:creationId xmlns:a16="http://schemas.microsoft.com/office/drawing/2014/main" id="{C8161742-F34C-462B-B368-450D19893A45}"/>
                  </a:ext>
                </a:extLst>
              </p:cNvPr>
              <p:cNvSpPr/>
              <p:nvPr userDrawn="1"/>
            </p:nvSpPr>
            <p:spPr bwMode="gray">
              <a:xfrm>
                <a:off x="10120857" y="5868524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45" name="Rechteck 44">
                <a:extLst>
                  <a:ext uri="{FF2B5EF4-FFF2-40B4-BE49-F238E27FC236}">
                    <a16:creationId xmlns:a16="http://schemas.microsoft.com/office/drawing/2014/main" id="{ABEB3DAE-3CF0-4BDA-B34C-B660FE4B935A}"/>
                  </a:ext>
                </a:extLst>
              </p:cNvPr>
              <p:cNvSpPr/>
              <p:nvPr userDrawn="1"/>
            </p:nvSpPr>
            <p:spPr bwMode="gray">
              <a:xfrm>
                <a:off x="10624857" y="5868524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46" name="Rechteck 45">
                <a:extLst>
                  <a:ext uri="{FF2B5EF4-FFF2-40B4-BE49-F238E27FC236}">
                    <a16:creationId xmlns:a16="http://schemas.microsoft.com/office/drawing/2014/main" id="{CA5FCFEC-E486-4184-8A70-0AD470E62F8F}"/>
                  </a:ext>
                </a:extLst>
              </p:cNvPr>
              <p:cNvSpPr/>
              <p:nvPr userDrawn="1"/>
            </p:nvSpPr>
            <p:spPr bwMode="gray">
              <a:xfrm>
                <a:off x="11128857" y="5868524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47" name="Rechteck 46">
                <a:extLst>
                  <a:ext uri="{FF2B5EF4-FFF2-40B4-BE49-F238E27FC236}">
                    <a16:creationId xmlns:a16="http://schemas.microsoft.com/office/drawing/2014/main" id="{D44B3EAE-DCA6-4387-B322-AA2E671A5B0D}"/>
                  </a:ext>
                </a:extLst>
              </p:cNvPr>
              <p:cNvSpPr/>
              <p:nvPr userDrawn="1"/>
            </p:nvSpPr>
            <p:spPr bwMode="gray">
              <a:xfrm>
                <a:off x="11632857" y="5868524"/>
                <a:ext cx="18000" cy="18000"/>
              </a:xfrm>
              <a:prstGeom prst="rect">
                <a:avLst/>
              </a:prstGeom>
              <a:solidFill>
                <a:srgbClr val="9FA7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</p:grpSp>
        <p:grpSp>
          <p:nvGrpSpPr>
            <p:cNvPr id="191" name="Gruppieren 190">
              <a:extLst>
                <a:ext uri="{FF2B5EF4-FFF2-40B4-BE49-F238E27FC236}">
                  <a16:creationId xmlns:a16="http://schemas.microsoft.com/office/drawing/2014/main" id="{6B8C10B1-320E-4A48-BDED-DC8674E57E8B}"/>
                </a:ext>
              </a:extLst>
            </p:cNvPr>
            <p:cNvGrpSpPr/>
            <p:nvPr userDrawn="1"/>
          </p:nvGrpSpPr>
          <p:grpSpPr bwMode="gray">
            <a:xfrm>
              <a:off x="544857" y="6372524"/>
              <a:ext cx="11106000" cy="18000"/>
              <a:chOff x="544857" y="1323000"/>
              <a:chExt cx="11106000" cy="18000"/>
            </a:xfrm>
            <a:solidFill>
              <a:srgbClr val="9FA7AD"/>
            </a:solidFill>
          </p:grpSpPr>
          <p:sp>
            <p:nvSpPr>
              <p:cNvPr id="192" name="Rechteck 191">
                <a:extLst>
                  <a:ext uri="{FF2B5EF4-FFF2-40B4-BE49-F238E27FC236}">
                    <a16:creationId xmlns:a16="http://schemas.microsoft.com/office/drawing/2014/main" id="{4CBC3494-3B47-4E3B-BBC2-CA7D741B45DC}"/>
                  </a:ext>
                </a:extLst>
              </p:cNvPr>
              <p:cNvSpPr/>
              <p:nvPr userDrawn="1"/>
            </p:nvSpPr>
            <p:spPr bwMode="gray">
              <a:xfrm>
                <a:off x="544857" y="1323000"/>
                <a:ext cx="18000" cy="1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10" name="Rechteck 209">
                <a:extLst>
                  <a:ext uri="{FF2B5EF4-FFF2-40B4-BE49-F238E27FC236}">
                    <a16:creationId xmlns:a16="http://schemas.microsoft.com/office/drawing/2014/main" id="{FF7333D9-1407-48C4-A50D-B7342D9359D2}"/>
                  </a:ext>
                </a:extLst>
              </p:cNvPr>
              <p:cNvSpPr/>
              <p:nvPr userDrawn="1"/>
            </p:nvSpPr>
            <p:spPr bwMode="gray">
              <a:xfrm>
                <a:off x="1048857" y="1323000"/>
                <a:ext cx="18000" cy="1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11" name="Rechteck 210">
                <a:extLst>
                  <a:ext uri="{FF2B5EF4-FFF2-40B4-BE49-F238E27FC236}">
                    <a16:creationId xmlns:a16="http://schemas.microsoft.com/office/drawing/2014/main" id="{93370FF4-7912-4508-B1C6-51FA18FC5FBE}"/>
                  </a:ext>
                </a:extLst>
              </p:cNvPr>
              <p:cNvSpPr/>
              <p:nvPr userDrawn="1"/>
            </p:nvSpPr>
            <p:spPr bwMode="gray">
              <a:xfrm>
                <a:off x="1552857" y="1323000"/>
                <a:ext cx="18000" cy="1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12" name="Rechteck 211">
                <a:extLst>
                  <a:ext uri="{FF2B5EF4-FFF2-40B4-BE49-F238E27FC236}">
                    <a16:creationId xmlns:a16="http://schemas.microsoft.com/office/drawing/2014/main" id="{78AE3B4D-7EA9-4899-9482-DF35C6216194}"/>
                  </a:ext>
                </a:extLst>
              </p:cNvPr>
              <p:cNvSpPr/>
              <p:nvPr userDrawn="1"/>
            </p:nvSpPr>
            <p:spPr bwMode="gray">
              <a:xfrm>
                <a:off x="2056857" y="1323000"/>
                <a:ext cx="18000" cy="1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13" name="Rechteck 212">
                <a:extLst>
                  <a:ext uri="{FF2B5EF4-FFF2-40B4-BE49-F238E27FC236}">
                    <a16:creationId xmlns:a16="http://schemas.microsoft.com/office/drawing/2014/main" id="{2ED55027-9F6D-401E-A615-AA7A1E0D2318}"/>
                  </a:ext>
                </a:extLst>
              </p:cNvPr>
              <p:cNvSpPr/>
              <p:nvPr userDrawn="1"/>
            </p:nvSpPr>
            <p:spPr bwMode="gray">
              <a:xfrm>
                <a:off x="2560857" y="1323000"/>
                <a:ext cx="18000" cy="1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14" name="Rechteck 213">
                <a:extLst>
                  <a:ext uri="{FF2B5EF4-FFF2-40B4-BE49-F238E27FC236}">
                    <a16:creationId xmlns:a16="http://schemas.microsoft.com/office/drawing/2014/main" id="{45D18C8B-25DD-4052-83A7-00A06423D657}"/>
                  </a:ext>
                </a:extLst>
              </p:cNvPr>
              <p:cNvSpPr/>
              <p:nvPr userDrawn="1"/>
            </p:nvSpPr>
            <p:spPr bwMode="gray">
              <a:xfrm>
                <a:off x="3064857" y="1323000"/>
                <a:ext cx="18000" cy="1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15" name="Rechteck 214">
                <a:extLst>
                  <a:ext uri="{FF2B5EF4-FFF2-40B4-BE49-F238E27FC236}">
                    <a16:creationId xmlns:a16="http://schemas.microsoft.com/office/drawing/2014/main" id="{2E6238CA-5E23-4371-8558-DD2509882A2D}"/>
                  </a:ext>
                </a:extLst>
              </p:cNvPr>
              <p:cNvSpPr/>
              <p:nvPr userDrawn="1"/>
            </p:nvSpPr>
            <p:spPr bwMode="gray">
              <a:xfrm>
                <a:off x="3568857" y="1323000"/>
                <a:ext cx="18000" cy="1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16" name="Rechteck 215">
                <a:extLst>
                  <a:ext uri="{FF2B5EF4-FFF2-40B4-BE49-F238E27FC236}">
                    <a16:creationId xmlns:a16="http://schemas.microsoft.com/office/drawing/2014/main" id="{09F8805E-87F7-4B20-B7C0-541B77D4E911}"/>
                  </a:ext>
                </a:extLst>
              </p:cNvPr>
              <p:cNvSpPr/>
              <p:nvPr userDrawn="1"/>
            </p:nvSpPr>
            <p:spPr bwMode="gray">
              <a:xfrm>
                <a:off x="4072857" y="1323000"/>
                <a:ext cx="18000" cy="1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55" name="Rechteck 254">
                <a:extLst>
                  <a:ext uri="{FF2B5EF4-FFF2-40B4-BE49-F238E27FC236}">
                    <a16:creationId xmlns:a16="http://schemas.microsoft.com/office/drawing/2014/main" id="{5E399BDD-7475-4630-96C4-80603B8E971C}"/>
                  </a:ext>
                </a:extLst>
              </p:cNvPr>
              <p:cNvSpPr/>
              <p:nvPr userDrawn="1"/>
            </p:nvSpPr>
            <p:spPr bwMode="gray">
              <a:xfrm>
                <a:off x="4576857" y="1323000"/>
                <a:ext cx="18000" cy="1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57" name="Rechteck 256">
                <a:extLst>
                  <a:ext uri="{FF2B5EF4-FFF2-40B4-BE49-F238E27FC236}">
                    <a16:creationId xmlns:a16="http://schemas.microsoft.com/office/drawing/2014/main" id="{9759F1C8-82C5-4B37-A04F-2F9B9A52D576}"/>
                  </a:ext>
                </a:extLst>
              </p:cNvPr>
              <p:cNvSpPr/>
              <p:nvPr userDrawn="1"/>
            </p:nvSpPr>
            <p:spPr bwMode="gray">
              <a:xfrm>
                <a:off x="5080857" y="1323000"/>
                <a:ext cx="18000" cy="1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58" name="Rechteck 257">
                <a:extLst>
                  <a:ext uri="{FF2B5EF4-FFF2-40B4-BE49-F238E27FC236}">
                    <a16:creationId xmlns:a16="http://schemas.microsoft.com/office/drawing/2014/main" id="{AF0DDEB4-69C9-458D-BE11-BC4A5927F33D}"/>
                  </a:ext>
                </a:extLst>
              </p:cNvPr>
              <p:cNvSpPr/>
              <p:nvPr userDrawn="1"/>
            </p:nvSpPr>
            <p:spPr bwMode="gray">
              <a:xfrm>
                <a:off x="5584857" y="1323000"/>
                <a:ext cx="18000" cy="1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59" name="Rechteck 258">
                <a:extLst>
                  <a:ext uri="{FF2B5EF4-FFF2-40B4-BE49-F238E27FC236}">
                    <a16:creationId xmlns:a16="http://schemas.microsoft.com/office/drawing/2014/main" id="{3D146463-2699-4698-94FC-7B48E4E90D8E}"/>
                  </a:ext>
                </a:extLst>
              </p:cNvPr>
              <p:cNvSpPr/>
              <p:nvPr userDrawn="1"/>
            </p:nvSpPr>
            <p:spPr bwMode="gray">
              <a:xfrm>
                <a:off x="6088857" y="1323000"/>
                <a:ext cx="18000" cy="1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60" name="Rechteck 259">
                <a:extLst>
                  <a:ext uri="{FF2B5EF4-FFF2-40B4-BE49-F238E27FC236}">
                    <a16:creationId xmlns:a16="http://schemas.microsoft.com/office/drawing/2014/main" id="{5673198E-8964-4432-A92B-DF853B3CE6FB}"/>
                  </a:ext>
                </a:extLst>
              </p:cNvPr>
              <p:cNvSpPr/>
              <p:nvPr userDrawn="1"/>
            </p:nvSpPr>
            <p:spPr bwMode="gray">
              <a:xfrm>
                <a:off x="6592857" y="1323000"/>
                <a:ext cx="18000" cy="1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61" name="Rechteck 260">
                <a:extLst>
                  <a:ext uri="{FF2B5EF4-FFF2-40B4-BE49-F238E27FC236}">
                    <a16:creationId xmlns:a16="http://schemas.microsoft.com/office/drawing/2014/main" id="{E7B7436A-A4EA-4151-8B69-A325AA6C45C2}"/>
                  </a:ext>
                </a:extLst>
              </p:cNvPr>
              <p:cNvSpPr/>
              <p:nvPr userDrawn="1"/>
            </p:nvSpPr>
            <p:spPr bwMode="gray">
              <a:xfrm>
                <a:off x="7096857" y="1323000"/>
                <a:ext cx="18000" cy="1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62" name="Rechteck 261">
                <a:extLst>
                  <a:ext uri="{FF2B5EF4-FFF2-40B4-BE49-F238E27FC236}">
                    <a16:creationId xmlns:a16="http://schemas.microsoft.com/office/drawing/2014/main" id="{EC83DA52-048C-420D-AE8D-E5F87B02C20B}"/>
                  </a:ext>
                </a:extLst>
              </p:cNvPr>
              <p:cNvSpPr/>
              <p:nvPr userDrawn="1"/>
            </p:nvSpPr>
            <p:spPr bwMode="gray">
              <a:xfrm>
                <a:off x="7600857" y="1323000"/>
                <a:ext cx="18000" cy="1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63" name="Rechteck 262">
                <a:extLst>
                  <a:ext uri="{FF2B5EF4-FFF2-40B4-BE49-F238E27FC236}">
                    <a16:creationId xmlns:a16="http://schemas.microsoft.com/office/drawing/2014/main" id="{1BC69C57-2B27-479D-8E6F-138A51E45F54}"/>
                  </a:ext>
                </a:extLst>
              </p:cNvPr>
              <p:cNvSpPr/>
              <p:nvPr userDrawn="1"/>
            </p:nvSpPr>
            <p:spPr bwMode="gray">
              <a:xfrm>
                <a:off x="8104857" y="1323000"/>
                <a:ext cx="18000" cy="1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64" name="Rechteck 263">
                <a:extLst>
                  <a:ext uri="{FF2B5EF4-FFF2-40B4-BE49-F238E27FC236}">
                    <a16:creationId xmlns:a16="http://schemas.microsoft.com/office/drawing/2014/main" id="{1353FC3C-02B3-4C27-BBAA-3DDC626FF9E6}"/>
                  </a:ext>
                </a:extLst>
              </p:cNvPr>
              <p:cNvSpPr/>
              <p:nvPr userDrawn="1"/>
            </p:nvSpPr>
            <p:spPr bwMode="gray">
              <a:xfrm>
                <a:off x="8608857" y="1323000"/>
                <a:ext cx="18000" cy="1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65" name="Rechteck 264">
                <a:extLst>
                  <a:ext uri="{FF2B5EF4-FFF2-40B4-BE49-F238E27FC236}">
                    <a16:creationId xmlns:a16="http://schemas.microsoft.com/office/drawing/2014/main" id="{55DD77C9-7BB7-48D2-8C1D-E1687FF7AE1C}"/>
                  </a:ext>
                </a:extLst>
              </p:cNvPr>
              <p:cNvSpPr/>
              <p:nvPr userDrawn="1"/>
            </p:nvSpPr>
            <p:spPr bwMode="gray">
              <a:xfrm>
                <a:off x="9112857" y="1323000"/>
                <a:ext cx="18000" cy="1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66" name="Rechteck 265">
                <a:extLst>
                  <a:ext uri="{FF2B5EF4-FFF2-40B4-BE49-F238E27FC236}">
                    <a16:creationId xmlns:a16="http://schemas.microsoft.com/office/drawing/2014/main" id="{06B7A303-57D6-49F2-AB99-228834623930}"/>
                  </a:ext>
                </a:extLst>
              </p:cNvPr>
              <p:cNvSpPr/>
              <p:nvPr userDrawn="1"/>
            </p:nvSpPr>
            <p:spPr bwMode="gray">
              <a:xfrm>
                <a:off x="9616857" y="1323000"/>
                <a:ext cx="18000" cy="1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67" name="Rechteck 266">
                <a:extLst>
                  <a:ext uri="{FF2B5EF4-FFF2-40B4-BE49-F238E27FC236}">
                    <a16:creationId xmlns:a16="http://schemas.microsoft.com/office/drawing/2014/main" id="{4BB1E831-352B-4C3B-B788-A9DB91AB349F}"/>
                  </a:ext>
                </a:extLst>
              </p:cNvPr>
              <p:cNvSpPr/>
              <p:nvPr userDrawn="1"/>
            </p:nvSpPr>
            <p:spPr bwMode="gray">
              <a:xfrm>
                <a:off x="10120857" y="1323000"/>
                <a:ext cx="18000" cy="1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68" name="Rechteck 267">
                <a:extLst>
                  <a:ext uri="{FF2B5EF4-FFF2-40B4-BE49-F238E27FC236}">
                    <a16:creationId xmlns:a16="http://schemas.microsoft.com/office/drawing/2014/main" id="{6FE09259-5FE3-4EC1-BF3B-6CF4FC6B83BC}"/>
                  </a:ext>
                </a:extLst>
              </p:cNvPr>
              <p:cNvSpPr/>
              <p:nvPr userDrawn="1"/>
            </p:nvSpPr>
            <p:spPr bwMode="gray">
              <a:xfrm>
                <a:off x="10624857" y="1323000"/>
                <a:ext cx="18000" cy="1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69" name="Rechteck 268">
                <a:extLst>
                  <a:ext uri="{FF2B5EF4-FFF2-40B4-BE49-F238E27FC236}">
                    <a16:creationId xmlns:a16="http://schemas.microsoft.com/office/drawing/2014/main" id="{079C25D3-DF90-4159-B7BE-A6A9928B2713}"/>
                  </a:ext>
                </a:extLst>
              </p:cNvPr>
              <p:cNvSpPr/>
              <p:nvPr userDrawn="1"/>
            </p:nvSpPr>
            <p:spPr bwMode="gray">
              <a:xfrm>
                <a:off x="11128857" y="1323000"/>
                <a:ext cx="18000" cy="1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  <p:sp>
            <p:nvSpPr>
              <p:cNvPr id="270" name="Rechteck 269">
                <a:extLst>
                  <a:ext uri="{FF2B5EF4-FFF2-40B4-BE49-F238E27FC236}">
                    <a16:creationId xmlns:a16="http://schemas.microsoft.com/office/drawing/2014/main" id="{896F4829-8CF0-4A74-AB59-1261287230B6}"/>
                  </a:ext>
                </a:extLst>
              </p:cNvPr>
              <p:cNvSpPr/>
              <p:nvPr userDrawn="1"/>
            </p:nvSpPr>
            <p:spPr bwMode="gray">
              <a:xfrm>
                <a:off x="11632857" y="1323000"/>
                <a:ext cx="18000" cy="1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>
                  <a:lnSpc>
                    <a:spcPct val="125000"/>
                  </a:lnSpc>
                </a:pPr>
                <a:endParaRPr lang="en-US" sz="1599"/>
              </a:p>
            </p:txBody>
          </p:sp>
        </p:grpSp>
      </p:grpSp>
      <p:sp>
        <p:nvSpPr>
          <p:cNvPr id="272" name="Number">
            <a:extLst>
              <a:ext uri="{FF2B5EF4-FFF2-40B4-BE49-F238E27FC236}">
                <a16:creationId xmlns:a16="http://schemas.microsoft.com/office/drawing/2014/main" id="{D5CB6551-380D-4369-9F74-701786508BD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057275" y="1845003"/>
            <a:ext cx="3022600" cy="3024188"/>
          </a:xfrm>
          <a:custGeom>
            <a:avLst/>
            <a:gdLst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517775 w 3022600"/>
              <a:gd name="connsiteY2" fmla="*/ 2520950 h 3024187"/>
              <a:gd name="connsiteX3" fmla="*/ 0 w 3022600"/>
              <a:gd name="connsiteY3" fmla="*/ 3024187 h 302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22600" h="3024187">
                <a:moveTo>
                  <a:pt x="0" y="0"/>
                </a:moveTo>
                <a:lnTo>
                  <a:pt x="3022600" y="0"/>
                </a:lnTo>
                <a:lnTo>
                  <a:pt x="2517775" y="2520950"/>
                </a:lnTo>
                <a:lnTo>
                  <a:pt x="0" y="3024187"/>
                </a:lnTo>
                <a:close/>
              </a:path>
            </a:pathLst>
          </a:custGeom>
          <a:solidFill>
            <a:srgbClr val="D2335F"/>
          </a:solidFill>
          <a:ln w="127">
            <a:solidFill>
              <a:srgbClr val="D2335F">
                <a:alpha val="0"/>
              </a:srgbClr>
            </a:solidFill>
          </a:ln>
        </p:spPr>
        <p:txBody>
          <a:bodyPr wrap="square" lIns="21600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898" b="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898" b="1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898" b="1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898" b="1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898" b="1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6898" b="1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6898" b="1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6898" b="1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6898" b="1">
                <a:solidFill>
                  <a:schemeClr val="tx1"/>
                </a:solidFill>
                <a:latin typeface="+mj-lt"/>
              </a:defRPr>
            </a:lvl9pPr>
          </a:lstStyle>
          <a:p>
            <a:r>
              <a:rPr lang="en-US"/>
              <a:t>00</a:t>
            </a:r>
          </a:p>
        </p:txBody>
      </p:sp>
      <p:sp>
        <p:nvSpPr>
          <p:cNvPr id="2" name="Title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4872001" y="1773001"/>
            <a:ext cx="5040000" cy="2087999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tIns="36000" rIns="216000">
            <a:noAutofit/>
          </a:bodyPr>
          <a:lstStyle>
            <a:lvl1pPr>
              <a:lnSpc>
                <a:spcPct val="90000"/>
              </a:lnSpc>
              <a:defRPr sz="3599">
                <a:solidFill>
                  <a:schemeClr val="tx1"/>
                </a:solidFill>
              </a:defRPr>
            </a:lvl1pPr>
          </a:lstStyle>
          <a:p>
            <a:r>
              <a:rPr lang="en-US"/>
              <a:t>Divider slide | Insert your headline in maximal 3 lines her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46297C-A90E-4725-9584-F26D2B59D3D8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4872000" y="3861002"/>
            <a:ext cx="5040000" cy="1007999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99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99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99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99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99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99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99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99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99" b="0">
                <a:latin typeface="+mn-lt"/>
              </a:defRPr>
            </a:lvl9pPr>
          </a:lstStyle>
          <a:p>
            <a:r>
              <a:rPr lang="en-US"/>
              <a:t>Insert here your subtitle</a:t>
            </a:r>
          </a:p>
        </p:txBody>
      </p:sp>
      <p:sp>
        <p:nvSpPr>
          <p:cNvPr id="271" name="Source">
            <a:extLst>
              <a:ext uri="{FF2B5EF4-FFF2-40B4-BE49-F238E27FC236}">
                <a16:creationId xmlns:a16="http://schemas.microsoft.com/office/drawing/2014/main" id="{52A2314A-6E57-4640-8D3E-9FB2DE55FD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064000" y="6525001"/>
            <a:ext cx="8568000" cy="144000"/>
          </a:xfrm>
        </p:spPr>
        <p:txBody>
          <a:bodyPr anchor="b"/>
          <a:lstStyle>
            <a:lvl1pPr marL="0" indent="0" algn="l">
              <a:spcBef>
                <a:spcPts val="0"/>
              </a:spcBef>
              <a:buNone/>
              <a:defRPr sz="8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buNone/>
              <a:defRPr sz="800">
                <a:solidFill>
                  <a:schemeClr val="tx1"/>
                </a:solidFill>
                <a:latin typeface="+mn-lt"/>
              </a:defRPr>
            </a:lvl2pPr>
            <a:lvl3pPr marL="0" indent="0" algn="l">
              <a:spcBef>
                <a:spcPts val="0"/>
              </a:spcBef>
              <a:buNone/>
              <a:defRPr sz="800">
                <a:solidFill>
                  <a:schemeClr val="tx1"/>
                </a:solidFill>
                <a:latin typeface="+mn-lt"/>
              </a:defRPr>
            </a:lvl3pPr>
            <a:lvl4pPr marL="0" indent="0" algn="l">
              <a:spcBef>
                <a:spcPts val="0"/>
              </a:spcBef>
              <a:buNone/>
              <a:defRPr sz="800">
                <a:solidFill>
                  <a:schemeClr val="tx1"/>
                </a:solidFill>
                <a:latin typeface="+mn-lt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0"/>
              </a:spcBef>
              <a:buNone/>
              <a:defRPr sz="800">
                <a:solidFill>
                  <a:schemeClr val="tx1"/>
                </a:solidFill>
                <a:latin typeface="+mn-lt"/>
              </a:defRPr>
            </a:lvl6pPr>
            <a:lvl7pPr marL="0" indent="0" algn="l">
              <a:spcBef>
                <a:spcPts val="0"/>
              </a:spcBef>
              <a:buNone/>
              <a:defRPr sz="800">
                <a:solidFill>
                  <a:schemeClr val="tx1"/>
                </a:solidFill>
                <a:latin typeface="+mn-lt"/>
              </a:defRPr>
            </a:lvl7pPr>
            <a:lvl8pPr marL="0" indent="0" algn="l">
              <a:spcBef>
                <a:spcPts val="0"/>
              </a:spcBef>
              <a:buNone/>
              <a:defRPr sz="800">
                <a:solidFill>
                  <a:schemeClr val="tx1"/>
                </a:solidFill>
                <a:latin typeface="+mn-lt"/>
              </a:defRPr>
            </a:lvl8pPr>
            <a:lvl9pPr marL="0" indent="0" algn="l">
              <a:spcBef>
                <a:spcPts val="0"/>
              </a:spcBef>
              <a:buNone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/>
              <a:t>Source, Footnot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F09F99A-FE6B-4953-6335-9889FCA4C001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r>
              <a:rPr lang="en-US"/>
              <a:t>6/28/2022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E9B606-131E-51A8-776E-07624758179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/>
          <a:p>
            <a:fld id="{5F3E29E4-0979-4FCA-B4C5-5FC6044C982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6454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5252816"/>
      </p:ext>
    </p:extLst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CT_Marker_ID_4" hidden="1"/>
          <p:cNvSpPr/>
          <p:nvPr>
            <p:custDataLst>
              <p:tags r:id="rId1"/>
            </p:custDataLst>
          </p:nvPr>
        </p:nvSpPr>
        <p:spPr bwMode="gray">
          <a:xfrm>
            <a:off x="1693334" y="126961"/>
            <a:ext cx="169333" cy="12696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de-DE" smtId="4294967295"/>
            </a:defPPr>
            <a:lvl1pPr marL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600" kern="1200" smtId="4294967295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600" kern="1200" smtId="4294967295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600" kern="1200" smtId="4294967295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600" kern="1200" smtId="4294967295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600" kern="1200" smtId="4294967295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 smtId="4294967295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 smtId="4294967295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 smtId="4294967295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</a:lstStyle>
          <a:p>
            <a:pPr>
              <a:buFont typeface="Arial" charset="0"/>
              <a:buNone/>
              <a:defRPr/>
            </a:pPr>
            <a:endParaRPr lang="de-DE" sz="2133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573505"/>
      </p:ext>
    </p:extLst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4258320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78385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big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" name="Picture">
            <a:extLst>
              <a:ext uri="{FF2B5EF4-FFF2-40B4-BE49-F238E27FC236}">
                <a16:creationId xmlns:a16="http://schemas.microsoft.com/office/drawing/2014/main" id="{7F971BB4-CECE-4C6B-9C8F-D4F40265C4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9BBA445-B1E4-2FDB-A199-21D492801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1425" y="1484785"/>
            <a:ext cx="4034431" cy="4608834"/>
          </a:xfrm>
          <a:custGeom>
            <a:avLst/>
            <a:gdLst>
              <a:gd name="connsiteX0" fmla="*/ 4029048 w 5051672"/>
              <a:gd name="connsiteY0" fmla="*/ 0 h 3547859"/>
              <a:gd name="connsiteX1" fmla="*/ 5051672 w 5051672"/>
              <a:gd name="connsiteY1" fmla="*/ 3547859 h 3547859"/>
              <a:gd name="connsiteX2" fmla="*/ 0 w 5051672"/>
              <a:gd name="connsiteY2" fmla="*/ 2520032 h 3547859"/>
              <a:gd name="connsiteX3" fmla="*/ 0 w 5051672"/>
              <a:gd name="connsiteY3" fmla="*/ 377 h 3547859"/>
              <a:gd name="connsiteX0" fmla="*/ 4029048 w 5075736"/>
              <a:gd name="connsiteY0" fmla="*/ 0 h 3229981"/>
              <a:gd name="connsiteX1" fmla="*/ 5075736 w 5075736"/>
              <a:gd name="connsiteY1" fmla="*/ 3229981 h 3229981"/>
              <a:gd name="connsiteX2" fmla="*/ 0 w 5075736"/>
              <a:gd name="connsiteY2" fmla="*/ 2520032 h 3229981"/>
              <a:gd name="connsiteX3" fmla="*/ 0 w 5075736"/>
              <a:gd name="connsiteY3" fmla="*/ 377 h 3229981"/>
              <a:gd name="connsiteX4" fmla="*/ 4029048 w 5075736"/>
              <a:gd name="connsiteY4" fmla="*/ 0 h 3229981"/>
              <a:gd name="connsiteX0" fmla="*/ 4029048 w 5051673"/>
              <a:gd name="connsiteY0" fmla="*/ 0 h 3229981"/>
              <a:gd name="connsiteX1" fmla="*/ 5051673 w 5051673"/>
              <a:gd name="connsiteY1" fmla="*/ 3229981 h 3229981"/>
              <a:gd name="connsiteX2" fmla="*/ 0 w 5051673"/>
              <a:gd name="connsiteY2" fmla="*/ 2520032 h 3229981"/>
              <a:gd name="connsiteX3" fmla="*/ 0 w 5051673"/>
              <a:gd name="connsiteY3" fmla="*/ 377 h 3229981"/>
              <a:gd name="connsiteX4" fmla="*/ 4029048 w 5051673"/>
              <a:gd name="connsiteY4" fmla="*/ 0 h 3229981"/>
              <a:gd name="connsiteX0" fmla="*/ 4029048 w 5042148"/>
              <a:gd name="connsiteY0" fmla="*/ 0 h 3243584"/>
              <a:gd name="connsiteX1" fmla="*/ 5042148 w 5042148"/>
              <a:gd name="connsiteY1" fmla="*/ 3243584 h 3243584"/>
              <a:gd name="connsiteX2" fmla="*/ 0 w 5042148"/>
              <a:gd name="connsiteY2" fmla="*/ 2520032 h 3243584"/>
              <a:gd name="connsiteX3" fmla="*/ 0 w 5042148"/>
              <a:gd name="connsiteY3" fmla="*/ 377 h 3243584"/>
              <a:gd name="connsiteX4" fmla="*/ 4029048 w 5042148"/>
              <a:gd name="connsiteY4" fmla="*/ 0 h 3243584"/>
              <a:gd name="connsiteX0" fmla="*/ 4029048 w 5207881"/>
              <a:gd name="connsiteY0" fmla="*/ 0 h 3252176"/>
              <a:gd name="connsiteX1" fmla="*/ 5207881 w 5207881"/>
              <a:gd name="connsiteY1" fmla="*/ 3252176 h 3252176"/>
              <a:gd name="connsiteX2" fmla="*/ 0 w 5207881"/>
              <a:gd name="connsiteY2" fmla="*/ 2520032 h 3252176"/>
              <a:gd name="connsiteX3" fmla="*/ 0 w 5207881"/>
              <a:gd name="connsiteY3" fmla="*/ 377 h 3252176"/>
              <a:gd name="connsiteX4" fmla="*/ 4029048 w 5207881"/>
              <a:gd name="connsiteY4" fmla="*/ 0 h 3252176"/>
              <a:gd name="connsiteX0" fmla="*/ 4029048 w 5202414"/>
              <a:gd name="connsiteY0" fmla="*/ 0 h 3241974"/>
              <a:gd name="connsiteX1" fmla="*/ 5202414 w 5202414"/>
              <a:gd name="connsiteY1" fmla="*/ 3241974 h 3241974"/>
              <a:gd name="connsiteX2" fmla="*/ 0 w 5202414"/>
              <a:gd name="connsiteY2" fmla="*/ 2520032 h 3241974"/>
              <a:gd name="connsiteX3" fmla="*/ 0 w 5202414"/>
              <a:gd name="connsiteY3" fmla="*/ 377 h 3241974"/>
              <a:gd name="connsiteX4" fmla="*/ 4029048 w 5202414"/>
              <a:gd name="connsiteY4" fmla="*/ 0 h 3241974"/>
              <a:gd name="connsiteX0" fmla="*/ 4029048 w 4649333"/>
              <a:gd name="connsiteY0" fmla="*/ 0 h 3353258"/>
              <a:gd name="connsiteX1" fmla="*/ 4649333 w 4649333"/>
              <a:gd name="connsiteY1" fmla="*/ 3353258 h 3353258"/>
              <a:gd name="connsiteX2" fmla="*/ 0 w 4649333"/>
              <a:gd name="connsiteY2" fmla="*/ 2520032 h 3353258"/>
              <a:gd name="connsiteX3" fmla="*/ 0 w 4649333"/>
              <a:gd name="connsiteY3" fmla="*/ 377 h 3353258"/>
              <a:gd name="connsiteX4" fmla="*/ 4029048 w 4649333"/>
              <a:gd name="connsiteY4" fmla="*/ 0 h 3353258"/>
              <a:gd name="connsiteX0" fmla="*/ 4029048 w 4685283"/>
              <a:gd name="connsiteY0" fmla="*/ 0 h 3365430"/>
              <a:gd name="connsiteX1" fmla="*/ 4685283 w 4685283"/>
              <a:gd name="connsiteY1" fmla="*/ 3365430 h 3365430"/>
              <a:gd name="connsiteX2" fmla="*/ 0 w 4685283"/>
              <a:gd name="connsiteY2" fmla="*/ 2520032 h 3365430"/>
              <a:gd name="connsiteX3" fmla="*/ 0 w 4685283"/>
              <a:gd name="connsiteY3" fmla="*/ 377 h 3365430"/>
              <a:gd name="connsiteX4" fmla="*/ 4029048 w 4685283"/>
              <a:gd name="connsiteY4" fmla="*/ 0 h 3365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85283" h="3365430">
                <a:moveTo>
                  <a:pt x="4029048" y="0"/>
                </a:moveTo>
                <a:lnTo>
                  <a:pt x="4685283" y="3365430"/>
                </a:lnTo>
                <a:lnTo>
                  <a:pt x="0" y="2520032"/>
                </a:lnTo>
                <a:lnTo>
                  <a:pt x="0" y="377"/>
                </a:lnTo>
                <a:lnTo>
                  <a:pt x="4029048" y="0"/>
                </a:lnTo>
                <a:close/>
              </a:path>
            </a:pathLst>
          </a:cu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324000" tIns="252000" rIns="1152000">
            <a:noAutofit/>
          </a:bodyPr>
          <a:lstStyle>
            <a:lvl1pPr marL="0" indent="0"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your title of presentation here in max. three lines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7A5D256E-7435-F747-CC3F-2763FDAE96A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911424" y="2996950"/>
            <a:ext cx="3527673" cy="1008112"/>
          </a:xfrm>
          <a:prstGeom prst="rect">
            <a:avLst/>
          </a:prstGeom>
          <a:noFill/>
          <a:ln w="127">
            <a:noFill/>
          </a:ln>
        </p:spPr>
        <p:txBody>
          <a:bodyPr lIns="32400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9" name="Author">
            <a:extLst>
              <a:ext uri="{FF2B5EF4-FFF2-40B4-BE49-F238E27FC236}">
                <a16:creationId xmlns:a16="http://schemas.microsoft.com/office/drawing/2014/main" id="{85B963E8-CCBF-3EF6-A8A8-C8FDAE42B7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911424" y="4005062"/>
            <a:ext cx="3527673" cy="216000"/>
          </a:xfrm>
          <a:prstGeom prst="rect">
            <a:avLst/>
          </a:prstGeom>
          <a:noFill/>
          <a:ln w="127">
            <a:noFill/>
          </a:ln>
        </p:spPr>
        <p:txBody>
          <a:bodyPr wrap="square" lIns="324000" rIns="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GB"/>
              <a:t>First name Last name</a:t>
            </a:r>
          </a:p>
        </p:txBody>
      </p:sp>
      <p:sp>
        <p:nvSpPr>
          <p:cNvPr id="10" name="Department, Date">
            <a:extLst>
              <a:ext uri="{FF2B5EF4-FFF2-40B4-BE49-F238E27FC236}">
                <a16:creationId xmlns:a16="http://schemas.microsoft.com/office/drawing/2014/main" id="{8CEDCCFD-E94C-4A79-BAC4-51ECBFC54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11424" y="4221062"/>
            <a:ext cx="3527673" cy="431695"/>
          </a:xfrm>
          <a:prstGeom prst="rect">
            <a:avLst/>
          </a:prstGeom>
          <a:noFill/>
          <a:ln w="127">
            <a:noFill/>
          </a:ln>
        </p:spPr>
        <p:txBody>
          <a:bodyPr wrap="square" lIns="324000" r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Department</a:t>
            </a:r>
            <a:br>
              <a:rPr lang="en-GB"/>
            </a:br>
            <a:r>
              <a:rPr lang="en-GB"/>
              <a:t>DD/MM/YYYY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143BF5AB-3E15-74D3-3996-A8EFC1BF2E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28448" y="335757"/>
            <a:ext cx="1365736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45030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STER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1"/>
          <p:cNvSpPr/>
          <p:nvPr/>
        </p:nvSpPr>
        <p:spPr>
          <a:xfrm>
            <a:off x="10789920" y="6528816"/>
            <a:ext cx="493776" cy="146304"/>
          </a:xfrm>
          <a:prstGeom prst="rect">
            <a:avLst/>
          </a:prstGeom>
          <a:noFill/>
          <a:ln/>
        </p:spPr>
        <p:txBody>
          <a:bodyPr wrap="square" lIns="0" tIns="0" rIns="0" bIns="0" rtlCol="0" anchor="b"/>
          <a:lstStyle/>
          <a:p>
            <a:pPr algn="r"/>
            <a:r>
              <a:rPr lang="en-US" sz="900">
                <a:solidFill>
                  <a:srgbClr val="414752"/>
                </a:solidFill>
                <a:latin typeface="Lato" pitchFamily="34" charset="0"/>
                <a:ea typeface="Lato" pitchFamily="34" charset="-122"/>
                <a:cs typeface="Lato" pitchFamily="34" charset="-120"/>
              </a:rPr>
              <a:t>© GfK</a:t>
            </a:r>
            <a:endParaRPr lang="en-US" sz="900"/>
          </a:p>
        </p:txBody>
      </p:sp>
      <p:sp>
        <p:nvSpPr>
          <p:cNvPr id="3" name="Object2"/>
          <p:cNvSpPr/>
          <p:nvPr/>
        </p:nvSpPr>
        <p:spPr>
          <a:xfrm>
            <a:off x="329184" y="6528816"/>
            <a:ext cx="1097280" cy="146304"/>
          </a:xfrm>
          <a:prstGeom prst="rect">
            <a:avLst/>
          </a:prstGeom>
          <a:noFill/>
          <a:ln/>
        </p:spPr>
        <p:txBody>
          <a:bodyPr wrap="square" lIns="0" tIns="0" rIns="0" bIns="0" rtlCol="0" anchor="b"/>
          <a:lstStyle/>
          <a:p>
            <a:pPr algn="l"/>
            <a:r>
              <a:rPr lang="en-US" sz="900">
                <a:solidFill>
                  <a:srgbClr val="414752"/>
                </a:solidFill>
                <a:latin typeface="Lato" pitchFamily="34" charset="0"/>
                <a:ea typeface="Lato" pitchFamily="34" charset="-122"/>
                <a:cs typeface="Lato" pitchFamily="34" charset="-120"/>
              </a:rPr>
              <a:t>11-Jan-24</a:t>
            </a:r>
            <a:endParaRPr lang="en-US" sz="900"/>
          </a:p>
        </p:txBody>
      </p:sp>
      <p:pic>
        <p:nvPicPr>
          <p:cNvPr id="4" name="Object 3" descr="/app/powerpoint/template/pptx_newron_logo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5440" y="393192"/>
            <a:ext cx="2011680" cy="475488"/>
          </a:xfrm>
          <a:prstGeom prst="rect">
            <a:avLst/>
          </a:prstGeom>
        </p:spPr>
      </p:pic>
      <p:pic>
        <p:nvPicPr>
          <p:cNvPr id="5" name="Object 4" descr="/app/powerpoint/template/gfk_logo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74552" y="329184"/>
            <a:ext cx="576072" cy="576072"/>
          </a:xfrm>
          <a:prstGeom prst="rect">
            <a:avLst/>
          </a:prstGeom>
        </p:spPr>
      </p:pic>
      <p:sp>
        <p:nvSpPr>
          <p:cNvPr id="6" name="Object5"/>
          <p:cNvSpPr>
            <a:spLocks noGrp="1"/>
          </p:cNvSpPr>
          <p:nvPr>
            <p:ph type="title" idx="104" hasCustomPrompt="1"/>
          </p:nvPr>
        </p:nvSpPr>
        <p:spPr>
          <a:xfrm>
            <a:off x="338328" y="256032"/>
            <a:ext cx="8641080" cy="365760"/>
          </a:xfrm>
          <a:prstGeom prst="rect">
            <a:avLst/>
          </a:prstGeom>
          <a:noFill/>
          <a:ln/>
        </p:spPr>
        <p:txBody>
          <a:bodyPr wrap="square" rtlCol="0"/>
          <a:lstStyle>
            <a:lvl1pPr marL="0" indent="0" algn="l">
              <a:buNone/>
              <a:defRPr lang="en-US" sz="2400" dirty="0">
                <a:solidFill>
                  <a:srgbClr val="414752"/>
                </a:solidFill>
                <a:latin typeface="Lato Heavy" pitchFamily="34" charset="0"/>
                <a:ea typeface="Lato Heavy" pitchFamily="34" charset="-122"/>
                <a:cs typeface="Lato Heavy" pitchFamily="34" charset="-120"/>
              </a:defRPr>
            </a:lvl1pPr>
          </a:lstStyle>
          <a:p>
            <a:pPr marL="0" indent="0" algn="l">
              <a:buNone/>
            </a:pPr>
            <a:r>
              <a:rPr lang="en-US" sz="2400">
                <a:solidFill>
                  <a:srgbClr val="414752"/>
                </a:solidFill>
                <a:latin typeface="Lato Heavy" pitchFamily="34" charset="0"/>
                <a:ea typeface="Lato Heavy" pitchFamily="34" charset="-122"/>
                <a:cs typeface="Lato Heavy" pitchFamily="34" charset="-120"/>
              </a:rPr>
              <a:t>Title of the chart</a:t>
            </a:r>
            <a:endParaRPr lang="en-US" sz="2400"/>
          </a:p>
        </p:txBody>
      </p:sp>
      <p:sp>
        <p:nvSpPr>
          <p:cNvPr id="7" name="Object6"/>
          <p:cNvSpPr>
            <a:spLocks noGrp="1"/>
          </p:cNvSpPr>
          <p:nvPr>
            <p:ph type="body" idx="105" hasCustomPrompt="1"/>
          </p:nvPr>
        </p:nvSpPr>
        <p:spPr>
          <a:xfrm>
            <a:off x="338328" y="658368"/>
            <a:ext cx="8641080" cy="356616"/>
          </a:xfrm>
          <a:prstGeom prst="rect">
            <a:avLst/>
          </a:prstGeom>
          <a:noFill/>
          <a:ln/>
        </p:spPr>
        <p:txBody>
          <a:bodyPr wrap="square" rtlCol="0"/>
          <a:lstStyle>
            <a:lvl1pPr marL="0" indent="0" algn="l">
              <a:buNone/>
              <a:defRPr lang="en-US" sz="2000" dirty="0">
                <a:solidFill>
                  <a:srgbClr val="414752"/>
                </a:solidFill>
                <a:latin typeface="Lato Light" pitchFamily="34" charset="0"/>
                <a:ea typeface="Lato Light" pitchFamily="34" charset="-122"/>
                <a:cs typeface="Lato Light" pitchFamily="34" charset="-120"/>
              </a:defRPr>
            </a:lvl1pPr>
          </a:lstStyle>
          <a:p>
            <a:pPr marL="0" indent="0" algn="l">
              <a:buNone/>
            </a:pPr>
            <a:r>
              <a:rPr lang="en-US" sz="2000">
                <a:solidFill>
                  <a:srgbClr val="414752"/>
                </a:solidFill>
                <a:latin typeface="Lato Light" pitchFamily="34" charset="0"/>
                <a:ea typeface="Lato Light" pitchFamily="34" charset="-122"/>
                <a:cs typeface="Lato Light" pitchFamily="34" charset="-120"/>
              </a:rPr>
              <a:t>Subtitle</a:t>
            </a:r>
            <a:endParaRPr lang="en-US" sz="2000"/>
          </a:p>
        </p:txBody>
      </p:sp>
      <p:sp>
        <p:nvSpPr>
          <p:cNvPr id="8" name="Object7"/>
          <p:cNvSpPr>
            <a:spLocks noGrp="1"/>
          </p:cNvSpPr>
          <p:nvPr>
            <p:ph type="body" idx="106" hasCustomPrompt="1"/>
          </p:nvPr>
        </p:nvSpPr>
        <p:spPr>
          <a:xfrm>
            <a:off x="1161288" y="6528816"/>
            <a:ext cx="7955280" cy="146304"/>
          </a:xfrm>
          <a:prstGeom prst="rect">
            <a:avLst/>
          </a:prstGeom>
          <a:noFill/>
          <a:ln/>
        </p:spPr>
        <p:txBody>
          <a:bodyPr wrap="square" rtlCol="0"/>
          <a:lstStyle>
            <a:lvl1pPr marL="0" indent="0" algn="l">
              <a:buNone/>
              <a:defRPr lang="en-US" sz="900" dirty="0">
                <a:solidFill>
                  <a:srgbClr val="414752"/>
                </a:solidFill>
                <a:latin typeface="Lato" pitchFamily="34" charset="0"/>
                <a:ea typeface="Lato" pitchFamily="34" charset="-122"/>
                <a:cs typeface="Lato" pitchFamily="34" charset="-120"/>
              </a:defRPr>
            </a:lvl1pPr>
          </a:lstStyle>
          <a:p>
            <a:pPr marL="0" indent="0" algn="l">
              <a:buNone/>
            </a:pPr>
            <a:r>
              <a:rPr lang="en-US" sz="900">
                <a:solidFill>
                  <a:srgbClr val="414752"/>
                </a:solidFill>
                <a:latin typeface="Lato" pitchFamily="34" charset="0"/>
                <a:ea typeface="Lato" pitchFamily="34" charset="-122"/>
                <a:cs typeface="Lato" pitchFamily="34" charset="-120"/>
              </a:rPr>
              <a:t>Source, Footnote</a:t>
            </a:r>
            <a:endParaRPr lang="en-US" sz="900"/>
          </a:p>
        </p:txBody>
      </p:sp>
      <p:sp>
        <p:nvSpPr>
          <p:cNvPr id="9" name="Object8"/>
          <p:cNvSpPr>
            <a:spLocks noGrp="1"/>
          </p:cNvSpPr>
          <p:nvPr>
            <p:ph type="body" idx="107" hasCustomPrompt="1"/>
          </p:nvPr>
        </p:nvSpPr>
        <p:spPr>
          <a:xfrm>
            <a:off x="1161288" y="6108192"/>
            <a:ext cx="7955280" cy="338328"/>
          </a:xfrm>
          <a:prstGeom prst="rect">
            <a:avLst/>
          </a:prstGeom>
          <a:noFill/>
          <a:ln/>
        </p:spPr>
        <p:txBody>
          <a:bodyPr wrap="square" rtlCol="0"/>
          <a:lstStyle>
            <a:lvl1pPr marL="0" indent="0" algn="l">
              <a:buNone/>
              <a:defRPr lang="en-US" sz="900" dirty="0">
                <a:solidFill>
                  <a:srgbClr val="414752"/>
                </a:solidFill>
                <a:latin typeface="Lato" pitchFamily="34" charset="0"/>
                <a:ea typeface="Lato" pitchFamily="34" charset="-122"/>
                <a:cs typeface="Lato" pitchFamily="34" charset="-120"/>
              </a:defRPr>
            </a:lvl1pPr>
          </a:lstStyle>
          <a:p>
            <a:pPr marL="0" indent="0" algn="l">
              <a:buNone/>
            </a:pPr>
            <a:r>
              <a:rPr lang="en-US" sz="900">
                <a:solidFill>
                  <a:srgbClr val="414752"/>
                </a:solidFill>
                <a:latin typeface="Lato" pitchFamily="34" charset="0"/>
                <a:ea typeface="Lato" pitchFamily="34" charset="-122"/>
                <a:cs typeface="Lato" pitchFamily="34" charset="-120"/>
              </a:rPr>
              <a:t>Context</a:t>
            </a:r>
            <a:endParaRPr lang="en-US" sz="900"/>
          </a:p>
        </p:txBody>
      </p:sp>
      <p:sp>
        <p:nvSpPr>
          <p:cNvPr id="25" name="Slide Number Placeholder 24"/>
          <p:cNvSpPr>
            <a:spLocks noGrp="1"/>
          </p:cNvSpPr>
          <p:nvPr>
            <p:ph type="sldNum" sz="quarter" idx="4294967295"/>
          </p:nvPr>
        </p:nvSpPr>
        <p:spPr>
          <a:xfrm>
            <a:off x="11356848" y="6528816"/>
            <a:ext cx="493776" cy="146304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0"/>
            </a:ext>
          </a:extLst>
        </p:spPr>
        <p:txBody>
          <a:bodyPr lIns="0" tIns="0" rIns="0" bIns="0"/>
          <a:lstStyle>
            <a:lvl1pPr>
              <a:defRPr sz="900">
                <a:solidFill>
                  <a:srgbClr val="414752"/>
                </a:solidFill>
                <a:latin typeface="Lato"/>
                <a:ea typeface="Lato"/>
                <a:cs typeface="Lato"/>
              </a:defRPr>
            </a:lvl1pPr>
          </a:lstStyle>
          <a:p>
            <a:pPr algn="r"/>
            <a:fld id="{F7021451-1387-4CA6-816F-3879F97B5CBC}" type="slidenum">
              <a:rPr lang="en-US"/>
              <a:pPr algn="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945949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399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399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399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399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399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399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399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399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399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371" y="6404736"/>
            <a:ext cx="11328400" cy="192617"/>
          </a:xfrm>
        </p:spPr>
        <p:txBody>
          <a:bodyPr tIns="0" bIns="36000" anchor="b" anchorCtr="0">
            <a:noAutofit/>
          </a:bodyPr>
          <a:lstStyle>
            <a:lvl1pPr marL="0" marR="0" indent="0" algn="l" defTabSz="1218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6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6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6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6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6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6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6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6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6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</a:p>
        </p:txBody>
      </p:sp>
    </p:spTree>
    <p:extLst>
      <p:ext uri="{BB962C8B-B14F-4D97-AF65-F5344CB8AC3E}">
        <p14:creationId xmlns:p14="http://schemas.microsoft.com/office/powerpoint/2010/main" val="266530179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tatic Light Bkgd">
            <a:extLst>
              <a:ext uri="{FF2B5EF4-FFF2-40B4-BE49-F238E27FC236}">
                <a16:creationId xmlns:a16="http://schemas.microsoft.com/office/drawing/2014/main" id="{C4626CD7-1C0C-6928-FA7F-84C22CDFEB5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9" name="Horizontal Rule">
            <a:extLst>
              <a:ext uri="{FF2B5EF4-FFF2-40B4-BE49-F238E27FC236}">
                <a16:creationId xmlns:a16="http://schemas.microsoft.com/office/drawing/2014/main" id="{429C2072-EE2B-A064-5CA2-6097546F935A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292100" y="1364752"/>
            <a:ext cx="11607800" cy="0"/>
          </a:xfrm>
          <a:prstGeom prst="line">
            <a:avLst/>
          </a:prstGeom>
          <a:ln w="12700">
            <a:solidFill>
              <a:srgbClr val="5555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fidential disclaimer">
            <a:extLst>
              <a:ext uri="{FF2B5EF4-FFF2-40B4-BE49-F238E27FC236}">
                <a16:creationId xmlns:a16="http://schemas.microsoft.com/office/drawing/2014/main" id="{BB35ED0A-9206-82C6-8F45-ACF38F7B1A6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798636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15" name="Copyright Line">
            <a:extLst>
              <a:ext uri="{FF2B5EF4-FFF2-40B4-BE49-F238E27FC236}">
                <a16:creationId xmlns:a16="http://schemas.microsoft.com/office/drawing/2014/main" id="{D439B148-E719-27C3-3403-978BEDC13EC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88558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36" name="Footer Placeholder">
            <a:extLst>
              <a:ext uri="{FF2B5EF4-FFF2-40B4-BE49-F238E27FC236}">
                <a16:creationId xmlns:a16="http://schemas.microsoft.com/office/drawing/2014/main" id="{7A2163E9-256E-9B73-6413-FAB496F455C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3"/>
          </p:nvPr>
        </p:nvSpPr>
        <p:spPr>
          <a:xfrm>
            <a:off x="3251200" y="6485399"/>
            <a:ext cx="3716336" cy="282957"/>
          </a:xfrm>
          <a:noFill/>
        </p:spPr>
        <p:txBody>
          <a:bodyPr/>
          <a:lstStyle>
            <a:lvl1pPr algn="l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34C6756D-B2C7-2A2B-E9A7-BB5F5972C73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2"/>
          </p:nvPr>
        </p:nvSpPr>
        <p:spPr>
          <a:xfrm>
            <a:off x="292100" y="6073688"/>
            <a:ext cx="1744664" cy="282957"/>
          </a:xfrm>
        </p:spPr>
        <p:txBody>
          <a:bodyPr/>
          <a:lstStyle>
            <a:lvl1pPr>
              <a:defRPr sz="1200">
                <a:solidFill>
                  <a:srgbClr val="555555"/>
                </a:solidFill>
              </a:defRPr>
            </a:lvl1pPr>
          </a:lstStyle>
          <a:p>
            <a:fld id="{B6481281-E9D1-47F7-BA91-39AA71050F8A}" type="datetime1">
              <a:rPr lang="en-GB" smtClean="0"/>
              <a:t>12/02/2026</a:t>
            </a:fld>
            <a:endParaRPr lang="en-GB"/>
          </a:p>
        </p:txBody>
      </p:sp>
      <p:sp>
        <p:nvSpPr>
          <p:cNvPr id="19" name="Title/Dept Placeholder">
            <a:extLst>
              <a:ext uri="{FF2B5EF4-FFF2-40B4-BE49-F238E27FC236}">
                <a16:creationId xmlns:a16="http://schemas.microsoft.com/office/drawing/2014/main" id="{6942A971-1821-DF95-6B7B-A7991E06FA8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 hasCustomPrompt="1"/>
          </p:nvPr>
        </p:nvSpPr>
        <p:spPr>
          <a:xfrm>
            <a:off x="292100" y="5562225"/>
            <a:ext cx="8625842" cy="344385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rgbClr val="555555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Department</a:t>
            </a:r>
          </a:p>
        </p:txBody>
      </p:sp>
      <p:sp>
        <p:nvSpPr>
          <p:cNvPr id="18" name="Presenter Name Placeholder">
            <a:extLst>
              <a:ext uri="{FF2B5EF4-FFF2-40B4-BE49-F238E27FC236}">
                <a16:creationId xmlns:a16="http://schemas.microsoft.com/office/drawing/2014/main" id="{4D8E56BE-097F-EB4E-3287-BD1DCBFF488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292100" y="5194091"/>
            <a:ext cx="8625841" cy="344384"/>
          </a:xfrm>
        </p:spPr>
        <p:txBody>
          <a:bodyPr t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rgbClr val="555555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D952C9CE-AA03-A24B-BBD9-8EA2482DC59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292100" y="4151030"/>
            <a:ext cx="8625840" cy="83788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55555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5F151AF7-737A-1648-9BC4-B9D881179FB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292100" y="1671355"/>
            <a:ext cx="8625840" cy="23876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5400">
                <a:solidFill>
                  <a:srgbClr val="555555"/>
                </a:solidFill>
              </a:defRPr>
            </a:lvl1pPr>
          </a:lstStyle>
          <a:p>
            <a:r>
              <a:rPr lang="en-US"/>
              <a:t>Insert your presentation title here maximum of three lines</a:t>
            </a:r>
          </a:p>
        </p:txBody>
      </p:sp>
      <p:pic>
        <p:nvPicPr>
          <p:cNvPr id="11" name="NielsenIQ GFK lockup">
            <a:extLst>
              <a:ext uri="{FF2B5EF4-FFF2-40B4-BE49-F238E27FC236}">
                <a16:creationId xmlns:a16="http://schemas.microsoft.com/office/drawing/2014/main" id="{7D277D99-518B-9609-51D0-587AB5DBF23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6122" y="321743"/>
            <a:ext cx="3377876" cy="753596"/>
          </a:xfrm>
          <a:prstGeom prst="rect">
            <a:avLst/>
          </a:prstGeom>
        </p:spPr>
      </p:pic>
      <p:pic>
        <p:nvPicPr>
          <p:cNvPr id="5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9851AB56-8AE6-EEF1-0330-E0C0C6360BE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558" y="305205"/>
            <a:ext cx="2211998" cy="763139"/>
          </a:xfrm>
          <a:prstGeom prst="rect">
            <a:avLst/>
          </a:prstGeom>
        </p:spPr>
      </p:pic>
      <p:sp>
        <p:nvSpPr>
          <p:cNvPr id="4" name="Nielsen wordmark" hidden="1">
            <a:extLst>
              <a:ext uri="{FF2B5EF4-FFF2-40B4-BE49-F238E27FC236}">
                <a16:creationId xmlns:a16="http://schemas.microsoft.com/office/drawing/2014/main" id="{114DF69D-7EB6-203C-43F0-B2D46A94C48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295274" y="443155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accent1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102194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tatic Dark Bkgd">
            <a:extLst>
              <a:ext uri="{FF2B5EF4-FFF2-40B4-BE49-F238E27FC236}">
                <a16:creationId xmlns:a16="http://schemas.microsoft.com/office/drawing/2014/main" id="{C44FA2BA-550D-EDA0-ABAB-D662C16F137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9" name="Horizontal Rule">
            <a:extLst>
              <a:ext uri="{FF2B5EF4-FFF2-40B4-BE49-F238E27FC236}">
                <a16:creationId xmlns:a16="http://schemas.microsoft.com/office/drawing/2014/main" id="{429C2072-EE2B-A064-5CA2-6097546F935A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292100" y="1364752"/>
            <a:ext cx="11607800" cy="0"/>
          </a:xfrm>
          <a:prstGeom prst="line">
            <a:avLst/>
          </a:prstGeom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fidential disclaimer">
            <a:extLst>
              <a:ext uri="{FF2B5EF4-FFF2-40B4-BE49-F238E27FC236}">
                <a16:creationId xmlns:a16="http://schemas.microsoft.com/office/drawing/2014/main" id="{0CFED10E-E876-D584-0DE6-56605800FA6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798636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15" name="Copyright Line">
            <a:extLst>
              <a:ext uri="{FF2B5EF4-FFF2-40B4-BE49-F238E27FC236}">
                <a16:creationId xmlns:a16="http://schemas.microsoft.com/office/drawing/2014/main" id="{D439B148-E719-27C3-3403-978BEDC13EC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88558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10" name="Footer Placeholder">
            <a:extLst>
              <a:ext uri="{FF2B5EF4-FFF2-40B4-BE49-F238E27FC236}">
                <a16:creationId xmlns:a16="http://schemas.microsoft.com/office/drawing/2014/main" id="{671A6FA9-FE3E-4211-C84B-88F574FE85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3"/>
          </p:nvPr>
        </p:nvSpPr>
        <p:spPr>
          <a:xfrm>
            <a:off x="3251200" y="6485399"/>
            <a:ext cx="3716336" cy="282957"/>
          </a:xfrm>
          <a:noFill/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34C6756D-B2C7-2A2B-E9A7-BB5F5972C73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2"/>
          </p:nvPr>
        </p:nvSpPr>
        <p:spPr>
          <a:xfrm>
            <a:off x="292100" y="6073688"/>
            <a:ext cx="1744664" cy="282957"/>
          </a:xfrm>
        </p:spPr>
        <p:txBody>
          <a:bodyPr/>
          <a:lstStyle>
            <a:lvl1pPr>
              <a:defRPr sz="1200">
                <a:solidFill>
                  <a:srgbClr val="FFFFFF"/>
                </a:solidFill>
              </a:defRPr>
            </a:lvl1pPr>
          </a:lstStyle>
          <a:p>
            <a:fld id="{6939B06F-C1B3-44B6-B618-A1DBE0D9FD92}" type="datetime1">
              <a:rPr lang="en-GB" smtClean="0"/>
              <a:t>12/02/2026</a:t>
            </a:fld>
            <a:endParaRPr lang="en-GB"/>
          </a:p>
        </p:txBody>
      </p:sp>
      <p:sp>
        <p:nvSpPr>
          <p:cNvPr id="19" name="Title/Dept Placeholder">
            <a:extLst>
              <a:ext uri="{FF2B5EF4-FFF2-40B4-BE49-F238E27FC236}">
                <a16:creationId xmlns:a16="http://schemas.microsoft.com/office/drawing/2014/main" id="{6942A971-1821-DF95-6B7B-A7991E06FA8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 hasCustomPrompt="1"/>
          </p:nvPr>
        </p:nvSpPr>
        <p:spPr>
          <a:xfrm>
            <a:off x="292100" y="5562225"/>
            <a:ext cx="8625842" cy="344385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Department</a:t>
            </a:r>
          </a:p>
        </p:txBody>
      </p:sp>
      <p:sp>
        <p:nvSpPr>
          <p:cNvPr id="18" name="Presenter Name Placeholder">
            <a:extLst>
              <a:ext uri="{FF2B5EF4-FFF2-40B4-BE49-F238E27FC236}">
                <a16:creationId xmlns:a16="http://schemas.microsoft.com/office/drawing/2014/main" id="{4D8E56BE-097F-EB4E-3287-BD1DCBFF488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292100" y="5194091"/>
            <a:ext cx="8625841" cy="344384"/>
          </a:xfrm>
        </p:spPr>
        <p:txBody>
          <a:bodyPr t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D952C9CE-AA03-A24B-BBD9-8EA2482DC59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292100" y="4151030"/>
            <a:ext cx="8625840" cy="83788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5F151AF7-737A-1648-9BC4-B9D881179FB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292100" y="1671355"/>
            <a:ext cx="8625840" cy="23876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5400">
                <a:solidFill>
                  <a:srgbClr val="FFFFFF"/>
                </a:solidFill>
              </a:defRPr>
            </a:lvl1pPr>
          </a:lstStyle>
          <a:p>
            <a:r>
              <a:rPr lang="en-US"/>
              <a:t>Insert your presentation title here maximum of three lines</a:t>
            </a:r>
          </a:p>
        </p:txBody>
      </p:sp>
      <p:pic>
        <p:nvPicPr>
          <p:cNvPr id="11" name="NielsenIQ GFK lockup">
            <a:extLst>
              <a:ext uri="{FF2B5EF4-FFF2-40B4-BE49-F238E27FC236}">
                <a16:creationId xmlns:a16="http://schemas.microsoft.com/office/drawing/2014/main" id="{F5A22785-6BE6-D1CC-4D14-4C9F4152DA6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86122" y="321743"/>
            <a:ext cx="3377876" cy="753596"/>
          </a:xfrm>
          <a:prstGeom prst="rect">
            <a:avLst/>
          </a:prstGeom>
        </p:spPr>
      </p:pic>
      <p:pic>
        <p:nvPicPr>
          <p:cNvPr id="12" name="NielsenIQ logo+wordmark" hidden="1">
            <a:extLst>
              <a:ext uri="{FF2B5EF4-FFF2-40B4-BE49-F238E27FC236}">
                <a16:creationId xmlns:a16="http://schemas.microsoft.com/office/drawing/2014/main" id="{8189DD20-160D-9FA4-6050-54CA59644796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" r="59"/>
          <a:stretch/>
        </p:blipFill>
        <p:spPr>
          <a:xfrm>
            <a:off x="288558" y="305205"/>
            <a:ext cx="2211753" cy="763139"/>
          </a:xfrm>
          <a:prstGeom prst="rect">
            <a:avLst/>
          </a:prstGeom>
        </p:spPr>
      </p:pic>
      <p:sp>
        <p:nvSpPr>
          <p:cNvPr id="23" name="Nielsen wordmark" hidden="1">
            <a:extLst>
              <a:ext uri="{FF2B5EF4-FFF2-40B4-BE49-F238E27FC236}">
                <a16:creationId xmlns:a16="http://schemas.microsoft.com/office/drawing/2014/main" id="{A534929D-2AB3-3703-CE21-C24AAF5B90D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95274" y="443155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tx2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262409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tatic Dark Bkgd">
            <a:extLst>
              <a:ext uri="{FF2B5EF4-FFF2-40B4-BE49-F238E27FC236}">
                <a16:creationId xmlns:a16="http://schemas.microsoft.com/office/drawing/2014/main" id="{C44FA2BA-550D-EDA0-ABAB-D662C16F137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60A4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9" name="Horizontal Rule">
            <a:extLst>
              <a:ext uri="{FF2B5EF4-FFF2-40B4-BE49-F238E27FC236}">
                <a16:creationId xmlns:a16="http://schemas.microsoft.com/office/drawing/2014/main" id="{429C2072-EE2B-A064-5CA2-6097546F935A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292100" y="1364752"/>
            <a:ext cx="11607800" cy="0"/>
          </a:xfrm>
          <a:prstGeom prst="line">
            <a:avLst/>
          </a:prstGeom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fidential disclaimer">
            <a:extLst>
              <a:ext uri="{FF2B5EF4-FFF2-40B4-BE49-F238E27FC236}">
                <a16:creationId xmlns:a16="http://schemas.microsoft.com/office/drawing/2014/main" id="{15979AA9-9DD3-3AAB-213C-8B9A6FF3D1D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798636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15" name="Copyright Line">
            <a:extLst>
              <a:ext uri="{FF2B5EF4-FFF2-40B4-BE49-F238E27FC236}">
                <a16:creationId xmlns:a16="http://schemas.microsoft.com/office/drawing/2014/main" id="{D439B148-E719-27C3-3403-978BEDC13EC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88558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10" name="Footer Placeholder">
            <a:extLst>
              <a:ext uri="{FF2B5EF4-FFF2-40B4-BE49-F238E27FC236}">
                <a16:creationId xmlns:a16="http://schemas.microsoft.com/office/drawing/2014/main" id="{671A6FA9-FE3E-4211-C84B-88F574FE85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3"/>
          </p:nvPr>
        </p:nvSpPr>
        <p:spPr>
          <a:xfrm>
            <a:off x="3251200" y="6485399"/>
            <a:ext cx="3716336" cy="282957"/>
          </a:xfrm>
          <a:solidFill>
            <a:schemeClr val="tx2"/>
          </a:solidFill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34C6756D-B2C7-2A2B-E9A7-BB5F5972C73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2"/>
          </p:nvPr>
        </p:nvSpPr>
        <p:spPr>
          <a:xfrm>
            <a:off x="292100" y="6073688"/>
            <a:ext cx="1744664" cy="282957"/>
          </a:xfrm>
        </p:spPr>
        <p:txBody>
          <a:bodyPr/>
          <a:lstStyle>
            <a:lvl1pPr>
              <a:defRPr sz="1200">
                <a:solidFill>
                  <a:srgbClr val="FFFFFF"/>
                </a:solidFill>
              </a:defRPr>
            </a:lvl1pPr>
          </a:lstStyle>
          <a:p>
            <a:fld id="{6939B06F-C1B3-44B6-B618-A1DBE0D9FD92}" type="datetime1">
              <a:rPr lang="en-GB" smtClean="0"/>
              <a:t>12/02/2026</a:t>
            </a:fld>
            <a:endParaRPr lang="en-GB"/>
          </a:p>
        </p:txBody>
      </p:sp>
      <p:sp>
        <p:nvSpPr>
          <p:cNvPr id="19" name="Title/Dept Placeholder">
            <a:extLst>
              <a:ext uri="{FF2B5EF4-FFF2-40B4-BE49-F238E27FC236}">
                <a16:creationId xmlns:a16="http://schemas.microsoft.com/office/drawing/2014/main" id="{6942A971-1821-DF95-6B7B-A7991E06FA8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 hasCustomPrompt="1"/>
          </p:nvPr>
        </p:nvSpPr>
        <p:spPr>
          <a:xfrm>
            <a:off x="292100" y="5562225"/>
            <a:ext cx="8625842" cy="344385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Department</a:t>
            </a:r>
          </a:p>
        </p:txBody>
      </p:sp>
      <p:sp>
        <p:nvSpPr>
          <p:cNvPr id="18" name="Presenter Name Placeholder">
            <a:extLst>
              <a:ext uri="{FF2B5EF4-FFF2-40B4-BE49-F238E27FC236}">
                <a16:creationId xmlns:a16="http://schemas.microsoft.com/office/drawing/2014/main" id="{4D8E56BE-097F-EB4E-3287-BD1DCBFF488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292100" y="5194091"/>
            <a:ext cx="8625841" cy="344384"/>
          </a:xfrm>
        </p:spPr>
        <p:txBody>
          <a:bodyPr t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D952C9CE-AA03-A24B-BBD9-8EA2482DC59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292100" y="4151030"/>
            <a:ext cx="8625840" cy="83788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5F151AF7-737A-1648-9BC4-B9D881179FB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292100" y="1671355"/>
            <a:ext cx="8625840" cy="23876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5400">
                <a:solidFill>
                  <a:srgbClr val="FFFFFF"/>
                </a:solidFill>
              </a:defRPr>
            </a:lvl1pPr>
          </a:lstStyle>
          <a:p>
            <a:r>
              <a:rPr lang="en-US"/>
              <a:t>Insert your presentation title here maximum of three lines</a:t>
            </a:r>
          </a:p>
        </p:txBody>
      </p:sp>
      <p:pic>
        <p:nvPicPr>
          <p:cNvPr id="4" name="NielsenIQ GFK lockup">
            <a:extLst>
              <a:ext uri="{FF2B5EF4-FFF2-40B4-BE49-F238E27FC236}">
                <a16:creationId xmlns:a16="http://schemas.microsoft.com/office/drawing/2014/main" id="{C8AAA83D-C3BC-19DA-FC85-5AFC9A752B02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86122" y="321743"/>
            <a:ext cx="3377876" cy="753596"/>
          </a:xfrm>
          <a:prstGeom prst="rect">
            <a:avLst/>
          </a:prstGeom>
        </p:spPr>
      </p:pic>
      <p:pic>
        <p:nvPicPr>
          <p:cNvPr id="12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8189DD20-160D-9FA4-6050-54CA59644796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558" y="305205"/>
            <a:ext cx="2211998" cy="763139"/>
          </a:xfrm>
          <a:prstGeom prst="rect">
            <a:avLst/>
          </a:prstGeom>
        </p:spPr>
      </p:pic>
      <p:sp>
        <p:nvSpPr>
          <p:cNvPr id="23" name="Nielsen wordmark" hidden="1">
            <a:extLst>
              <a:ext uri="{FF2B5EF4-FFF2-40B4-BE49-F238E27FC236}">
                <a16:creationId xmlns:a16="http://schemas.microsoft.com/office/drawing/2014/main" id="{ACEC4A6E-78BA-F45C-EDE6-561ED4C493C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95274" y="443155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accent1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307334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hoto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tatic Light Bkgd">
            <a:extLst>
              <a:ext uri="{FF2B5EF4-FFF2-40B4-BE49-F238E27FC236}">
                <a16:creationId xmlns:a16="http://schemas.microsoft.com/office/drawing/2014/main" id="{EE705342-7994-AFF3-15FD-F6FDEC9AE6B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0" name="Photo Accent Circles">
            <a:extLst>
              <a:ext uri="{FF2B5EF4-FFF2-40B4-BE49-F238E27FC236}">
                <a16:creationId xmlns:a16="http://schemas.microsoft.com/office/drawing/2014/main" id="{05F2AB47-2DD7-8B76-D4C4-88A3A382FA8A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5942370" y="1"/>
            <a:ext cx="6249631" cy="6778171"/>
            <a:chOff x="5942370" y="1"/>
            <a:chExt cx="6249631" cy="6778171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41DBC157-DD06-141E-B188-1EB8D24163C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5942370" y="1"/>
              <a:ext cx="6249631" cy="6778171"/>
            </a:xfrm>
            <a:custGeom>
              <a:avLst/>
              <a:gdLst>
                <a:gd name="connsiteX0" fmla="*/ 1133398 w 6249631"/>
                <a:gd name="connsiteY0" fmla="*/ 0 h 6778171"/>
                <a:gd name="connsiteX1" fmla="*/ 6249631 w 6249631"/>
                <a:gd name="connsiteY1" fmla="*/ 0 h 6778171"/>
                <a:gd name="connsiteX2" fmla="*/ 6249631 w 6249631"/>
                <a:gd name="connsiteY2" fmla="*/ 6079239 h 6778171"/>
                <a:gd name="connsiteX3" fmla="*/ 6227147 w 6249631"/>
                <a:gd name="connsiteY3" fmla="*/ 6096052 h 6778171"/>
                <a:gd name="connsiteX4" fmla="*/ 3994041 w 6249631"/>
                <a:gd name="connsiteY4" fmla="*/ 6778171 h 6778171"/>
                <a:gd name="connsiteX5" fmla="*/ 0 w 6249631"/>
                <a:gd name="connsiteY5" fmla="*/ 2784130 h 6778171"/>
                <a:gd name="connsiteX6" fmla="*/ 912045 w 6249631"/>
                <a:gd name="connsiteY6" fmla="*/ 243549 h 67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9631" h="6778171">
                  <a:moveTo>
                    <a:pt x="1133398" y="0"/>
                  </a:moveTo>
                  <a:lnTo>
                    <a:pt x="6249631" y="0"/>
                  </a:lnTo>
                  <a:lnTo>
                    <a:pt x="6249631" y="6079239"/>
                  </a:lnTo>
                  <a:lnTo>
                    <a:pt x="6227147" y="6096052"/>
                  </a:lnTo>
                  <a:cubicBezTo>
                    <a:pt x="5589694" y="6526707"/>
                    <a:pt x="4821234" y="6778171"/>
                    <a:pt x="3994041" y="6778171"/>
                  </a:cubicBezTo>
                  <a:cubicBezTo>
                    <a:pt x="1788193" y="6778171"/>
                    <a:pt x="0" y="4989978"/>
                    <a:pt x="0" y="2784130"/>
                  </a:cubicBezTo>
                  <a:cubicBezTo>
                    <a:pt x="0" y="1819072"/>
                    <a:pt x="342272" y="933955"/>
                    <a:pt x="912045" y="243549"/>
                  </a:cubicBezTo>
                  <a:close/>
                </a:path>
              </a:pathLst>
            </a:custGeom>
            <a:solidFill>
              <a:srgbClr val="F0F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D9CB59-0278-69D3-1B88-9D97D9D9BF6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6596886" y="1"/>
              <a:ext cx="5595114" cy="6115087"/>
            </a:xfrm>
            <a:custGeom>
              <a:avLst/>
              <a:gdLst>
                <a:gd name="connsiteX0" fmla="*/ 1504880 w 5595114"/>
                <a:gd name="connsiteY0" fmla="*/ 0 h 6115087"/>
                <a:gd name="connsiteX1" fmla="*/ 5157035 w 5595114"/>
                <a:gd name="connsiteY1" fmla="*/ 0 h 6115087"/>
                <a:gd name="connsiteX2" fmla="*/ 5193327 w 5595114"/>
                <a:gd name="connsiteY2" fmla="*/ 22048 h 6115087"/>
                <a:gd name="connsiteX3" fmla="*/ 5449755 w 5595114"/>
                <a:gd name="connsiteY3" fmla="*/ 213802 h 6115087"/>
                <a:gd name="connsiteX4" fmla="*/ 5595114 w 5595114"/>
                <a:gd name="connsiteY4" fmla="*/ 345913 h 6115087"/>
                <a:gd name="connsiteX5" fmla="*/ 5595114 w 5595114"/>
                <a:gd name="connsiteY5" fmla="*/ 5222347 h 6115087"/>
                <a:gd name="connsiteX6" fmla="*/ 5449755 w 5595114"/>
                <a:gd name="connsiteY6" fmla="*/ 5354459 h 6115087"/>
                <a:gd name="connsiteX7" fmla="*/ 3330957 w 5595114"/>
                <a:gd name="connsiteY7" fmla="*/ 6115087 h 6115087"/>
                <a:gd name="connsiteX8" fmla="*/ 0 w 5595114"/>
                <a:gd name="connsiteY8" fmla="*/ 2784130 h 6115087"/>
                <a:gd name="connsiteX9" fmla="*/ 1468588 w 5595114"/>
                <a:gd name="connsiteY9" fmla="*/ 22048 h 6115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95114" h="6115087">
                  <a:moveTo>
                    <a:pt x="1504880" y="0"/>
                  </a:moveTo>
                  <a:lnTo>
                    <a:pt x="5157035" y="0"/>
                  </a:lnTo>
                  <a:lnTo>
                    <a:pt x="5193327" y="22048"/>
                  </a:lnTo>
                  <a:cubicBezTo>
                    <a:pt x="5281931" y="81908"/>
                    <a:pt x="5367500" y="145919"/>
                    <a:pt x="5449755" y="213802"/>
                  </a:cubicBezTo>
                  <a:lnTo>
                    <a:pt x="5595114" y="345913"/>
                  </a:lnTo>
                  <a:lnTo>
                    <a:pt x="5595114" y="5222347"/>
                  </a:lnTo>
                  <a:lnTo>
                    <a:pt x="5449755" y="5354459"/>
                  </a:lnTo>
                  <a:cubicBezTo>
                    <a:pt x="4873969" y="5829639"/>
                    <a:pt x="4135798" y="6115087"/>
                    <a:pt x="3330957" y="6115087"/>
                  </a:cubicBezTo>
                  <a:cubicBezTo>
                    <a:pt x="1491320" y="6115087"/>
                    <a:pt x="0" y="4623767"/>
                    <a:pt x="0" y="2784130"/>
                  </a:cubicBezTo>
                  <a:cubicBezTo>
                    <a:pt x="0" y="1634357"/>
                    <a:pt x="582547" y="620645"/>
                    <a:pt x="1468588" y="22048"/>
                  </a:cubicBezTo>
                  <a:close/>
                </a:path>
              </a:pathLst>
            </a:custGeom>
            <a:solidFill>
              <a:srgbClr val="DADAD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>
                <a:solidFill>
                  <a:srgbClr val="DADADA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EF44984-8F7A-8C11-AE43-676924BE717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7172234" y="28520"/>
              <a:ext cx="5019767" cy="5511220"/>
            </a:xfrm>
            <a:custGeom>
              <a:avLst/>
              <a:gdLst>
                <a:gd name="connsiteX0" fmla="*/ 2755610 w 5019767"/>
                <a:gd name="connsiteY0" fmla="*/ 0 h 5511220"/>
                <a:gd name="connsiteX1" fmla="*/ 4881972 w 5019767"/>
                <a:gd name="connsiteY1" fmla="*/ 1002786 h 5511220"/>
                <a:gd name="connsiteX2" fmla="*/ 5019767 w 5019767"/>
                <a:gd name="connsiteY2" fmla="*/ 1187056 h 5511220"/>
                <a:gd name="connsiteX3" fmla="*/ 5019767 w 5019767"/>
                <a:gd name="connsiteY3" fmla="*/ 4324164 h 5511220"/>
                <a:gd name="connsiteX4" fmla="*/ 4881972 w 5019767"/>
                <a:gd name="connsiteY4" fmla="*/ 4508434 h 5511220"/>
                <a:gd name="connsiteX5" fmla="*/ 2755610 w 5019767"/>
                <a:gd name="connsiteY5" fmla="*/ 5511220 h 5511220"/>
                <a:gd name="connsiteX6" fmla="*/ 0 w 5019767"/>
                <a:gd name="connsiteY6" fmla="*/ 2755610 h 5511220"/>
                <a:gd name="connsiteX7" fmla="*/ 2755610 w 5019767"/>
                <a:gd name="connsiteY7" fmla="*/ 0 h 5511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19767" h="5511220">
                  <a:moveTo>
                    <a:pt x="2755610" y="0"/>
                  </a:moveTo>
                  <a:cubicBezTo>
                    <a:pt x="3611668" y="0"/>
                    <a:pt x="4376553" y="390360"/>
                    <a:pt x="4881972" y="1002786"/>
                  </a:cubicBezTo>
                  <a:lnTo>
                    <a:pt x="5019767" y="1187056"/>
                  </a:lnTo>
                  <a:lnTo>
                    <a:pt x="5019767" y="4324164"/>
                  </a:lnTo>
                  <a:lnTo>
                    <a:pt x="4881972" y="4508434"/>
                  </a:lnTo>
                  <a:cubicBezTo>
                    <a:pt x="4376553" y="5120861"/>
                    <a:pt x="3611668" y="5511220"/>
                    <a:pt x="2755610" y="5511220"/>
                  </a:cubicBezTo>
                  <a:cubicBezTo>
                    <a:pt x="1233729" y="5511220"/>
                    <a:pt x="0" y="4277491"/>
                    <a:pt x="0" y="2755610"/>
                  </a:cubicBezTo>
                  <a:cubicBezTo>
                    <a:pt x="0" y="1233729"/>
                    <a:pt x="1233729" y="0"/>
                    <a:pt x="275561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/>
            </a:p>
          </p:txBody>
        </p:sp>
      </p:grpSp>
      <p:sp>
        <p:nvSpPr>
          <p:cNvPr id="9" name="Copyright Line">
            <a:extLst>
              <a:ext uri="{FF2B5EF4-FFF2-40B4-BE49-F238E27FC236}">
                <a16:creationId xmlns:a16="http://schemas.microsoft.com/office/drawing/2014/main" id="{D2389545-B6D7-497B-37D4-C8C4C52F8A1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88558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5" name="Confidential disclaimer">
            <a:extLst>
              <a:ext uri="{FF2B5EF4-FFF2-40B4-BE49-F238E27FC236}">
                <a16:creationId xmlns:a16="http://schemas.microsoft.com/office/drawing/2014/main" id="{0B3A39F8-8D7C-C8DD-497D-7F28EC8D8B6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798636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26" name="Footer Placeholder">
            <a:extLst>
              <a:ext uri="{FF2B5EF4-FFF2-40B4-BE49-F238E27FC236}">
                <a16:creationId xmlns:a16="http://schemas.microsoft.com/office/drawing/2014/main" id="{82B2F640-F33B-8BC7-0A7C-2CC5589C173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5"/>
          </p:nvPr>
        </p:nvSpPr>
        <p:spPr>
          <a:xfrm>
            <a:off x="3251195" y="6485399"/>
            <a:ext cx="3716341" cy="282957"/>
          </a:xfrm>
        </p:spPr>
        <p:txBody>
          <a:bodyPr/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25" name="Picture Placeholder">
            <a:extLst>
              <a:ext uri="{FF2B5EF4-FFF2-40B4-BE49-F238E27FC236}">
                <a16:creationId xmlns:a16="http://schemas.microsoft.com/office/drawing/2014/main" id="{278BDEAF-4B5A-EDEC-5FBB-5BDC0B1311E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2" hasCustomPrompt="1"/>
          </p:nvPr>
        </p:nvSpPr>
        <p:spPr>
          <a:xfrm>
            <a:off x="7465671" y="321957"/>
            <a:ext cx="4726329" cy="4924346"/>
          </a:xfrm>
          <a:custGeom>
            <a:avLst/>
            <a:gdLst>
              <a:gd name="connsiteX0" fmla="*/ 2462173 w 4726329"/>
              <a:gd name="connsiteY0" fmla="*/ 0 h 4924346"/>
              <a:gd name="connsiteX1" fmla="*/ 4627175 w 4726329"/>
              <a:gd name="connsiteY1" fmla="*/ 1288555 h 4924346"/>
              <a:gd name="connsiteX2" fmla="*/ 4726329 w 4726329"/>
              <a:gd name="connsiteY2" fmla="*/ 1494386 h 4924346"/>
              <a:gd name="connsiteX3" fmla="*/ 4726329 w 4726329"/>
              <a:gd name="connsiteY3" fmla="*/ 3429960 h 4924346"/>
              <a:gd name="connsiteX4" fmla="*/ 4627175 w 4726329"/>
              <a:gd name="connsiteY4" fmla="*/ 3635791 h 4924346"/>
              <a:gd name="connsiteX5" fmla="*/ 2462173 w 4726329"/>
              <a:gd name="connsiteY5" fmla="*/ 4924346 h 4924346"/>
              <a:gd name="connsiteX6" fmla="*/ 0 w 4726329"/>
              <a:gd name="connsiteY6" fmla="*/ 2462173 h 4924346"/>
              <a:gd name="connsiteX7" fmla="*/ 2462173 w 4726329"/>
              <a:gd name="connsiteY7" fmla="*/ 0 h 4924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26329" h="4924346">
                <a:moveTo>
                  <a:pt x="2462173" y="0"/>
                </a:moveTo>
                <a:cubicBezTo>
                  <a:pt x="3397050" y="0"/>
                  <a:pt x="4210233" y="521034"/>
                  <a:pt x="4627175" y="1288555"/>
                </a:cubicBezTo>
                <a:lnTo>
                  <a:pt x="4726329" y="1494386"/>
                </a:lnTo>
                <a:lnTo>
                  <a:pt x="4726329" y="3429960"/>
                </a:lnTo>
                <a:lnTo>
                  <a:pt x="4627175" y="3635791"/>
                </a:lnTo>
                <a:cubicBezTo>
                  <a:pt x="4210233" y="4403313"/>
                  <a:pt x="3397050" y="4924346"/>
                  <a:pt x="2462173" y="4924346"/>
                </a:cubicBezTo>
                <a:cubicBezTo>
                  <a:pt x="1102352" y="4924346"/>
                  <a:pt x="0" y="3821994"/>
                  <a:pt x="0" y="2462173"/>
                </a:cubicBezTo>
                <a:cubicBezTo>
                  <a:pt x="0" y="1102352"/>
                  <a:pt x="1102352" y="0"/>
                  <a:pt x="2462173" y="0"/>
                </a:cubicBezTo>
                <a:close/>
              </a:path>
            </a:pathLst>
          </a:custGeom>
          <a:solidFill>
            <a:srgbClr val="777777"/>
          </a:solidFill>
        </p:spPr>
        <p:txBody>
          <a:bodyPr wrap="square" anchor="ctr" anchorCtr="1">
            <a:noAutofit/>
          </a:bodyPr>
          <a:lstStyle>
            <a:lvl1pPr marL="0" indent="0" algn="ctr"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picture icon to add photo</a:t>
            </a:r>
          </a:p>
        </p:txBody>
      </p:sp>
      <p:sp>
        <p:nvSpPr>
          <p:cNvPr id="11" name="Date Placeholder">
            <a:extLst>
              <a:ext uri="{FF2B5EF4-FFF2-40B4-BE49-F238E27FC236}">
                <a16:creationId xmlns:a16="http://schemas.microsoft.com/office/drawing/2014/main" id="{56FDEAC7-8736-5846-42B8-66DC00FA3B9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>
          <a:xfrm>
            <a:off x="292100" y="5036705"/>
            <a:ext cx="1744664" cy="282957"/>
          </a:xfrm>
        </p:spPr>
        <p:txBody>
          <a:bodyPr/>
          <a:lstStyle>
            <a:lvl1pPr>
              <a:defRPr sz="1200">
                <a:solidFill>
                  <a:srgbClr val="555555"/>
                </a:solidFill>
              </a:defRPr>
            </a:lvl1pPr>
          </a:lstStyle>
          <a:p>
            <a:fld id="{1C2394C5-9FC7-4913-9E8E-D41BCF75875A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Title/Dept Placeholder">
            <a:extLst>
              <a:ext uri="{FF2B5EF4-FFF2-40B4-BE49-F238E27FC236}">
                <a16:creationId xmlns:a16="http://schemas.microsoft.com/office/drawing/2014/main" id="{F49547DD-E825-E7A3-C48A-64AA78C199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 hasCustomPrompt="1"/>
          </p:nvPr>
        </p:nvSpPr>
        <p:spPr>
          <a:xfrm>
            <a:off x="292100" y="4560602"/>
            <a:ext cx="6689728" cy="344385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rgbClr val="555555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Department</a:t>
            </a:r>
          </a:p>
        </p:txBody>
      </p:sp>
      <p:sp>
        <p:nvSpPr>
          <p:cNvPr id="2" name="Presenter Name Placeholder">
            <a:extLst>
              <a:ext uri="{FF2B5EF4-FFF2-40B4-BE49-F238E27FC236}">
                <a16:creationId xmlns:a16="http://schemas.microsoft.com/office/drawing/2014/main" id="{5A598B2A-BB91-C356-7BCC-18D04DA85A8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292100" y="4192468"/>
            <a:ext cx="6689728" cy="344384"/>
          </a:xfrm>
        </p:spPr>
        <p:txBody>
          <a:bodyPr t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rgbClr val="555555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8" name="Subtitle Placeholder">
            <a:extLst>
              <a:ext uri="{FF2B5EF4-FFF2-40B4-BE49-F238E27FC236}">
                <a16:creationId xmlns:a16="http://schemas.microsoft.com/office/drawing/2014/main" id="{23B6A8FC-C3C4-F7DA-BF00-D56866D5808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292100" y="3114710"/>
            <a:ext cx="6689729" cy="83788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55555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Title Placeholder">
            <a:extLst>
              <a:ext uri="{FF2B5EF4-FFF2-40B4-BE49-F238E27FC236}">
                <a16:creationId xmlns:a16="http://schemas.microsoft.com/office/drawing/2014/main" id="{615225DC-38B1-15E3-05E6-88F5A6B976C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292100" y="654818"/>
            <a:ext cx="6689729" cy="23876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rgbClr val="555555"/>
                </a:solidFill>
              </a:defRPr>
            </a:lvl1pPr>
          </a:lstStyle>
          <a:p>
            <a:r>
              <a:rPr lang="en-US"/>
              <a:t>Insert your presentation title here maximum of three lines</a:t>
            </a:r>
          </a:p>
        </p:txBody>
      </p:sp>
      <p:pic>
        <p:nvPicPr>
          <p:cNvPr id="7" name="NielsenIQ GFK lockup">
            <a:extLst>
              <a:ext uri="{FF2B5EF4-FFF2-40B4-BE49-F238E27FC236}">
                <a16:creationId xmlns:a16="http://schemas.microsoft.com/office/drawing/2014/main" id="{0FDFD67B-3477-8375-7F26-D08E6067C99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6122" y="5539740"/>
            <a:ext cx="3377876" cy="753596"/>
          </a:xfrm>
          <a:prstGeom prst="rect">
            <a:avLst/>
          </a:prstGeom>
        </p:spPr>
      </p:pic>
      <p:pic>
        <p:nvPicPr>
          <p:cNvPr id="14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C8F8171E-1658-79B9-9EAC-E88E789EA287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558" y="5563212"/>
            <a:ext cx="2155411" cy="743616"/>
          </a:xfrm>
          <a:prstGeom prst="rect">
            <a:avLst/>
          </a:prstGeom>
        </p:spPr>
      </p:pic>
      <p:sp>
        <p:nvSpPr>
          <p:cNvPr id="22" name="Nielsen wordmark" hidden="1">
            <a:extLst>
              <a:ext uri="{FF2B5EF4-FFF2-40B4-BE49-F238E27FC236}">
                <a16:creationId xmlns:a16="http://schemas.microsoft.com/office/drawing/2014/main" id="{D75B41C8-8FEA-463D-AB87-6F4962F7D5E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295274" y="5686380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accent1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6814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hoto Circ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tatic Light Bkgd">
            <a:extLst>
              <a:ext uri="{FF2B5EF4-FFF2-40B4-BE49-F238E27FC236}">
                <a16:creationId xmlns:a16="http://schemas.microsoft.com/office/drawing/2014/main" id="{EE705342-7994-AFF3-15FD-F6FDEC9AE6B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" name="Photo Accent Circles">
            <a:extLst>
              <a:ext uri="{FF2B5EF4-FFF2-40B4-BE49-F238E27FC236}">
                <a16:creationId xmlns:a16="http://schemas.microsoft.com/office/drawing/2014/main" id="{142AC587-6F39-6154-A37A-868A63F4F005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5942370" y="1"/>
            <a:ext cx="6249631" cy="6778171"/>
            <a:chOff x="5942370" y="1"/>
            <a:chExt cx="6249631" cy="6778171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41DBC157-DD06-141E-B188-1EB8D24163C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5942370" y="1"/>
              <a:ext cx="6249631" cy="6778171"/>
            </a:xfrm>
            <a:custGeom>
              <a:avLst/>
              <a:gdLst>
                <a:gd name="connsiteX0" fmla="*/ 1133398 w 6249631"/>
                <a:gd name="connsiteY0" fmla="*/ 0 h 6778171"/>
                <a:gd name="connsiteX1" fmla="*/ 6249631 w 6249631"/>
                <a:gd name="connsiteY1" fmla="*/ 0 h 6778171"/>
                <a:gd name="connsiteX2" fmla="*/ 6249631 w 6249631"/>
                <a:gd name="connsiteY2" fmla="*/ 6079239 h 6778171"/>
                <a:gd name="connsiteX3" fmla="*/ 6227147 w 6249631"/>
                <a:gd name="connsiteY3" fmla="*/ 6096052 h 6778171"/>
                <a:gd name="connsiteX4" fmla="*/ 3994041 w 6249631"/>
                <a:gd name="connsiteY4" fmla="*/ 6778171 h 6778171"/>
                <a:gd name="connsiteX5" fmla="*/ 0 w 6249631"/>
                <a:gd name="connsiteY5" fmla="*/ 2784130 h 6778171"/>
                <a:gd name="connsiteX6" fmla="*/ 912045 w 6249631"/>
                <a:gd name="connsiteY6" fmla="*/ 243549 h 67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9631" h="6778171">
                  <a:moveTo>
                    <a:pt x="1133398" y="0"/>
                  </a:moveTo>
                  <a:lnTo>
                    <a:pt x="6249631" y="0"/>
                  </a:lnTo>
                  <a:lnTo>
                    <a:pt x="6249631" y="6079239"/>
                  </a:lnTo>
                  <a:lnTo>
                    <a:pt x="6227147" y="6096052"/>
                  </a:lnTo>
                  <a:cubicBezTo>
                    <a:pt x="5589694" y="6526707"/>
                    <a:pt x="4821234" y="6778171"/>
                    <a:pt x="3994041" y="6778171"/>
                  </a:cubicBezTo>
                  <a:cubicBezTo>
                    <a:pt x="1788193" y="6778171"/>
                    <a:pt x="0" y="4989978"/>
                    <a:pt x="0" y="2784130"/>
                  </a:cubicBezTo>
                  <a:cubicBezTo>
                    <a:pt x="0" y="1819072"/>
                    <a:pt x="342272" y="933955"/>
                    <a:pt x="912045" y="243549"/>
                  </a:cubicBezTo>
                  <a:close/>
                </a:path>
              </a:pathLst>
            </a:custGeom>
            <a:solidFill>
              <a:srgbClr val="0A52E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D9CB59-0278-69D3-1B88-9D97D9D9BF6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6596886" y="1"/>
              <a:ext cx="5595114" cy="6115087"/>
            </a:xfrm>
            <a:custGeom>
              <a:avLst/>
              <a:gdLst>
                <a:gd name="connsiteX0" fmla="*/ 1504880 w 5595114"/>
                <a:gd name="connsiteY0" fmla="*/ 0 h 6115087"/>
                <a:gd name="connsiteX1" fmla="*/ 5157035 w 5595114"/>
                <a:gd name="connsiteY1" fmla="*/ 0 h 6115087"/>
                <a:gd name="connsiteX2" fmla="*/ 5193327 w 5595114"/>
                <a:gd name="connsiteY2" fmla="*/ 22048 h 6115087"/>
                <a:gd name="connsiteX3" fmla="*/ 5449755 w 5595114"/>
                <a:gd name="connsiteY3" fmla="*/ 213802 h 6115087"/>
                <a:gd name="connsiteX4" fmla="*/ 5595114 w 5595114"/>
                <a:gd name="connsiteY4" fmla="*/ 345913 h 6115087"/>
                <a:gd name="connsiteX5" fmla="*/ 5595114 w 5595114"/>
                <a:gd name="connsiteY5" fmla="*/ 5222347 h 6115087"/>
                <a:gd name="connsiteX6" fmla="*/ 5449755 w 5595114"/>
                <a:gd name="connsiteY6" fmla="*/ 5354459 h 6115087"/>
                <a:gd name="connsiteX7" fmla="*/ 3330957 w 5595114"/>
                <a:gd name="connsiteY7" fmla="*/ 6115087 h 6115087"/>
                <a:gd name="connsiteX8" fmla="*/ 0 w 5595114"/>
                <a:gd name="connsiteY8" fmla="*/ 2784130 h 6115087"/>
                <a:gd name="connsiteX9" fmla="*/ 1468588 w 5595114"/>
                <a:gd name="connsiteY9" fmla="*/ 22048 h 6115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95114" h="6115087">
                  <a:moveTo>
                    <a:pt x="1504880" y="0"/>
                  </a:moveTo>
                  <a:lnTo>
                    <a:pt x="5157035" y="0"/>
                  </a:lnTo>
                  <a:lnTo>
                    <a:pt x="5193327" y="22048"/>
                  </a:lnTo>
                  <a:cubicBezTo>
                    <a:pt x="5281931" y="81908"/>
                    <a:pt x="5367500" y="145919"/>
                    <a:pt x="5449755" y="213802"/>
                  </a:cubicBezTo>
                  <a:lnTo>
                    <a:pt x="5595114" y="345913"/>
                  </a:lnTo>
                  <a:lnTo>
                    <a:pt x="5595114" y="5222347"/>
                  </a:lnTo>
                  <a:lnTo>
                    <a:pt x="5449755" y="5354459"/>
                  </a:lnTo>
                  <a:cubicBezTo>
                    <a:pt x="4873969" y="5829639"/>
                    <a:pt x="4135798" y="6115087"/>
                    <a:pt x="3330957" y="6115087"/>
                  </a:cubicBezTo>
                  <a:cubicBezTo>
                    <a:pt x="1491320" y="6115087"/>
                    <a:pt x="0" y="4623767"/>
                    <a:pt x="0" y="2784130"/>
                  </a:cubicBezTo>
                  <a:cubicBezTo>
                    <a:pt x="0" y="1634357"/>
                    <a:pt x="582547" y="620645"/>
                    <a:pt x="1468588" y="22048"/>
                  </a:cubicBezTo>
                  <a:close/>
                </a:path>
              </a:pathLst>
            </a:custGeom>
            <a:solidFill>
              <a:srgbClr val="0946C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>
                <a:solidFill>
                  <a:srgbClr val="DADADA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EF44984-8F7A-8C11-AE43-676924BE717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7172234" y="28520"/>
              <a:ext cx="5019767" cy="5511220"/>
            </a:xfrm>
            <a:custGeom>
              <a:avLst/>
              <a:gdLst>
                <a:gd name="connsiteX0" fmla="*/ 2755610 w 5019767"/>
                <a:gd name="connsiteY0" fmla="*/ 0 h 5511220"/>
                <a:gd name="connsiteX1" fmla="*/ 4881972 w 5019767"/>
                <a:gd name="connsiteY1" fmla="*/ 1002786 h 5511220"/>
                <a:gd name="connsiteX2" fmla="*/ 5019767 w 5019767"/>
                <a:gd name="connsiteY2" fmla="*/ 1187056 h 5511220"/>
                <a:gd name="connsiteX3" fmla="*/ 5019767 w 5019767"/>
                <a:gd name="connsiteY3" fmla="*/ 4324164 h 5511220"/>
                <a:gd name="connsiteX4" fmla="*/ 4881972 w 5019767"/>
                <a:gd name="connsiteY4" fmla="*/ 4508434 h 5511220"/>
                <a:gd name="connsiteX5" fmla="*/ 2755610 w 5019767"/>
                <a:gd name="connsiteY5" fmla="*/ 5511220 h 5511220"/>
                <a:gd name="connsiteX6" fmla="*/ 0 w 5019767"/>
                <a:gd name="connsiteY6" fmla="*/ 2755610 h 5511220"/>
                <a:gd name="connsiteX7" fmla="*/ 2755610 w 5019767"/>
                <a:gd name="connsiteY7" fmla="*/ 0 h 5511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19767" h="5511220">
                  <a:moveTo>
                    <a:pt x="2755610" y="0"/>
                  </a:moveTo>
                  <a:cubicBezTo>
                    <a:pt x="3611668" y="0"/>
                    <a:pt x="4376553" y="390360"/>
                    <a:pt x="4881972" y="1002786"/>
                  </a:cubicBezTo>
                  <a:lnTo>
                    <a:pt x="5019767" y="1187056"/>
                  </a:lnTo>
                  <a:lnTo>
                    <a:pt x="5019767" y="4324164"/>
                  </a:lnTo>
                  <a:lnTo>
                    <a:pt x="4881972" y="4508434"/>
                  </a:lnTo>
                  <a:cubicBezTo>
                    <a:pt x="4376553" y="5120861"/>
                    <a:pt x="3611668" y="5511220"/>
                    <a:pt x="2755610" y="5511220"/>
                  </a:cubicBezTo>
                  <a:cubicBezTo>
                    <a:pt x="1233729" y="5511220"/>
                    <a:pt x="0" y="4277491"/>
                    <a:pt x="0" y="2755610"/>
                  </a:cubicBezTo>
                  <a:cubicBezTo>
                    <a:pt x="0" y="1233729"/>
                    <a:pt x="1233729" y="0"/>
                    <a:pt x="2755610" y="0"/>
                  </a:cubicBezTo>
                  <a:close/>
                </a:path>
              </a:pathLst>
            </a:custGeom>
            <a:solidFill>
              <a:srgbClr val="073BA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/>
            </a:p>
          </p:txBody>
        </p:sp>
      </p:grpSp>
      <p:sp>
        <p:nvSpPr>
          <p:cNvPr id="9" name="Copyright Line">
            <a:extLst>
              <a:ext uri="{FF2B5EF4-FFF2-40B4-BE49-F238E27FC236}">
                <a16:creationId xmlns:a16="http://schemas.microsoft.com/office/drawing/2014/main" id="{D2389545-B6D7-497B-37D4-C8C4C52F8A1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88558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10" name="Confidential disclaimer">
            <a:extLst>
              <a:ext uri="{FF2B5EF4-FFF2-40B4-BE49-F238E27FC236}">
                <a16:creationId xmlns:a16="http://schemas.microsoft.com/office/drawing/2014/main" id="{8C70182C-829B-A5E4-6775-1B5FA533227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798636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30FBF3F0-9A58-D48C-BF4F-1611549E289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5" name="Picture Placeholder">
            <a:extLst>
              <a:ext uri="{FF2B5EF4-FFF2-40B4-BE49-F238E27FC236}">
                <a16:creationId xmlns:a16="http://schemas.microsoft.com/office/drawing/2014/main" id="{278BDEAF-4B5A-EDEC-5FBB-5BDC0B1311E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2" hasCustomPrompt="1"/>
          </p:nvPr>
        </p:nvSpPr>
        <p:spPr>
          <a:xfrm>
            <a:off x="7465671" y="321957"/>
            <a:ext cx="4726329" cy="4924346"/>
          </a:xfrm>
          <a:custGeom>
            <a:avLst/>
            <a:gdLst>
              <a:gd name="connsiteX0" fmla="*/ 2462173 w 4726329"/>
              <a:gd name="connsiteY0" fmla="*/ 0 h 4924346"/>
              <a:gd name="connsiteX1" fmla="*/ 4627175 w 4726329"/>
              <a:gd name="connsiteY1" fmla="*/ 1288555 h 4924346"/>
              <a:gd name="connsiteX2" fmla="*/ 4726329 w 4726329"/>
              <a:gd name="connsiteY2" fmla="*/ 1494386 h 4924346"/>
              <a:gd name="connsiteX3" fmla="*/ 4726329 w 4726329"/>
              <a:gd name="connsiteY3" fmla="*/ 3429960 h 4924346"/>
              <a:gd name="connsiteX4" fmla="*/ 4627175 w 4726329"/>
              <a:gd name="connsiteY4" fmla="*/ 3635791 h 4924346"/>
              <a:gd name="connsiteX5" fmla="*/ 2462173 w 4726329"/>
              <a:gd name="connsiteY5" fmla="*/ 4924346 h 4924346"/>
              <a:gd name="connsiteX6" fmla="*/ 0 w 4726329"/>
              <a:gd name="connsiteY6" fmla="*/ 2462173 h 4924346"/>
              <a:gd name="connsiteX7" fmla="*/ 2462173 w 4726329"/>
              <a:gd name="connsiteY7" fmla="*/ 0 h 4924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26329" h="4924346">
                <a:moveTo>
                  <a:pt x="2462173" y="0"/>
                </a:moveTo>
                <a:cubicBezTo>
                  <a:pt x="3397050" y="0"/>
                  <a:pt x="4210233" y="521034"/>
                  <a:pt x="4627175" y="1288555"/>
                </a:cubicBezTo>
                <a:lnTo>
                  <a:pt x="4726329" y="1494386"/>
                </a:lnTo>
                <a:lnTo>
                  <a:pt x="4726329" y="3429960"/>
                </a:lnTo>
                <a:lnTo>
                  <a:pt x="4627175" y="3635791"/>
                </a:lnTo>
                <a:cubicBezTo>
                  <a:pt x="4210233" y="4403313"/>
                  <a:pt x="3397050" y="4924346"/>
                  <a:pt x="2462173" y="4924346"/>
                </a:cubicBezTo>
                <a:cubicBezTo>
                  <a:pt x="1102352" y="4924346"/>
                  <a:pt x="0" y="3821994"/>
                  <a:pt x="0" y="2462173"/>
                </a:cubicBezTo>
                <a:cubicBezTo>
                  <a:pt x="0" y="1102352"/>
                  <a:pt x="1102352" y="0"/>
                  <a:pt x="2462173" y="0"/>
                </a:cubicBezTo>
                <a:close/>
              </a:path>
            </a:pathLst>
          </a:custGeom>
          <a:solidFill>
            <a:srgbClr val="777777"/>
          </a:solidFill>
        </p:spPr>
        <p:txBody>
          <a:bodyPr wrap="square" anchor="ctr" anchorCtr="1">
            <a:noAutofit/>
          </a:bodyPr>
          <a:lstStyle>
            <a:lvl1pPr marL="0" indent="0" algn="ctr"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picture icon to add photo</a:t>
            </a:r>
          </a:p>
        </p:txBody>
      </p:sp>
      <p:sp>
        <p:nvSpPr>
          <p:cNvPr id="11" name="Date Placeholder">
            <a:extLst>
              <a:ext uri="{FF2B5EF4-FFF2-40B4-BE49-F238E27FC236}">
                <a16:creationId xmlns:a16="http://schemas.microsoft.com/office/drawing/2014/main" id="{56FDEAC7-8736-5846-42B8-66DC00FA3B9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>
          <a:xfrm>
            <a:off x="292100" y="5036705"/>
            <a:ext cx="1744664" cy="282957"/>
          </a:xfrm>
        </p:spPr>
        <p:txBody>
          <a:bodyPr/>
          <a:lstStyle>
            <a:lvl1pPr>
              <a:defRPr sz="1200">
                <a:solidFill>
                  <a:srgbClr val="FFFFFF"/>
                </a:solidFill>
              </a:defRPr>
            </a:lvl1pPr>
          </a:lstStyle>
          <a:p>
            <a:fld id="{C75F7465-666F-4675-891F-E92434DCB819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Title/Dept Placeholder">
            <a:extLst>
              <a:ext uri="{FF2B5EF4-FFF2-40B4-BE49-F238E27FC236}">
                <a16:creationId xmlns:a16="http://schemas.microsoft.com/office/drawing/2014/main" id="{F49547DD-E825-E7A3-C48A-64AA78C199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 hasCustomPrompt="1"/>
          </p:nvPr>
        </p:nvSpPr>
        <p:spPr>
          <a:xfrm>
            <a:off x="292100" y="4560602"/>
            <a:ext cx="6689728" cy="344385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Department</a:t>
            </a:r>
          </a:p>
        </p:txBody>
      </p:sp>
      <p:sp>
        <p:nvSpPr>
          <p:cNvPr id="2" name="Presenter Name Placeholder">
            <a:extLst>
              <a:ext uri="{FF2B5EF4-FFF2-40B4-BE49-F238E27FC236}">
                <a16:creationId xmlns:a16="http://schemas.microsoft.com/office/drawing/2014/main" id="{5A598B2A-BB91-C356-7BCC-18D04DA85A8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292100" y="4192468"/>
            <a:ext cx="6689728" cy="344384"/>
          </a:xfrm>
        </p:spPr>
        <p:txBody>
          <a:bodyPr t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8" name="Subtitle Placeholder">
            <a:extLst>
              <a:ext uri="{FF2B5EF4-FFF2-40B4-BE49-F238E27FC236}">
                <a16:creationId xmlns:a16="http://schemas.microsoft.com/office/drawing/2014/main" id="{23B6A8FC-C3C4-F7DA-BF00-D56866D5808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292100" y="3114710"/>
            <a:ext cx="6689729" cy="83788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Title Placeholder">
            <a:extLst>
              <a:ext uri="{FF2B5EF4-FFF2-40B4-BE49-F238E27FC236}">
                <a16:creationId xmlns:a16="http://schemas.microsoft.com/office/drawing/2014/main" id="{615225DC-38B1-15E3-05E6-88F5A6B976C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292100" y="1214225"/>
            <a:ext cx="6689729" cy="1828193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en-US"/>
              <a:t>Insert your presentation title here maximum of three lines</a:t>
            </a:r>
          </a:p>
        </p:txBody>
      </p:sp>
      <p:pic>
        <p:nvPicPr>
          <p:cNvPr id="7" name="NielsenIQ GFK lockup">
            <a:extLst>
              <a:ext uri="{FF2B5EF4-FFF2-40B4-BE49-F238E27FC236}">
                <a16:creationId xmlns:a16="http://schemas.microsoft.com/office/drawing/2014/main" id="{38C64FBC-CEA2-AB8D-1C98-40BE4309F854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86122" y="5539740"/>
            <a:ext cx="3377876" cy="753596"/>
          </a:xfrm>
          <a:prstGeom prst="rect">
            <a:avLst/>
          </a:prstGeom>
        </p:spPr>
      </p:pic>
      <p:pic>
        <p:nvPicPr>
          <p:cNvPr id="14" name="NielsenIQ logo+wordmark" hidden="1">
            <a:extLst>
              <a:ext uri="{FF2B5EF4-FFF2-40B4-BE49-F238E27FC236}">
                <a16:creationId xmlns:a16="http://schemas.microsoft.com/office/drawing/2014/main" id="{4592FCA5-867A-BB8D-E995-7A4C9EC3E96A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8559" y="5563212"/>
            <a:ext cx="2155408" cy="743616"/>
          </a:xfrm>
          <a:prstGeom prst="rect">
            <a:avLst/>
          </a:prstGeom>
        </p:spPr>
      </p:pic>
      <p:sp>
        <p:nvSpPr>
          <p:cNvPr id="24" name="Nielsen wordmark" hidden="1">
            <a:extLst>
              <a:ext uri="{FF2B5EF4-FFF2-40B4-BE49-F238E27FC236}">
                <a16:creationId xmlns:a16="http://schemas.microsoft.com/office/drawing/2014/main" id="{8E329D7C-9D9C-5C6C-56E6-95CB0519B11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95274" y="5686380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tx2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09429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hoto Circl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tatic Light Bkgd">
            <a:extLst>
              <a:ext uri="{FF2B5EF4-FFF2-40B4-BE49-F238E27FC236}">
                <a16:creationId xmlns:a16="http://schemas.microsoft.com/office/drawing/2014/main" id="{EE705342-7994-AFF3-15FD-F6FDEC9AE6B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60A4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" name="Photo Accent Circles">
            <a:extLst>
              <a:ext uri="{FF2B5EF4-FFF2-40B4-BE49-F238E27FC236}">
                <a16:creationId xmlns:a16="http://schemas.microsoft.com/office/drawing/2014/main" id="{142AC587-6F39-6154-A37A-868A63F4F005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5942370" y="1"/>
            <a:ext cx="6249631" cy="6778171"/>
            <a:chOff x="5942370" y="1"/>
            <a:chExt cx="6249631" cy="6778171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41DBC157-DD06-141E-B188-1EB8D24163C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5942370" y="1"/>
              <a:ext cx="6249631" cy="6778171"/>
            </a:xfrm>
            <a:custGeom>
              <a:avLst/>
              <a:gdLst>
                <a:gd name="connsiteX0" fmla="*/ 1133398 w 6249631"/>
                <a:gd name="connsiteY0" fmla="*/ 0 h 6778171"/>
                <a:gd name="connsiteX1" fmla="*/ 6249631 w 6249631"/>
                <a:gd name="connsiteY1" fmla="*/ 0 h 6778171"/>
                <a:gd name="connsiteX2" fmla="*/ 6249631 w 6249631"/>
                <a:gd name="connsiteY2" fmla="*/ 6079239 h 6778171"/>
                <a:gd name="connsiteX3" fmla="*/ 6227147 w 6249631"/>
                <a:gd name="connsiteY3" fmla="*/ 6096052 h 6778171"/>
                <a:gd name="connsiteX4" fmla="*/ 3994041 w 6249631"/>
                <a:gd name="connsiteY4" fmla="*/ 6778171 h 6778171"/>
                <a:gd name="connsiteX5" fmla="*/ 0 w 6249631"/>
                <a:gd name="connsiteY5" fmla="*/ 2784130 h 6778171"/>
                <a:gd name="connsiteX6" fmla="*/ 912045 w 6249631"/>
                <a:gd name="connsiteY6" fmla="*/ 243549 h 67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9631" h="6778171">
                  <a:moveTo>
                    <a:pt x="1133398" y="0"/>
                  </a:moveTo>
                  <a:lnTo>
                    <a:pt x="6249631" y="0"/>
                  </a:lnTo>
                  <a:lnTo>
                    <a:pt x="6249631" y="6079239"/>
                  </a:lnTo>
                  <a:lnTo>
                    <a:pt x="6227147" y="6096052"/>
                  </a:lnTo>
                  <a:cubicBezTo>
                    <a:pt x="5589694" y="6526707"/>
                    <a:pt x="4821234" y="6778171"/>
                    <a:pt x="3994041" y="6778171"/>
                  </a:cubicBezTo>
                  <a:cubicBezTo>
                    <a:pt x="1788193" y="6778171"/>
                    <a:pt x="0" y="4989978"/>
                    <a:pt x="0" y="2784130"/>
                  </a:cubicBezTo>
                  <a:cubicBezTo>
                    <a:pt x="0" y="1819072"/>
                    <a:pt x="342272" y="933955"/>
                    <a:pt x="912045" y="243549"/>
                  </a:cubicBezTo>
                  <a:close/>
                </a:path>
              </a:pathLst>
            </a:custGeom>
            <a:solidFill>
              <a:srgbClr val="06318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D9CB59-0278-69D3-1B88-9D97D9D9BF6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6596886" y="1"/>
              <a:ext cx="5595114" cy="6115087"/>
            </a:xfrm>
            <a:custGeom>
              <a:avLst/>
              <a:gdLst>
                <a:gd name="connsiteX0" fmla="*/ 1504880 w 5595114"/>
                <a:gd name="connsiteY0" fmla="*/ 0 h 6115087"/>
                <a:gd name="connsiteX1" fmla="*/ 5157035 w 5595114"/>
                <a:gd name="connsiteY1" fmla="*/ 0 h 6115087"/>
                <a:gd name="connsiteX2" fmla="*/ 5193327 w 5595114"/>
                <a:gd name="connsiteY2" fmla="*/ 22048 h 6115087"/>
                <a:gd name="connsiteX3" fmla="*/ 5449755 w 5595114"/>
                <a:gd name="connsiteY3" fmla="*/ 213802 h 6115087"/>
                <a:gd name="connsiteX4" fmla="*/ 5595114 w 5595114"/>
                <a:gd name="connsiteY4" fmla="*/ 345913 h 6115087"/>
                <a:gd name="connsiteX5" fmla="*/ 5595114 w 5595114"/>
                <a:gd name="connsiteY5" fmla="*/ 5222347 h 6115087"/>
                <a:gd name="connsiteX6" fmla="*/ 5449755 w 5595114"/>
                <a:gd name="connsiteY6" fmla="*/ 5354459 h 6115087"/>
                <a:gd name="connsiteX7" fmla="*/ 3330957 w 5595114"/>
                <a:gd name="connsiteY7" fmla="*/ 6115087 h 6115087"/>
                <a:gd name="connsiteX8" fmla="*/ 0 w 5595114"/>
                <a:gd name="connsiteY8" fmla="*/ 2784130 h 6115087"/>
                <a:gd name="connsiteX9" fmla="*/ 1468588 w 5595114"/>
                <a:gd name="connsiteY9" fmla="*/ 22048 h 6115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95114" h="6115087">
                  <a:moveTo>
                    <a:pt x="1504880" y="0"/>
                  </a:moveTo>
                  <a:lnTo>
                    <a:pt x="5157035" y="0"/>
                  </a:lnTo>
                  <a:lnTo>
                    <a:pt x="5193327" y="22048"/>
                  </a:lnTo>
                  <a:cubicBezTo>
                    <a:pt x="5281931" y="81908"/>
                    <a:pt x="5367500" y="145919"/>
                    <a:pt x="5449755" y="213802"/>
                  </a:cubicBezTo>
                  <a:lnTo>
                    <a:pt x="5595114" y="345913"/>
                  </a:lnTo>
                  <a:lnTo>
                    <a:pt x="5595114" y="5222347"/>
                  </a:lnTo>
                  <a:lnTo>
                    <a:pt x="5449755" y="5354459"/>
                  </a:lnTo>
                  <a:cubicBezTo>
                    <a:pt x="4873969" y="5829639"/>
                    <a:pt x="4135798" y="6115087"/>
                    <a:pt x="3330957" y="6115087"/>
                  </a:cubicBezTo>
                  <a:cubicBezTo>
                    <a:pt x="1491320" y="6115087"/>
                    <a:pt x="0" y="4623767"/>
                    <a:pt x="0" y="2784130"/>
                  </a:cubicBezTo>
                  <a:cubicBezTo>
                    <a:pt x="0" y="1634357"/>
                    <a:pt x="582547" y="620645"/>
                    <a:pt x="1468588" y="22048"/>
                  </a:cubicBezTo>
                  <a:close/>
                </a:path>
              </a:pathLst>
            </a:custGeom>
            <a:solidFill>
              <a:srgbClr val="0949D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>
                <a:solidFill>
                  <a:srgbClr val="DADADA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EF44984-8F7A-8C11-AE43-676924BE717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7172234" y="28520"/>
              <a:ext cx="5019767" cy="5511220"/>
            </a:xfrm>
            <a:custGeom>
              <a:avLst/>
              <a:gdLst>
                <a:gd name="connsiteX0" fmla="*/ 2755610 w 5019767"/>
                <a:gd name="connsiteY0" fmla="*/ 0 h 5511220"/>
                <a:gd name="connsiteX1" fmla="*/ 4881972 w 5019767"/>
                <a:gd name="connsiteY1" fmla="*/ 1002786 h 5511220"/>
                <a:gd name="connsiteX2" fmla="*/ 5019767 w 5019767"/>
                <a:gd name="connsiteY2" fmla="*/ 1187056 h 5511220"/>
                <a:gd name="connsiteX3" fmla="*/ 5019767 w 5019767"/>
                <a:gd name="connsiteY3" fmla="*/ 4324164 h 5511220"/>
                <a:gd name="connsiteX4" fmla="*/ 4881972 w 5019767"/>
                <a:gd name="connsiteY4" fmla="*/ 4508434 h 5511220"/>
                <a:gd name="connsiteX5" fmla="*/ 2755610 w 5019767"/>
                <a:gd name="connsiteY5" fmla="*/ 5511220 h 5511220"/>
                <a:gd name="connsiteX6" fmla="*/ 0 w 5019767"/>
                <a:gd name="connsiteY6" fmla="*/ 2755610 h 5511220"/>
                <a:gd name="connsiteX7" fmla="*/ 2755610 w 5019767"/>
                <a:gd name="connsiteY7" fmla="*/ 0 h 5511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19767" h="5511220">
                  <a:moveTo>
                    <a:pt x="2755610" y="0"/>
                  </a:moveTo>
                  <a:cubicBezTo>
                    <a:pt x="3611668" y="0"/>
                    <a:pt x="4376553" y="390360"/>
                    <a:pt x="4881972" y="1002786"/>
                  </a:cubicBezTo>
                  <a:lnTo>
                    <a:pt x="5019767" y="1187056"/>
                  </a:lnTo>
                  <a:lnTo>
                    <a:pt x="5019767" y="4324164"/>
                  </a:lnTo>
                  <a:lnTo>
                    <a:pt x="4881972" y="4508434"/>
                  </a:lnTo>
                  <a:cubicBezTo>
                    <a:pt x="4376553" y="5120861"/>
                    <a:pt x="3611668" y="5511220"/>
                    <a:pt x="2755610" y="5511220"/>
                  </a:cubicBezTo>
                  <a:cubicBezTo>
                    <a:pt x="1233729" y="5511220"/>
                    <a:pt x="0" y="4277491"/>
                    <a:pt x="0" y="2755610"/>
                  </a:cubicBezTo>
                  <a:cubicBezTo>
                    <a:pt x="0" y="1233729"/>
                    <a:pt x="1233729" y="0"/>
                    <a:pt x="275561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/>
            </a:p>
          </p:txBody>
        </p:sp>
      </p:grpSp>
      <p:sp>
        <p:nvSpPr>
          <p:cNvPr id="9" name="Copyright Line">
            <a:extLst>
              <a:ext uri="{FF2B5EF4-FFF2-40B4-BE49-F238E27FC236}">
                <a16:creationId xmlns:a16="http://schemas.microsoft.com/office/drawing/2014/main" id="{D2389545-B6D7-497B-37D4-C8C4C52F8A1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88558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7" name="Confidential disclaimer">
            <a:extLst>
              <a:ext uri="{FF2B5EF4-FFF2-40B4-BE49-F238E27FC236}">
                <a16:creationId xmlns:a16="http://schemas.microsoft.com/office/drawing/2014/main" id="{7F366BE8-8DFF-9E64-8372-4E4C126B56A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798636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8E33C4BA-B3E3-D8C7-C496-E55C90D029E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3"/>
          </p:nvPr>
        </p:nvSpPr>
        <p:spPr>
          <a:xfrm>
            <a:off x="3251200" y="6485399"/>
            <a:ext cx="3716336" cy="282957"/>
          </a:xfrm>
          <a:solidFill>
            <a:schemeClr val="tx2"/>
          </a:solidFill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25" name="Picture Placeholder">
            <a:extLst>
              <a:ext uri="{FF2B5EF4-FFF2-40B4-BE49-F238E27FC236}">
                <a16:creationId xmlns:a16="http://schemas.microsoft.com/office/drawing/2014/main" id="{278BDEAF-4B5A-EDEC-5FBB-5BDC0B1311E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2" hasCustomPrompt="1"/>
          </p:nvPr>
        </p:nvSpPr>
        <p:spPr>
          <a:xfrm>
            <a:off x="7465671" y="321957"/>
            <a:ext cx="4726329" cy="4924346"/>
          </a:xfrm>
          <a:custGeom>
            <a:avLst/>
            <a:gdLst>
              <a:gd name="connsiteX0" fmla="*/ 2462173 w 4726329"/>
              <a:gd name="connsiteY0" fmla="*/ 0 h 4924346"/>
              <a:gd name="connsiteX1" fmla="*/ 4627175 w 4726329"/>
              <a:gd name="connsiteY1" fmla="*/ 1288555 h 4924346"/>
              <a:gd name="connsiteX2" fmla="*/ 4726329 w 4726329"/>
              <a:gd name="connsiteY2" fmla="*/ 1494386 h 4924346"/>
              <a:gd name="connsiteX3" fmla="*/ 4726329 w 4726329"/>
              <a:gd name="connsiteY3" fmla="*/ 3429960 h 4924346"/>
              <a:gd name="connsiteX4" fmla="*/ 4627175 w 4726329"/>
              <a:gd name="connsiteY4" fmla="*/ 3635791 h 4924346"/>
              <a:gd name="connsiteX5" fmla="*/ 2462173 w 4726329"/>
              <a:gd name="connsiteY5" fmla="*/ 4924346 h 4924346"/>
              <a:gd name="connsiteX6" fmla="*/ 0 w 4726329"/>
              <a:gd name="connsiteY6" fmla="*/ 2462173 h 4924346"/>
              <a:gd name="connsiteX7" fmla="*/ 2462173 w 4726329"/>
              <a:gd name="connsiteY7" fmla="*/ 0 h 4924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26329" h="4924346">
                <a:moveTo>
                  <a:pt x="2462173" y="0"/>
                </a:moveTo>
                <a:cubicBezTo>
                  <a:pt x="3397050" y="0"/>
                  <a:pt x="4210233" y="521034"/>
                  <a:pt x="4627175" y="1288555"/>
                </a:cubicBezTo>
                <a:lnTo>
                  <a:pt x="4726329" y="1494386"/>
                </a:lnTo>
                <a:lnTo>
                  <a:pt x="4726329" y="3429960"/>
                </a:lnTo>
                <a:lnTo>
                  <a:pt x="4627175" y="3635791"/>
                </a:lnTo>
                <a:cubicBezTo>
                  <a:pt x="4210233" y="4403313"/>
                  <a:pt x="3397050" y="4924346"/>
                  <a:pt x="2462173" y="4924346"/>
                </a:cubicBezTo>
                <a:cubicBezTo>
                  <a:pt x="1102352" y="4924346"/>
                  <a:pt x="0" y="3821994"/>
                  <a:pt x="0" y="2462173"/>
                </a:cubicBezTo>
                <a:cubicBezTo>
                  <a:pt x="0" y="1102352"/>
                  <a:pt x="1102352" y="0"/>
                  <a:pt x="2462173" y="0"/>
                </a:cubicBezTo>
                <a:close/>
              </a:path>
            </a:pathLst>
          </a:custGeom>
          <a:solidFill>
            <a:srgbClr val="777777"/>
          </a:solidFill>
        </p:spPr>
        <p:txBody>
          <a:bodyPr wrap="square" anchor="ctr" anchorCtr="1">
            <a:noAutofit/>
          </a:bodyPr>
          <a:lstStyle>
            <a:lvl1pPr marL="0" indent="0" algn="ctr"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picture icon to add photo</a:t>
            </a:r>
          </a:p>
        </p:txBody>
      </p:sp>
      <p:sp>
        <p:nvSpPr>
          <p:cNvPr id="11" name="Date Placeholder">
            <a:extLst>
              <a:ext uri="{FF2B5EF4-FFF2-40B4-BE49-F238E27FC236}">
                <a16:creationId xmlns:a16="http://schemas.microsoft.com/office/drawing/2014/main" id="{56FDEAC7-8736-5846-42B8-66DC00FA3B9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>
          <a:xfrm>
            <a:off x="292100" y="5036705"/>
            <a:ext cx="1744664" cy="282957"/>
          </a:xfrm>
        </p:spPr>
        <p:txBody>
          <a:bodyPr/>
          <a:lstStyle>
            <a:lvl1pPr>
              <a:defRPr sz="1200">
                <a:solidFill>
                  <a:srgbClr val="FFFFFF"/>
                </a:solidFill>
              </a:defRPr>
            </a:lvl1pPr>
          </a:lstStyle>
          <a:p>
            <a:fld id="{C75F7465-666F-4675-891F-E92434DCB819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Title/Dept Placeholder">
            <a:extLst>
              <a:ext uri="{FF2B5EF4-FFF2-40B4-BE49-F238E27FC236}">
                <a16:creationId xmlns:a16="http://schemas.microsoft.com/office/drawing/2014/main" id="{F49547DD-E825-E7A3-C48A-64AA78C199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 hasCustomPrompt="1"/>
          </p:nvPr>
        </p:nvSpPr>
        <p:spPr>
          <a:xfrm>
            <a:off x="292100" y="4560602"/>
            <a:ext cx="6689728" cy="344385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Department</a:t>
            </a:r>
          </a:p>
        </p:txBody>
      </p:sp>
      <p:sp>
        <p:nvSpPr>
          <p:cNvPr id="2" name="Presenter Name Placeholder">
            <a:extLst>
              <a:ext uri="{FF2B5EF4-FFF2-40B4-BE49-F238E27FC236}">
                <a16:creationId xmlns:a16="http://schemas.microsoft.com/office/drawing/2014/main" id="{5A598B2A-BB91-C356-7BCC-18D04DA85A8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292100" y="4192468"/>
            <a:ext cx="6689728" cy="344384"/>
          </a:xfrm>
        </p:spPr>
        <p:txBody>
          <a:bodyPr t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8" name="Subtitle Placeholder">
            <a:extLst>
              <a:ext uri="{FF2B5EF4-FFF2-40B4-BE49-F238E27FC236}">
                <a16:creationId xmlns:a16="http://schemas.microsoft.com/office/drawing/2014/main" id="{23B6A8FC-C3C4-F7DA-BF00-D56866D5808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292100" y="3114710"/>
            <a:ext cx="6689729" cy="83788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Title Placeholder">
            <a:extLst>
              <a:ext uri="{FF2B5EF4-FFF2-40B4-BE49-F238E27FC236}">
                <a16:creationId xmlns:a16="http://schemas.microsoft.com/office/drawing/2014/main" id="{615225DC-38B1-15E3-05E6-88F5A6B976C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292100" y="654818"/>
            <a:ext cx="6689729" cy="23876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en-US"/>
              <a:t>Insert your presentation title here maximum of three lines</a:t>
            </a:r>
          </a:p>
        </p:txBody>
      </p:sp>
      <p:pic>
        <p:nvPicPr>
          <p:cNvPr id="10" name="NielsenIQ GFK lockup">
            <a:extLst>
              <a:ext uri="{FF2B5EF4-FFF2-40B4-BE49-F238E27FC236}">
                <a16:creationId xmlns:a16="http://schemas.microsoft.com/office/drawing/2014/main" id="{5AD45FDA-A06C-6A25-4D77-005D36A8D623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86122" y="5539740"/>
            <a:ext cx="3377876" cy="753596"/>
          </a:xfrm>
          <a:prstGeom prst="rect">
            <a:avLst/>
          </a:prstGeom>
        </p:spPr>
      </p:pic>
      <p:pic>
        <p:nvPicPr>
          <p:cNvPr id="14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4592FCA5-867A-BB8D-E995-7A4C9EC3E96A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558" y="5563212"/>
            <a:ext cx="2155411" cy="743616"/>
          </a:xfrm>
          <a:prstGeom prst="rect">
            <a:avLst/>
          </a:prstGeom>
        </p:spPr>
      </p:pic>
      <p:sp>
        <p:nvSpPr>
          <p:cNvPr id="22" name="Nielsen wordmark" hidden="1">
            <a:extLst>
              <a:ext uri="{FF2B5EF4-FFF2-40B4-BE49-F238E27FC236}">
                <a16:creationId xmlns:a16="http://schemas.microsoft.com/office/drawing/2014/main" id="{EA927BD7-665B-50AF-0BB4-89B1734188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95274" y="5686380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accent1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81772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llustration Background">
            <a:extLst>
              <a:ext uri="{FF2B5EF4-FFF2-40B4-BE49-F238E27FC236}">
                <a16:creationId xmlns:a16="http://schemas.microsoft.com/office/drawing/2014/main" id="{DB788935-E7B2-2CAC-0048-B92417139B6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67" y="0"/>
            <a:ext cx="12187065" cy="6858000"/>
          </a:xfrm>
          <a:prstGeom prst="rect">
            <a:avLst/>
          </a:prstGeom>
        </p:spPr>
      </p:pic>
      <p:sp>
        <p:nvSpPr>
          <p:cNvPr id="5" name="Confidential disclaimer">
            <a:extLst>
              <a:ext uri="{FF2B5EF4-FFF2-40B4-BE49-F238E27FC236}">
                <a16:creationId xmlns:a16="http://schemas.microsoft.com/office/drawing/2014/main" id="{CD47C08F-F59E-5783-DCC8-C91095C566C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798636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7" name="Copyright Line">
            <a:extLst>
              <a:ext uri="{FF2B5EF4-FFF2-40B4-BE49-F238E27FC236}">
                <a16:creationId xmlns:a16="http://schemas.microsoft.com/office/drawing/2014/main" id="{94679E81-620B-431C-44E4-1FAE9486A5E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88558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4D4D5DC7-A70B-2666-E654-41F700D18D0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3"/>
          </p:nvPr>
        </p:nvSpPr>
        <p:spPr>
          <a:xfrm>
            <a:off x="3251200" y="6485399"/>
            <a:ext cx="3716336" cy="282957"/>
          </a:xfrm>
          <a:noFill/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27" name="Date Placeholder">
            <a:extLst>
              <a:ext uri="{FF2B5EF4-FFF2-40B4-BE49-F238E27FC236}">
                <a16:creationId xmlns:a16="http://schemas.microsoft.com/office/drawing/2014/main" id="{959D1E47-A59F-7F2A-1103-CE2E01F9C34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>
          <a:xfrm>
            <a:off x="292100" y="5036705"/>
            <a:ext cx="1744664" cy="282957"/>
          </a:xfrm>
        </p:spPr>
        <p:txBody>
          <a:bodyPr/>
          <a:lstStyle>
            <a:lvl1pPr>
              <a:defRPr sz="1200">
                <a:solidFill>
                  <a:srgbClr val="FFFFFF"/>
                </a:solidFill>
              </a:defRPr>
            </a:lvl1pPr>
          </a:lstStyle>
          <a:p>
            <a:fld id="{C75F7465-666F-4675-891F-E92434DCB819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Title/Dept Placeholder">
            <a:extLst>
              <a:ext uri="{FF2B5EF4-FFF2-40B4-BE49-F238E27FC236}">
                <a16:creationId xmlns:a16="http://schemas.microsoft.com/office/drawing/2014/main" id="{DADB3285-032F-C5EA-E4E6-C62E075FF1F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 hasCustomPrompt="1"/>
          </p:nvPr>
        </p:nvSpPr>
        <p:spPr>
          <a:xfrm>
            <a:off x="288558" y="4560602"/>
            <a:ext cx="8642082" cy="344385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Department</a:t>
            </a:r>
          </a:p>
        </p:txBody>
      </p:sp>
      <p:sp>
        <p:nvSpPr>
          <p:cNvPr id="2" name="Presenter Name Placeholder">
            <a:extLst>
              <a:ext uri="{FF2B5EF4-FFF2-40B4-BE49-F238E27FC236}">
                <a16:creationId xmlns:a16="http://schemas.microsoft.com/office/drawing/2014/main" id="{3417592A-6067-984F-549E-3833CDB76A5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288558" y="4192468"/>
            <a:ext cx="8642082" cy="344384"/>
          </a:xfrm>
        </p:spPr>
        <p:txBody>
          <a:bodyPr t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17" name="Subtitle Placeholder">
            <a:extLst>
              <a:ext uri="{FF2B5EF4-FFF2-40B4-BE49-F238E27FC236}">
                <a16:creationId xmlns:a16="http://schemas.microsoft.com/office/drawing/2014/main" id="{A4501D72-EE3C-0DA6-BA4B-C1D78BA85AE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288558" y="3114710"/>
            <a:ext cx="8642082" cy="83788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6" name="Title Placeholder">
            <a:extLst>
              <a:ext uri="{FF2B5EF4-FFF2-40B4-BE49-F238E27FC236}">
                <a16:creationId xmlns:a16="http://schemas.microsoft.com/office/drawing/2014/main" id="{7987C027-455E-4C45-138D-8334F13BBE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288558" y="635035"/>
            <a:ext cx="8642082" cy="23876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5400">
                <a:solidFill>
                  <a:srgbClr val="FFFFFF"/>
                </a:solidFill>
              </a:defRPr>
            </a:lvl1pPr>
          </a:lstStyle>
          <a:p>
            <a:r>
              <a:rPr lang="en-US"/>
              <a:t>Insert your presentation title here maximum of three lines</a:t>
            </a:r>
          </a:p>
        </p:txBody>
      </p:sp>
      <p:pic>
        <p:nvPicPr>
          <p:cNvPr id="6" name="NielsenIQ GFK lockup">
            <a:extLst>
              <a:ext uri="{FF2B5EF4-FFF2-40B4-BE49-F238E27FC236}">
                <a16:creationId xmlns:a16="http://schemas.microsoft.com/office/drawing/2014/main" id="{1527D24A-5EB5-2412-09AA-2A0D682A2D88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286122" y="5539740"/>
            <a:ext cx="3377876" cy="753596"/>
          </a:xfrm>
          <a:prstGeom prst="rect">
            <a:avLst/>
          </a:prstGeom>
        </p:spPr>
      </p:pic>
      <p:pic>
        <p:nvPicPr>
          <p:cNvPr id="18" name="NielsenIQ logo+wordmark" hidden="1">
            <a:extLst>
              <a:ext uri="{FF2B5EF4-FFF2-40B4-BE49-F238E27FC236}">
                <a16:creationId xmlns:a16="http://schemas.microsoft.com/office/drawing/2014/main" id="{041ECC27-E626-2866-047D-40D91692A39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8559" y="5563212"/>
            <a:ext cx="2155408" cy="743616"/>
          </a:xfrm>
          <a:prstGeom prst="rect">
            <a:avLst/>
          </a:prstGeom>
        </p:spPr>
      </p:pic>
      <p:sp>
        <p:nvSpPr>
          <p:cNvPr id="8" name="Nielsen wordmark" hidden="1">
            <a:extLst>
              <a:ext uri="{FF2B5EF4-FFF2-40B4-BE49-F238E27FC236}">
                <a16:creationId xmlns:a16="http://schemas.microsoft.com/office/drawing/2014/main" id="{4BFD1796-2F8B-4ED9-936A-10DB34E78CA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95274" y="5686380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bg1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941983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Full-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Off-slide Instructions">
            <a:extLst>
              <a:ext uri="{FF2B5EF4-FFF2-40B4-BE49-F238E27FC236}">
                <a16:creationId xmlns:a16="http://schemas.microsoft.com/office/drawing/2014/main" id="{271856CE-9F0A-4AD8-67ED-834B35F367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2338614" y="0"/>
            <a:ext cx="2812486" cy="2373888"/>
          </a:xfrm>
          <a:prstGeom prst="bracketPair">
            <a:avLst>
              <a:gd name="adj" fmla="val 4083"/>
            </a:avLst>
          </a:prstGeom>
          <a:solidFill>
            <a:srgbClr val="FFFF00">
              <a:alpha val="80000"/>
            </a:srgbClr>
          </a:solidFill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spAutoFit/>
          </a:bodyPr>
          <a:lstStyle/>
          <a:p>
            <a:pPr marL="0" indent="0" algn="l" defTabSz="914400" rtl="0" eaLnBrk="1" latinLnBrk="0" hangingPunct="1">
              <a:spcAft>
                <a:spcPts val="400"/>
              </a:spcAft>
              <a:buFont typeface="+mj-lt"/>
              <a:buNone/>
            </a:pPr>
            <a:r>
              <a:rPr lang="en-US" sz="1200" b="1" kern="12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If logo, copyright line, footer, etc. are missing:</a:t>
            </a:r>
          </a:p>
          <a:p>
            <a:pPr marL="177800" lvl="0" indent="-177800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Go to </a:t>
            </a:r>
            <a:r>
              <a:rPr lang="en-US" sz="800" b="1">
                <a:solidFill>
                  <a:srgbClr val="000000"/>
                </a:solidFill>
              </a:rPr>
              <a:t>View &gt; Slide Master</a:t>
            </a:r>
          </a:p>
          <a:p>
            <a:pPr marL="177800" lvl="0" indent="-177800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Copy logo and footer elements from Layout Master</a:t>
            </a:r>
          </a:p>
          <a:p>
            <a:pPr marL="177800" lvl="0" indent="-177800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Close Master View</a:t>
            </a:r>
          </a:p>
          <a:p>
            <a:pPr marL="177800" lvl="0" indent="-177800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Paste on slide</a:t>
            </a:r>
            <a:endParaRPr lang="en-US" sz="1200" b="1">
              <a:solidFill>
                <a:srgbClr val="000000"/>
              </a:solidFill>
            </a:endParaRPr>
          </a:p>
          <a:p>
            <a:pPr>
              <a:spcAft>
                <a:spcPts val="400"/>
              </a:spcAft>
            </a:pPr>
            <a:endParaRPr lang="en-US" sz="1200" b="1">
              <a:solidFill>
                <a:srgbClr val="000000"/>
              </a:solidFill>
            </a:endParaRPr>
          </a:p>
          <a:p>
            <a:pPr>
              <a:spcAft>
                <a:spcPts val="400"/>
              </a:spcAft>
            </a:pPr>
            <a:r>
              <a:rPr lang="en-US" sz="1200" b="1">
                <a:solidFill>
                  <a:srgbClr val="000000"/>
                </a:solidFill>
              </a:rPr>
              <a:t>To replace existing image:</a:t>
            </a:r>
          </a:p>
          <a:p>
            <a:pPr marL="174625" indent="-174625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Right-click image placeholder</a:t>
            </a:r>
          </a:p>
          <a:p>
            <a:pPr marL="174625" indent="-174625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Select </a:t>
            </a:r>
            <a:r>
              <a:rPr lang="en-US" sz="800" b="1">
                <a:solidFill>
                  <a:srgbClr val="000000"/>
                </a:solidFill>
              </a:rPr>
              <a:t>Change Picture</a:t>
            </a:r>
          </a:p>
          <a:p>
            <a:pPr marL="174625" indent="-174625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Select</a:t>
            </a:r>
            <a:r>
              <a:rPr lang="en-US" sz="800" b="1">
                <a:solidFill>
                  <a:srgbClr val="000000"/>
                </a:solidFill>
              </a:rPr>
              <a:t> desired </a:t>
            </a:r>
            <a:r>
              <a:rPr lang="en-US" sz="800">
                <a:solidFill>
                  <a:srgbClr val="000000"/>
                </a:solidFill>
              </a:rPr>
              <a:t>image file (.jpg, .</a:t>
            </a:r>
            <a:r>
              <a:rPr lang="en-US" sz="800" err="1">
                <a:solidFill>
                  <a:srgbClr val="000000"/>
                </a:solidFill>
              </a:rPr>
              <a:t>png</a:t>
            </a:r>
            <a:r>
              <a:rPr lang="en-US" sz="800">
                <a:solidFill>
                  <a:srgbClr val="000000"/>
                </a:solidFill>
              </a:rPr>
              <a:t>, .gif)</a:t>
            </a:r>
          </a:p>
          <a:p>
            <a:pPr marL="174625" indent="-174625">
              <a:spcAft>
                <a:spcPts val="400"/>
              </a:spcAft>
              <a:buFont typeface="+mj-lt"/>
              <a:buAutoNum type="arabicPeriod"/>
            </a:pPr>
            <a:endParaRPr lang="en-US" sz="800">
              <a:solidFill>
                <a:srgbClr val="000000"/>
              </a:solidFill>
            </a:endParaRPr>
          </a:p>
        </p:txBody>
      </p:sp>
      <p:sp>
        <p:nvSpPr>
          <p:cNvPr id="21" name="Picture Placeholder">
            <a:extLst>
              <a:ext uri="{FF2B5EF4-FFF2-40B4-BE49-F238E27FC236}">
                <a16:creationId xmlns:a16="http://schemas.microsoft.com/office/drawing/2014/main" id="{52F19A97-1265-FCED-7EE6-B54C73691BB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solidFill>
            <a:schemeClr val="tx1">
              <a:lumMod val="60000"/>
              <a:lumOff val="40000"/>
            </a:schemeClr>
          </a:solidFill>
        </p:spPr>
        <p:txBody>
          <a:bodyPr lIns="9144000" tIns="91440" rIns="0" anchor="t">
            <a:normAutofit/>
          </a:bodyPr>
          <a:lstStyle>
            <a:lvl1pPr marL="228600" indent="-228600" algn="l">
              <a:buFont typeface="Arial" panose="020B0604020202020204" pitchFamily="34" charset="0"/>
              <a:buNone/>
              <a:defRPr sz="1400" b="1">
                <a:solidFill>
                  <a:srgbClr val="FFFF00"/>
                </a:solidFill>
              </a:defRPr>
            </a:lvl1pPr>
          </a:lstStyle>
          <a:p>
            <a:r>
              <a:rPr lang="en-US"/>
              <a:t>To add image: </a:t>
            </a:r>
            <a:br>
              <a:rPr lang="en-US"/>
            </a:br>
            <a:r>
              <a:rPr lang="en-US"/>
              <a:t>1. Select image placeholder</a:t>
            </a:r>
            <a:br>
              <a:rPr lang="en-US"/>
            </a:br>
            <a:r>
              <a:rPr lang="en-US"/>
              <a:t>2. Drag/drop file or copy/paste image into slide (.jpg, .gif, .</a:t>
            </a:r>
            <a:r>
              <a:rPr lang="en-US" err="1"/>
              <a:t>png</a:t>
            </a:r>
            <a:r>
              <a:rPr lang="en-US"/>
              <a:t>)</a:t>
            </a:r>
            <a:br>
              <a:rPr lang="en-US"/>
            </a:br>
            <a:r>
              <a:rPr lang="en-US"/>
              <a:t>3. Right-click image and “Send to back”</a:t>
            </a:r>
          </a:p>
        </p:txBody>
      </p:sp>
      <p:sp>
        <p:nvSpPr>
          <p:cNvPr id="5" name="Confidential disclaimer">
            <a:extLst>
              <a:ext uri="{FF2B5EF4-FFF2-40B4-BE49-F238E27FC236}">
                <a16:creationId xmlns:a16="http://schemas.microsoft.com/office/drawing/2014/main" id="{5608DDC1-C01E-6D4A-6FBF-3A04BB3F9975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798636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7" name="Copyright Line">
            <a:extLst>
              <a:ext uri="{FF2B5EF4-FFF2-40B4-BE49-F238E27FC236}">
                <a16:creationId xmlns:a16="http://schemas.microsoft.com/office/drawing/2014/main" id="{94679E81-620B-431C-44E4-1FAE9486A5E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88558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EC7B7A51-3AAD-04A0-499C-1BDCF93D6A3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3"/>
          </p:nvPr>
        </p:nvSpPr>
        <p:spPr>
          <a:xfrm>
            <a:off x="3251200" y="6485399"/>
            <a:ext cx="3716336" cy="282957"/>
          </a:xfrm>
          <a:noFill/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22" name="Date Placeholder">
            <a:extLst>
              <a:ext uri="{FF2B5EF4-FFF2-40B4-BE49-F238E27FC236}">
                <a16:creationId xmlns:a16="http://schemas.microsoft.com/office/drawing/2014/main" id="{2FF3E537-3200-2E95-28C8-4005E0D0E4D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>
          <a:xfrm>
            <a:off x="292100" y="5036705"/>
            <a:ext cx="1744664" cy="282957"/>
          </a:xfrm>
        </p:spPr>
        <p:txBody>
          <a:bodyPr/>
          <a:lstStyle>
            <a:lvl1pPr>
              <a:defRPr sz="1200">
                <a:solidFill>
                  <a:srgbClr val="FFFFFF"/>
                </a:solidFill>
              </a:defRPr>
            </a:lvl1pPr>
          </a:lstStyle>
          <a:p>
            <a:fld id="{C75F7465-666F-4675-891F-E92434DCB819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Title/Dept Placeholder">
            <a:extLst>
              <a:ext uri="{FF2B5EF4-FFF2-40B4-BE49-F238E27FC236}">
                <a16:creationId xmlns:a16="http://schemas.microsoft.com/office/drawing/2014/main" id="{DADB3285-032F-C5EA-E4E6-C62E075FF1F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 hasCustomPrompt="1"/>
          </p:nvPr>
        </p:nvSpPr>
        <p:spPr>
          <a:xfrm>
            <a:off x="288558" y="4560602"/>
            <a:ext cx="8642082" cy="344385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Department</a:t>
            </a:r>
          </a:p>
        </p:txBody>
      </p:sp>
      <p:sp>
        <p:nvSpPr>
          <p:cNvPr id="2" name="Presenter Name Placeholder">
            <a:extLst>
              <a:ext uri="{FF2B5EF4-FFF2-40B4-BE49-F238E27FC236}">
                <a16:creationId xmlns:a16="http://schemas.microsoft.com/office/drawing/2014/main" id="{3417592A-6067-984F-549E-3833CDB76A5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288558" y="4192468"/>
            <a:ext cx="8642082" cy="344384"/>
          </a:xfrm>
        </p:spPr>
        <p:txBody>
          <a:bodyPr t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17" name="Subtitle Placeholder">
            <a:extLst>
              <a:ext uri="{FF2B5EF4-FFF2-40B4-BE49-F238E27FC236}">
                <a16:creationId xmlns:a16="http://schemas.microsoft.com/office/drawing/2014/main" id="{A4501D72-EE3C-0DA6-BA4B-C1D78BA85AE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288558" y="3114710"/>
            <a:ext cx="8642082" cy="83788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6" name="Title Placeholder">
            <a:extLst>
              <a:ext uri="{FF2B5EF4-FFF2-40B4-BE49-F238E27FC236}">
                <a16:creationId xmlns:a16="http://schemas.microsoft.com/office/drawing/2014/main" id="{7987C027-455E-4C45-138D-8334F13BBE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288558" y="635035"/>
            <a:ext cx="8642082" cy="23876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5400">
                <a:solidFill>
                  <a:srgbClr val="FFFFFF"/>
                </a:solidFill>
              </a:defRPr>
            </a:lvl1pPr>
          </a:lstStyle>
          <a:p>
            <a:r>
              <a:rPr lang="en-US"/>
              <a:t>Insert your presentation title here maximum of three lines</a:t>
            </a:r>
          </a:p>
        </p:txBody>
      </p:sp>
      <p:pic>
        <p:nvPicPr>
          <p:cNvPr id="6" name="NielsenIQ GFK lockup">
            <a:extLst>
              <a:ext uri="{FF2B5EF4-FFF2-40B4-BE49-F238E27FC236}">
                <a16:creationId xmlns:a16="http://schemas.microsoft.com/office/drawing/2014/main" id="{5418E13B-8AFF-E657-70EF-BADD9F33A38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86122" y="5539740"/>
            <a:ext cx="3377876" cy="753596"/>
          </a:xfrm>
          <a:prstGeom prst="rect">
            <a:avLst/>
          </a:prstGeom>
        </p:spPr>
      </p:pic>
      <p:pic>
        <p:nvPicPr>
          <p:cNvPr id="18" name="NielsenIQ logo+wordmark" hidden="1">
            <a:extLst>
              <a:ext uri="{FF2B5EF4-FFF2-40B4-BE49-F238E27FC236}">
                <a16:creationId xmlns:a16="http://schemas.microsoft.com/office/drawing/2014/main" id="{041ECC27-E626-2866-047D-40D91692A39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8559" y="5563212"/>
            <a:ext cx="2155408" cy="743616"/>
          </a:xfrm>
          <a:prstGeom prst="rect">
            <a:avLst/>
          </a:prstGeom>
        </p:spPr>
      </p:pic>
      <p:sp>
        <p:nvSpPr>
          <p:cNvPr id="38" name="Nielsen wordmark" hidden="1">
            <a:extLst>
              <a:ext uri="{FF2B5EF4-FFF2-40B4-BE49-F238E27FC236}">
                <a16:creationId xmlns:a16="http://schemas.microsoft.com/office/drawing/2014/main" id="{6D5C1F9E-5298-0893-F83B-8DC3C0EC17D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95274" y="5686380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bg1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25821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">
            <a:extLst>
              <a:ext uri="{FF2B5EF4-FFF2-40B4-BE49-F238E27FC236}">
                <a16:creationId xmlns:a16="http://schemas.microsoft.com/office/drawing/2014/main" id="{9289CF3B-0AC6-458E-9C42-399D222920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911424" y="1485729"/>
            <a:ext cx="3456384" cy="2879375"/>
          </a:xfrm>
          <a:custGeom>
            <a:avLst/>
            <a:gdLst>
              <a:gd name="T0" fmla="*/ 0 w 2227"/>
              <a:gd name="T1" fmla="*/ 0 h 2226"/>
              <a:gd name="T2" fmla="*/ 2227 w 2227"/>
              <a:gd name="T3" fmla="*/ 0 h 2226"/>
              <a:gd name="T4" fmla="*/ 2227 w 2227"/>
              <a:gd name="T5" fmla="*/ 2226 h 2226"/>
              <a:gd name="T6" fmla="*/ 371 w 2227"/>
              <a:gd name="T7" fmla="*/ 1856 h 2226"/>
              <a:gd name="T8" fmla="*/ 0 w 2227"/>
              <a:gd name="T9" fmla="*/ 0 h 2226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1659 w 10000"/>
              <a:gd name="connsiteY3" fmla="*/ 7999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1680 w 10000"/>
              <a:gd name="connsiteY3" fmla="*/ 7999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10000" y="0"/>
                </a:lnTo>
                <a:lnTo>
                  <a:pt x="10000" y="10000"/>
                </a:lnTo>
                <a:lnTo>
                  <a:pt x="1680" y="7999"/>
                </a:lnTo>
                <a:lnTo>
                  <a:pt x="0" y="0"/>
                </a:lnTo>
                <a:close/>
              </a:path>
            </a:pathLst>
          </a:custGeom>
          <a:solidFill>
            <a:srgbClr val="6A757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B5D77837-F372-41E3-A703-01233BC36B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43472" y="1743199"/>
            <a:ext cx="2664320" cy="461665"/>
          </a:xfrm>
        </p:spPr>
        <p:txBody>
          <a:bodyPr/>
          <a:lstStyle>
            <a:lvl1pPr algn="r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17" name="Content">
            <a:extLst>
              <a:ext uri="{FF2B5EF4-FFF2-40B4-BE49-F238E27FC236}">
                <a16:creationId xmlns:a16="http://schemas.microsoft.com/office/drawing/2014/main" id="{72A9419C-8763-4B76-A999-AC385D6948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943872" y="1484784"/>
            <a:ext cx="6912768" cy="4608512"/>
          </a:xfrm>
        </p:spPr>
        <p:txBody>
          <a:bodyPr/>
          <a:lstStyle>
            <a:lvl1pPr marL="457200" indent="-457200">
              <a:buSzPct val="100000"/>
              <a:buFont typeface="Arial" panose="020B0604020202020204" pitchFamily="34" charset="0"/>
              <a:buAutoNum type="arabicPlain"/>
              <a:tabLst>
                <a:tab pos="6543675" algn="r"/>
              </a:tabLst>
              <a:defRPr sz="20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1pPr>
            <a:lvl2pPr marL="714375" indent="-219075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6543675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2pPr>
            <a:lvl3pPr marL="714375" indent="-219075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6543675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3pPr>
            <a:lvl4pPr marL="714375" indent="-219075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6543675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4pPr>
            <a:lvl5pPr marL="714375" indent="-219075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6543675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5pPr>
            <a:lvl6pPr marL="714375" indent="-219075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6543675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6pPr>
            <a:lvl7pPr marL="714375" indent="-219075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6543675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7pPr>
            <a:lvl8pPr marL="714375" indent="-219075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6543675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8pPr>
            <a:lvl9pPr marL="714375" indent="-219075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6543675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9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9" name="Source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87488" y="6525344"/>
            <a:ext cx="864096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401DE6E-FF1C-2A70-98BC-28AEB67104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1"/>
          </p:nvPr>
        </p:nvSpPr>
        <p:spPr>
          <a:xfrm>
            <a:off x="335360" y="6525000"/>
            <a:ext cx="1080120" cy="144000"/>
          </a:xfrm>
        </p:spPr>
        <p:txBody>
          <a:bodyPr/>
          <a:lstStyle/>
          <a:p>
            <a:fld id="{7CA63769-6100-48F8-A365-ABA367A6A60A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CE8397C-1DFA-4E81-5DA9-2B0C7A8442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8173ECE-27F4-E0B4-78D7-45B96ACB81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57975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FD1F3F95-8F1D-9A9D-41FB-B771E151224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/>
          <a:p>
            <a:fld id="{3E04DF46-C0DC-4ADC-9A6F-918CC4703A43}" type="slidenum">
              <a:rPr lang="en-GB" smtClean="0"/>
              <a:t>‹#›</a:t>
            </a:fld>
            <a:endParaRPr lang="en-GB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9F5B23B2-FEF2-DCC0-334E-3B80B3A03AE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35847737-8381-A612-E054-E1C098244CD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96FE6D9B-E395-4A22-A7DB-AC096A22C7CA}" type="datetime1">
              <a:rPr lang="en-GB" smtClean="0"/>
              <a:t>12/02/2026</a:t>
            </a:fld>
            <a:endParaRPr lang="en-GB"/>
          </a:p>
        </p:txBody>
      </p:sp>
      <p:sp>
        <p:nvSpPr>
          <p:cNvPr id="13" name="Source Placeholder">
            <a:extLst>
              <a:ext uri="{FF2B5EF4-FFF2-40B4-BE49-F238E27FC236}">
                <a16:creationId xmlns:a16="http://schemas.microsoft.com/office/drawing/2014/main" id="{81E36804-955F-07A1-88DF-9B603E5E262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3" name="Content Placeholder">
            <a:extLst>
              <a:ext uri="{FF2B5EF4-FFF2-40B4-BE49-F238E27FC236}">
                <a16:creationId xmlns:a16="http://schemas.microsoft.com/office/drawing/2014/main" id="{04974C89-D6D3-D29A-E142-BB21F4F82BF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Subtitle Placeholder">
            <a:extLst>
              <a:ext uri="{FF2B5EF4-FFF2-40B4-BE49-F238E27FC236}">
                <a16:creationId xmlns:a16="http://schemas.microsoft.com/office/drawing/2014/main" id="{D7CEFD0E-11F5-45EC-2759-A609F998C67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11" name="Title Placeholder">
            <a:extLst>
              <a:ext uri="{FF2B5EF4-FFF2-40B4-BE49-F238E27FC236}">
                <a16:creationId xmlns:a16="http://schemas.microsoft.com/office/drawing/2014/main" id="{063DF22F-A0F5-4EAA-7380-343ABC31C9B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your slide title in Arial Bold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744658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tatic Light Bkgd">
            <a:extLst>
              <a:ext uri="{FF2B5EF4-FFF2-40B4-BE49-F238E27FC236}">
                <a16:creationId xmlns:a16="http://schemas.microsoft.com/office/drawing/2014/main" id="{D1093FDC-ACBE-C97A-79EC-30B506F3513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0" name="Base Rule">
            <a:extLst>
              <a:ext uri="{FF2B5EF4-FFF2-40B4-BE49-F238E27FC236}">
                <a16:creationId xmlns:a16="http://schemas.microsoft.com/office/drawing/2014/main" id="{BF009615-489A-5DA8-222F-36CEB46D77B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292100" y="6395755"/>
            <a:ext cx="1160780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B92DD1CF-7FD4-0FD2-8A65-D0E8F92598D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/>
          <a:p>
            <a:fld id="{3E04DF46-C0DC-4ADC-9A6F-918CC4703A4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Copyright Line">
            <a:extLst>
              <a:ext uri="{FF2B5EF4-FFF2-40B4-BE49-F238E27FC236}">
                <a16:creationId xmlns:a16="http://schemas.microsoft.com/office/drawing/2014/main" id="{D18F1FC4-106D-3BF8-BC65-D648A021FC0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09" y="6526849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>
                <a:solidFill>
                  <a:srgbClr val="BBBBBB"/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rgbClr val="BBBBBB"/>
                </a:solidFill>
              </a:rPr>
              <a:t>2026</a:t>
            </a:fld>
            <a:r>
              <a:rPr lang="en-US" sz="700">
                <a:solidFill>
                  <a:srgbClr val="BBBBBB"/>
                </a:solidFill>
              </a:rPr>
              <a:t> Nielsen Consumer LLC. All Rights Reserved.</a:t>
            </a:r>
          </a:p>
        </p:txBody>
      </p:sp>
      <p:sp>
        <p:nvSpPr>
          <p:cNvPr id="9" name="Confidential disclaimer">
            <a:extLst>
              <a:ext uri="{FF2B5EF4-FFF2-40B4-BE49-F238E27FC236}">
                <a16:creationId xmlns:a16="http://schemas.microsoft.com/office/drawing/2014/main" id="{60EB3927-CDFF-ACD9-F0B3-0FEB504E449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24" name="Footer Placeholder">
            <a:extLst>
              <a:ext uri="{FF2B5EF4-FFF2-40B4-BE49-F238E27FC236}">
                <a16:creationId xmlns:a16="http://schemas.microsoft.com/office/drawing/2014/main" id="{0F37A136-F043-61EC-31AE-F924E1D07F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3" name="Date Placeholder">
            <a:extLst>
              <a:ext uri="{FF2B5EF4-FFF2-40B4-BE49-F238E27FC236}">
                <a16:creationId xmlns:a16="http://schemas.microsoft.com/office/drawing/2014/main" id="{F83B0E1B-C679-1FAD-01A8-07BEC0BB80C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F42DF71F-30BE-44BA-A536-D8EF81D0364C}" type="datetime1">
              <a:rPr lang="en-GB" smtClean="0"/>
              <a:pPr/>
              <a:t>12/02/2026</a:t>
            </a:fld>
            <a:endParaRPr lang="en-GB"/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811C7246-8A71-F257-DB0D-3E1F23CE69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/>
          </p:nvPr>
        </p:nvSpPr>
        <p:spPr>
          <a:xfrm>
            <a:off x="292100" y="3945964"/>
            <a:ext cx="7121979" cy="1500187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55555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D9E3A23B-F3DB-B7EF-DCB8-D944C23E6D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1219200"/>
            <a:ext cx="7121979" cy="2401887"/>
          </a:xfrm>
        </p:spPr>
        <p:txBody>
          <a:bodyPr anchor="b">
            <a:noAutofit/>
          </a:bodyPr>
          <a:lstStyle>
            <a:lvl1pPr>
              <a:defRPr sz="4400">
                <a:solidFill>
                  <a:srgbClr val="555555"/>
                </a:solidFill>
              </a:defRPr>
            </a:lvl1pPr>
          </a:lstStyle>
          <a:p>
            <a:r>
              <a:rPr lang="en-US"/>
              <a:t>Insert your section header title here maximum of three lines</a:t>
            </a:r>
            <a:endParaRPr lang="en-GB"/>
          </a:p>
        </p:txBody>
      </p:sp>
      <p:pic>
        <p:nvPicPr>
          <p:cNvPr id="4" name="NIQ GFK Lockup">
            <a:extLst>
              <a:ext uri="{FF2B5EF4-FFF2-40B4-BE49-F238E27FC236}">
                <a16:creationId xmlns:a16="http://schemas.microsoft.com/office/drawing/2014/main" id="{7DAD8AF9-6DCC-3308-0439-101A1738A84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2626" y="6462285"/>
            <a:ext cx="906224" cy="329184"/>
          </a:xfrm>
          <a:prstGeom prst="rect">
            <a:avLst/>
          </a:prstGeom>
        </p:spPr>
      </p:pic>
      <p:pic>
        <p:nvPicPr>
          <p:cNvPr id="26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B813BB00-9632-73B0-6654-E6FB69F66A0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130" y="6495154"/>
            <a:ext cx="781433" cy="269593"/>
          </a:xfrm>
          <a:prstGeom prst="rect">
            <a:avLst/>
          </a:prstGeom>
        </p:spPr>
      </p:pic>
      <p:pic>
        <p:nvPicPr>
          <p:cNvPr id="5" name="NIQ Logo" hidden="1">
            <a:extLst>
              <a:ext uri="{FF2B5EF4-FFF2-40B4-BE49-F238E27FC236}">
                <a16:creationId xmlns:a16="http://schemas.microsoft.com/office/drawing/2014/main" id="{3FE5C232-E7B5-5DDF-A7C7-8FF7A557AEE9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2100" y="6495101"/>
            <a:ext cx="645459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747402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tatic Blue Bkgd">
            <a:extLst>
              <a:ext uri="{FF2B5EF4-FFF2-40B4-BE49-F238E27FC236}">
                <a16:creationId xmlns:a16="http://schemas.microsoft.com/office/drawing/2014/main" id="{D1093FDC-ACBE-C97A-79EC-30B506F3513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D6D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0" name="Base Rule">
            <a:extLst>
              <a:ext uri="{FF2B5EF4-FFF2-40B4-BE49-F238E27FC236}">
                <a16:creationId xmlns:a16="http://schemas.microsoft.com/office/drawing/2014/main" id="{BF009615-489A-5DA8-222F-36CEB46D77B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292100" y="6395755"/>
            <a:ext cx="11607801" cy="0"/>
          </a:xfrm>
          <a:prstGeom prst="line">
            <a:avLst/>
          </a:prstGeom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4E97C96-6264-45A7-BD31-3F850D5B404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3E04DF46-C0DC-4ADC-9A6F-918CC4703A4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Copyright Line">
            <a:extLst>
              <a:ext uri="{FF2B5EF4-FFF2-40B4-BE49-F238E27FC236}">
                <a16:creationId xmlns:a16="http://schemas.microsoft.com/office/drawing/2014/main" id="{D18F1FC4-106D-3BF8-BC65-D648A021FC0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09" y="6526849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>
                <a:solidFill>
                  <a:srgbClr val="BBBBBB"/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rgbClr val="BBBBBB"/>
                </a:solidFill>
              </a:rPr>
              <a:t>2026</a:t>
            </a:fld>
            <a:r>
              <a:rPr lang="en-US" sz="700">
                <a:solidFill>
                  <a:srgbClr val="BBBBBB"/>
                </a:solidFill>
              </a:rPr>
              <a:t> Nielsen Consumer LLC. All Rights Reserved.</a:t>
            </a:r>
          </a:p>
        </p:txBody>
      </p:sp>
      <p:sp>
        <p:nvSpPr>
          <p:cNvPr id="11" name="Confidential disclaimer">
            <a:extLst>
              <a:ext uri="{FF2B5EF4-FFF2-40B4-BE49-F238E27FC236}">
                <a16:creationId xmlns:a16="http://schemas.microsoft.com/office/drawing/2014/main" id="{6DA018A3-AFD9-D355-AE28-82676195255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9E3F8F0F-7B47-2BB9-7F93-A25C99023E1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solidFill>
            <a:schemeClr val="accent1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51D28747-A5DD-1E44-1383-00C1095A0E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DE0BD3D1-6E87-4D3B-832D-3A9C60D16F09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811C7246-8A71-F257-DB0D-3E1F23CE69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/>
          </p:nvPr>
        </p:nvSpPr>
        <p:spPr>
          <a:xfrm>
            <a:off x="292100" y="3945964"/>
            <a:ext cx="7121979" cy="1500187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D9E3A23B-F3DB-B7EF-DCB8-D944C23E6D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1219200"/>
            <a:ext cx="7121979" cy="2401887"/>
          </a:xfrm>
        </p:spPr>
        <p:txBody>
          <a:bodyPr anchor="b">
            <a:noAutofit/>
          </a:bodyPr>
          <a:lstStyle>
            <a:lvl1pPr>
              <a:defRPr sz="4400">
                <a:solidFill>
                  <a:srgbClr val="FFFFFF"/>
                </a:solidFill>
              </a:defRPr>
            </a:lvl1pPr>
          </a:lstStyle>
          <a:p>
            <a:r>
              <a:rPr lang="en-US"/>
              <a:t>Insert your section header title here maximum of three lines</a:t>
            </a:r>
            <a:endParaRPr lang="en-GB"/>
          </a:p>
        </p:txBody>
      </p:sp>
      <p:pic>
        <p:nvPicPr>
          <p:cNvPr id="14" name="NIQ GFK Lockup">
            <a:extLst>
              <a:ext uri="{FF2B5EF4-FFF2-40B4-BE49-F238E27FC236}">
                <a16:creationId xmlns:a16="http://schemas.microsoft.com/office/drawing/2014/main" id="{EAEBAA35-FD7E-BA1F-342A-81B244F88CF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 rotWithShape="1">
          <a:blip r:embed="rId2"/>
          <a:srcRect l="23" r="23"/>
          <a:stretch/>
        </p:blipFill>
        <p:spPr>
          <a:xfrm>
            <a:off x="302626" y="6462285"/>
            <a:ext cx="906224" cy="329184"/>
          </a:xfrm>
          <a:prstGeom prst="rect">
            <a:avLst/>
          </a:prstGeom>
        </p:spPr>
      </p:pic>
      <p:pic>
        <p:nvPicPr>
          <p:cNvPr id="25" name="NielsenIQ logo+wordmark" hidden="1">
            <a:extLst>
              <a:ext uri="{FF2B5EF4-FFF2-40B4-BE49-F238E27FC236}">
                <a16:creationId xmlns:a16="http://schemas.microsoft.com/office/drawing/2014/main" id="{598FBCD8-A3EE-4A06-6724-A1F5D702756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0132" y="6495154"/>
            <a:ext cx="781428" cy="269593"/>
          </a:xfrm>
          <a:prstGeom prst="rect">
            <a:avLst/>
          </a:prstGeom>
        </p:spPr>
      </p:pic>
      <p:pic>
        <p:nvPicPr>
          <p:cNvPr id="22" name="NIQ Logo" hidden="1">
            <a:extLst>
              <a:ext uri="{FF2B5EF4-FFF2-40B4-BE49-F238E27FC236}">
                <a16:creationId xmlns:a16="http://schemas.microsoft.com/office/drawing/2014/main" id="{C3AC3518-07F7-E20B-4D4C-9D6C3D043778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2100" y="6495101"/>
            <a:ext cx="645459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51965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tatic Dark Bkgd">
            <a:extLst>
              <a:ext uri="{FF2B5EF4-FFF2-40B4-BE49-F238E27FC236}">
                <a16:creationId xmlns:a16="http://schemas.microsoft.com/office/drawing/2014/main" id="{D1093FDC-ACBE-C97A-79EC-30B506F3513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60A4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0" name="Base Rule">
            <a:extLst>
              <a:ext uri="{FF2B5EF4-FFF2-40B4-BE49-F238E27FC236}">
                <a16:creationId xmlns:a16="http://schemas.microsoft.com/office/drawing/2014/main" id="{BF009615-489A-5DA8-222F-36CEB46D77B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292100" y="6395755"/>
            <a:ext cx="11607801" cy="0"/>
          </a:xfrm>
          <a:prstGeom prst="line">
            <a:avLst/>
          </a:prstGeom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4E97C96-6264-45A7-BD31-3F850D5B404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3E04DF46-C0DC-4ADC-9A6F-918CC4703A4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Copyright Line">
            <a:extLst>
              <a:ext uri="{FF2B5EF4-FFF2-40B4-BE49-F238E27FC236}">
                <a16:creationId xmlns:a16="http://schemas.microsoft.com/office/drawing/2014/main" id="{D18F1FC4-106D-3BF8-BC65-D648A021FC0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09" y="6526849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>
                <a:solidFill>
                  <a:srgbClr val="BBBBBB"/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rgbClr val="BBBBBB"/>
                </a:solidFill>
              </a:rPr>
              <a:t>2026</a:t>
            </a:fld>
            <a:r>
              <a:rPr lang="en-US" sz="700">
                <a:solidFill>
                  <a:srgbClr val="BBBBBB"/>
                </a:solidFill>
              </a:rPr>
              <a:t> Nielsen Consumer LLC. All Rights Reserved.</a:t>
            </a:r>
          </a:p>
        </p:txBody>
      </p:sp>
      <p:sp>
        <p:nvSpPr>
          <p:cNvPr id="11" name="Confidential disclaimer">
            <a:extLst>
              <a:ext uri="{FF2B5EF4-FFF2-40B4-BE49-F238E27FC236}">
                <a16:creationId xmlns:a16="http://schemas.microsoft.com/office/drawing/2014/main" id="{E92240A2-16A2-92E0-CB79-8A8DDCBFE3B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9E3F8F0F-7B47-2BB9-7F93-A25C99023E1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solidFill>
            <a:schemeClr val="tx2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51D28747-A5DD-1E44-1383-00C1095A0E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3E59825-7B6A-49C3-B207-8F8E163BC2C4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811C7246-8A71-F257-DB0D-3E1F23CE69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/>
          </p:nvPr>
        </p:nvSpPr>
        <p:spPr>
          <a:xfrm>
            <a:off x="292100" y="3945964"/>
            <a:ext cx="7121979" cy="1500187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D9E3A23B-F3DB-B7EF-DCB8-D944C23E6D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1219200"/>
            <a:ext cx="7121979" cy="2401887"/>
          </a:xfrm>
        </p:spPr>
        <p:txBody>
          <a:bodyPr anchor="b">
            <a:noAutofit/>
          </a:bodyPr>
          <a:lstStyle>
            <a:lvl1pPr>
              <a:defRPr sz="4400">
                <a:solidFill>
                  <a:srgbClr val="FFFFFF"/>
                </a:solidFill>
              </a:defRPr>
            </a:lvl1pPr>
          </a:lstStyle>
          <a:p>
            <a:r>
              <a:rPr lang="en-US"/>
              <a:t>Insert your section header title here maximum of three lines</a:t>
            </a:r>
            <a:endParaRPr lang="en-GB"/>
          </a:p>
        </p:txBody>
      </p:sp>
      <p:pic>
        <p:nvPicPr>
          <p:cNvPr id="9" name="NIQ GFK Lockup">
            <a:extLst>
              <a:ext uri="{FF2B5EF4-FFF2-40B4-BE49-F238E27FC236}">
                <a16:creationId xmlns:a16="http://schemas.microsoft.com/office/drawing/2014/main" id="{F72C93F2-029A-F706-FCA1-C00C6620AA84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/>
          <a:srcRect l="23" r="23"/>
          <a:stretch/>
        </p:blipFill>
        <p:spPr>
          <a:xfrm>
            <a:off x="302626" y="6462285"/>
            <a:ext cx="906224" cy="329184"/>
          </a:xfrm>
          <a:prstGeom prst="rect">
            <a:avLst/>
          </a:prstGeom>
        </p:spPr>
      </p:pic>
      <p:pic>
        <p:nvPicPr>
          <p:cNvPr id="24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30EA2721-2669-7CC1-263F-E48ACB34B73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130" y="6495154"/>
            <a:ext cx="781433" cy="269593"/>
          </a:xfrm>
          <a:prstGeom prst="rect">
            <a:avLst/>
          </a:prstGeom>
        </p:spPr>
      </p:pic>
      <p:pic>
        <p:nvPicPr>
          <p:cNvPr id="22" name="NIQ Logo" hidden="1">
            <a:extLst>
              <a:ext uri="{FF2B5EF4-FFF2-40B4-BE49-F238E27FC236}">
                <a16:creationId xmlns:a16="http://schemas.microsoft.com/office/drawing/2014/main" id="{C2F586F8-1BDB-2AFF-F8FE-C01DC3808778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2100" y="6495101"/>
            <a:ext cx="645459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1192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Sideba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tatic Light Bkgd">
            <a:extLst>
              <a:ext uri="{FF2B5EF4-FFF2-40B4-BE49-F238E27FC236}">
                <a16:creationId xmlns:a16="http://schemas.microsoft.com/office/drawing/2014/main" id="{D1093FDC-ACBE-C97A-79EC-30B506F3513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Block Bkgd">
            <a:extLst>
              <a:ext uri="{FF2B5EF4-FFF2-40B4-BE49-F238E27FC236}">
                <a16:creationId xmlns:a16="http://schemas.microsoft.com/office/drawing/2014/main" id="{61051253-1566-C6AD-277E-C41693FE3B9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400291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err="1"/>
          </a:p>
        </p:txBody>
      </p:sp>
      <p:cxnSp>
        <p:nvCxnSpPr>
          <p:cNvPr id="16" name="Base Rule">
            <a:extLst>
              <a:ext uri="{FF2B5EF4-FFF2-40B4-BE49-F238E27FC236}">
                <a16:creationId xmlns:a16="http://schemas.microsoft.com/office/drawing/2014/main" id="{A76E5B64-AFD0-1002-8187-608F612A25A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4237038" y="6395755"/>
            <a:ext cx="7662863" cy="0"/>
          </a:xfrm>
          <a:prstGeom prst="line">
            <a:avLst/>
          </a:prstGeom>
          <a:ln w="12700">
            <a:solidFill>
              <a:srgbClr val="5555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lide Number Placeholder">
            <a:extLst>
              <a:ext uri="{FF2B5EF4-FFF2-40B4-BE49-F238E27FC236}">
                <a16:creationId xmlns:a16="http://schemas.microsoft.com/office/drawing/2014/main" id="{6FB508FF-12E5-30CD-260F-1D79AD32367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85399"/>
            <a:ext cx="404321" cy="282957"/>
          </a:xfrm>
        </p:spPr>
        <p:txBody>
          <a:bodyPr/>
          <a:lstStyle/>
          <a:p>
            <a:fld id="{3E04DF46-C0DC-4ADC-9A6F-918CC4703A4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Copyright Line">
            <a:extLst>
              <a:ext uri="{FF2B5EF4-FFF2-40B4-BE49-F238E27FC236}">
                <a16:creationId xmlns:a16="http://schemas.microsoft.com/office/drawing/2014/main" id="{148E64DD-C38D-F907-E20C-F3A4311DD32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09" y="6526850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>
                <a:solidFill>
                  <a:schemeClr val="tx1">
                    <a:lumMod val="40000"/>
                    <a:lumOff val="60000"/>
                  </a:schemeClr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2026</a:t>
            </a:fld>
            <a:r>
              <a:rPr lang="en-US" sz="700">
                <a:solidFill>
                  <a:schemeClr val="tx1">
                    <a:lumMod val="40000"/>
                    <a:lumOff val="60000"/>
                  </a:schemeClr>
                </a:solidFill>
              </a:rPr>
              <a:t> Nielsen Consumer LLC. All Rights Reserved.</a:t>
            </a:r>
          </a:p>
        </p:txBody>
      </p:sp>
      <p:sp>
        <p:nvSpPr>
          <p:cNvPr id="14" name="Confidential disclaimer">
            <a:extLst>
              <a:ext uri="{FF2B5EF4-FFF2-40B4-BE49-F238E27FC236}">
                <a16:creationId xmlns:a16="http://schemas.microsoft.com/office/drawing/2014/main" id="{8190ED14-46E2-2B63-6E09-DC52ACE59C3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26" name="Footer Placeholder">
            <a:extLst>
              <a:ext uri="{FF2B5EF4-FFF2-40B4-BE49-F238E27FC236}">
                <a16:creationId xmlns:a16="http://schemas.microsoft.com/office/drawing/2014/main" id="{E183FCE9-1380-C908-3210-D1CC81C316C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4237038" y="6485399"/>
            <a:ext cx="3056524" cy="282957"/>
          </a:xfrm>
        </p:spPr>
        <p:txBody>
          <a:bodyPr/>
          <a:lstStyle/>
          <a:p>
            <a:endParaRPr lang="en-GB"/>
          </a:p>
        </p:txBody>
      </p:sp>
      <p:sp>
        <p:nvSpPr>
          <p:cNvPr id="10" name="Source Placeholder">
            <a:extLst>
              <a:ext uri="{FF2B5EF4-FFF2-40B4-BE49-F238E27FC236}">
                <a16:creationId xmlns:a16="http://schemas.microsoft.com/office/drawing/2014/main" id="{77FED749-9C39-81DD-7428-E91EAF740A9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4237036" y="6108700"/>
            <a:ext cx="7662864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13" name="Content Placeholder">
            <a:extLst>
              <a:ext uri="{FF2B5EF4-FFF2-40B4-BE49-F238E27FC236}">
                <a16:creationId xmlns:a16="http://schemas.microsoft.com/office/drawing/2014/main" id="{4EA26CDB-5FFD-8E65-BB9F-B583607F097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5"/>
          </p:nvPr>
        </p:nvSpPr>
        <p:spPr>
          <a:xfrm>
            <a:off x="4237038" y="1219200"/>
            <a:ext cx="7662862" cy="4457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811C7246-8A71-F257-DB0D-3E1F23CE69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0" y="3945964"/>
            <a:ext cx="3409043" cy="1500187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add section subtitle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D9E3A23B-F3DB-B7EF-DCB8-D944C23E6D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1219200"/>
            <a:ext cx="3409043" cy="2401887"/>
          </a:xfrm>
        </p:spPr>
        <p:txBody>
          <a:bodyPr anchor="b">
            <a:noAutofit/>
          </a:bodyPr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header</a:t>
            </a:r>
            <a:endParaRPr lang="en-GB"/>
          </a:p>
        </p:txBody>
      </p:sp>
      <p:pic>
        <p:nvPicPr>
          <p:cNvPr id="4" name="NIQ GFK Lockup">
            <a:extLst>
              <a:ext uri="{FF2B5EF4-FFF2-40B4-BE49-F238E27FC236}">
                <a16:creationId xmlns:a16="http://schemas.microsoft.com/office/drawing/2014/main" id="{EA4F8456-F302-1F9F-CB79-F96F7FF403B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2626" y="6462285"/>
            <a:ext cx="906224" cy="329184"/>
          </a:xfrm>
          <a:prstGeom prst="rect">
            <a:avLst/>
          </a:prstGeom>
        </p:spPr>
      </p:pic>
      <p:pic>
        <p:nvPicPr>
          <p:cNvPr id="5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E5214B10-6ABB-0EB3-4E33-9E9E477DD15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130" y="6495154"/>
            <a:ext cx="781433" cy="269593"/>
          </a:xfrm>
          <a:prstGeom prst="rect">
            <a:avLst/>
          </a:prstGeom>
        </p:spPr>
      </p:pic>
      <p:pic>
        <p:nvPicPr>
          <p:cNvPr id="6" name="NIQ Logo" hidden="1">
            <a:extLst>
              <a:ext uri="{FF2B5EF4-FFF2-40B4-BE49-F238E27FC236}">
                <a16:creationId xmlns:a16="http://schemas.microsoft.com/office/drawing/2014/main" id="{A9B1FD76-BF8D-8EEE-6EC7-E0AC284E58CD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2100" y="6495101"/>
            <a:ext cx="645459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00202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Blue Sideba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tatic Light Bkgd">
            <a:extLst>
              <a:ext uri="{FF2B5EF4-FFF2-40B4-BE49-F238E27FC236}">
                <a16:creationId xmlns:a16="http://schemas.microsoft.com/office/drawing/2014/main" id="{D1093FDC-ACBE-C97A-79EC-30B506F3513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Block Bkgd">
            <a:extLst>
              <a:ext uri="{FF2B5EF4-FFF2-40B4-BE49-F238E27FC236}">
                <a16:creationId xmlns:a16="http://schemas.microsoft.com/office/drawing/2014/main" id="{61051253-1566-C6AD-277E-C41693FE3B9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400291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err="1"/>
          </a:p>
        </p:txBody>
      </p:sp>
      <p:cxnSp>
        <p:nvCxnSpPr>
          <p:cNvPr id="16" name="Base Rule">
            <a:extLst>
              <a:ext uri="{FF2B5EF4-FFF2-40B4-BE49-F238E27FC236}">
                <a16:creationId xmlns:a16="http://schemas.microsoft.com/office/drawing/2014/main" id="{A76E5B64-AFD0-1002-8187-608F612A25A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4237038" y="6395755"/>
            <a:ext cx="7662863" cy="0"/>
          </a:xfrm>
          <a:prstGeom prst="line">
            <a:avLst/>
          </a:prstGeom>
          <a:ln w="12700">
            <a:solidFill>
              <a:srgbClr val="5555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lide Number Placeholder">
            <a:extLst>
              <a:ext uri="{FF2B5EF4-FFF2-40B4-BE49-F238E27FC236}">
                <a16:creationId xmlns:a16="http://schemas.microsoft.com/office/drawing/2014/main" id="{6FB508FF-12E5-30CD-260F-1D79AD32367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/>
          <a:p>
            <a:fld id="{3E04DF46-C0DC-4ADC-9A6F-918CC4703A4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Copyright Line">
            <a:extLst>
              <a:ext uri="{FF2B5EF4-FFF2-40B4-BE49-F238E27FC236}">
                <a16:creationId xmlns:a16="http://schemas.microsoft.com/office/drawing/2014/main" id="{785C4202-84F8-8C2C-1D92-57E97078C48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09" y="6526850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>
                <a:solidFill>
                  <a:schemeClr val="tx1">
                    <a:lumMod val="40000"/>
                    <a:lumOff val="60000"/>
                  </a:schemeClr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2026</a:t>
            </a:fld>
            <a:r>
              <a:rPr lang="en-US" sz="700">
                <a:solidFill>
                  <a:schemeClr val="tx1">
                    <a:lumMod val="40000"/>
                    <a:lumOff val="60000"/>
                  </a:schemeClr>
                </a:solidFill>
              </a:rPr>
              <a:t> Nielsen Consumer LLC. All Rights Reserved.</a:t>
            </a:r>
          </a:p>
        </p:txBody>
      </p:sp>
      <p:sp>
        <p:nvSpPr>
          <p:cNvPr id="13" name="Confidential disclaimer">
            <a:extLst>
              <a:ext uri="{FF2B5EF4-FFF2-40B4-BE49-F238E27FC236}">
                <a16:creationId xmlns:a16="http://schemas.microsoft.com/office/drawing/2014/main" id="{E096164C-17A9-3CC9-A52F-D0B4EEA62BD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26" name="Footer Placeholder">
            <a:extLst>
              <a:ext uri="{FF2B5EF4-FFF2-40B4-BE49-F238E27FC236}">
                <a16:creationId xmlns:a16="http://schemas.microsoft.com/office/drawing/2014/main" id="{E183FCE9-1380-C908-3210-D1CC81C316C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4237038" y="6485399"/>
            <a:ext cx="3056523" cy="282957"/>
          </a:xfrm>
        </p:spPr>
        <p:txBody>
          <a:bodyPr/>
          <a:lstStyle/>
          <a:p>
            <a:endParaRPr lang="en-GB"/>
          </a:p>
        </p:txBody>
      </p:sp>
      <p:sp>
        <p:nvSpPr>
          <p:cNvPr id="4" name="Source Placeholder">
            <a:extLst>
              <a:ext uri="{FF2B5EF4-FFF2-40B4-BE49-F238E27FC236}">
                <a16:creationId xmlns:a16="http://schemas.microsoft.com/office/drawing/2014/main" id="{7336FA02-79CA-726F-511F-D79250B8761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4237036" y="6108700"/>
            <a:ext cx="7662864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10" name="Content Placeholder">
            <a:extLst>
              <a:ext uri="{FF2B5EF4-FFF2-40B4-BE49-F238E27FC236}">
                <a16:creationId xmlns:a16="http://schemas.microsoft.com/office/drawing/2014/main" id="{F249C353-5497-424D-4C80-DA025B85CF0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5"/>
          </p:nvPr>
        </p:nvSpPr>
        <p:spPr>
          <a:xfrm>
            <a:off x="4237038" y="1219200"/>
            <a:ext cx="7662862" cy="4457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811C7246-8A71-F257-DB0D-3E1F23CE69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0" y="3945964"/>
            <a:ext cx="3409043" cy="1500187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add section subtitle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D9E3A23B-F3DB-B7EF-DCB8-D944C23E6D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1219200"/>
            <a:ext cx="3409043" cy="2401887"/>
          </a:xfrm>
        </p:spPr>
        <p:txBody>
          <a:bodyPr anchor="b">
            <a:noAutofit/>
          </a:bodyPr>
          <a:lstStyle>
            <a:lvl1pPr>
              <a:defRPr sz="4400">
                <a:solidFill>
                  <a:srgbClr val="FFFFFF"/>
                </a:solidFill>
              </a:defRPr>
            </a:lvl1pPr>
          </a:lstStyle>
          <a:p>
            <a:r>
              <a:rPr lang="en-US"/>
              <a:t>Section header</a:t>
            </a:r>
            <a:endParaRPr lang="en-GB"/>
          </a:p>
        </p:txBody>
      </p:sp>
      <p:pic>
        <p:nvPicPr>
          <p:cNvPr id="6" name="NIQ GFK Lockup">
            <a:extLst>
              <a:ext uri="{FF2B5EF4-FFF2-40B4-BE49-F238E27FC236}">
                <a16:creationId xmlns:a16="http://schemas.microsoft.com/office/drawing/2014/main" id="{EF6F7CF4-822A-D8B2-DFDA-1C3EAA869029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/>
          <a:srcRect l="23" r="23"/>
          <a:stretch/>
        </p:blipFill>
        <p:spPr>
          <a:xfrm>
            <a:off x="302626" y="6462285"/>
            <a:ext cx="906224" cy="329184"/>
          </a:xfrm>
          <a:prstGeom prst="rect">
            <a:avLst/>
          </a:prstGeom>
        </p:spPr>
      </p:pic>
      <p:pic>
        <p:nvPicPr>
          <p:cNvPr id="5" name="NielsenIQ logo+wordmark" hidden="1">
            <a:extLst>
              <a:ext uri="{FF2B5EF4-FFF2-40B4-BE49-F238E27FC236}">
                <a16:creationId xmlns:a16="http://schemas.microsoft.com/office/drawing/2014/main" id="{32C28E02-2118-88F0-2B78-22254A5F217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0132" y="6495154"/>
            <a:ext cx="781428" cy="269593"/>
          </a:xfrm>
          <a:prstGeom prst="rect">
            <a:avLst/>
          </a:prstGeom>
        </p:spPr>
      </p:pic>
      <p:pic>
        <p:nvPicPr>
          <p:cNvPr id="9" name="NIQ Logo" hidden="1">
            <a:extLst>
              <a:ext uri="{FF2B5EF4-FFF2-40B4-BE49-F238E27FC236}">
                <a16:creationId xmlns:a16="http://schemas.microsoft.com/office/drawing/2014/main" id="{557F1CC3-9C99-3BC3-AD92-FB8503D927CF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2100" y="6495101"/>
            <a:ext cx="645459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0068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Dark Sideba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tatic Light Bkgd">
            <a:extLst>
              <a:ext uri="{FF2B5EF4-FFF2-40B4-BE49-F238E27FC236}">
                <a16:creationId xmlns:a16="http://schemas.microsoft.com/office/drawing/2014/main" id="{D1093FDC-ACBE-C97A-79EC-30B506F3513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Block Bkgd">
            <a:extLst>
              <a:ext uri="{FF2B5EF4-FFF2-40B4-BE49-F238E27FC236}">
                <a16:creationId xmlns:a16="http://schemas.microsoft.com/office/drawing/2014/main" id="{61051253-1566-C6AD-277E-C41693FE3B9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4002916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err="1"/>
          </a:p>
        </p:txBody>
      </p:sp>
      <p:cxnSp>
        <p:nvCxnSpPr>
          <p:cNvPr id="16" name="Base Rule">
            <a:extLst>
              <a:ext uri="{FF2B5EF4-FFF2-40B4-BE49-F238E27FC236}">
                <a16:creationId xmlns:a16="http://schemas.microsoft.com/office/drawing/2014/main" id="{A76E5B64-AFD0-1002-8187-608F612A25A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4237038" y="6395755"/>
            <a:ext cx="7662863" cy="0"/>
          </a:xfrm>
          <a:prstGeom prst="line">
            <a:avLst/>
          </a:prstGeom>
          <a:ln w="12700">
            <a:solidFill>
              <a:srgbClr val="5555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lide Number Placeholder">
            <a:extLst>
              <a:ext uri="{FF2B5EF4-FFF2-40B4-BE49-F238E27FC236}">
                <a16:creationId xmlns:a16="http://schemas.microsoft.com/office/drawing/2014/main" id="{6FB508FF-12E5-30CD-260F-1D79AD32367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/>
          <a:p>
            <a:fld id="{3E04DF46-C0DC-4ADC-9A6F-918CC4703A4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Copyright Line">
            <a:extLst>
              <a:ext uri="{FF2B5EF4-FFF2-40B4-BE49-F238E27FC236}">
                <a16:creationId xmlns:a16="http://schemas.microsoft.com/office/drawing/2014/main" id="{ABBC6E03-863D-FD63-7C57-491D7ADA71A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09" y="6526850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>
                <a:solidFill>
                  <a:schemeClr val="tx1">
                    <a:lumMod val="40000"/>
                    <a:lumOff val="60000"/>
                  </a:schemeClr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2026</a:t>
            </a:fld>
            <a:r>
              <a:rPr lang="en-US" sz="700">
                <a:solidFill>
                  <a:schemeClr val="tx1">
                    <a:lumMod val="40000"/>
                    <a:lumOff val="60000"/>
                  </a:schemeClr>
                </a:solidFill>
              </a:rPr>
              <a:t> Nielsen Consumer LLC. All Rights Reserved.</a:t>
            </a:r>
          </a:p>
        </p:txBody>
      </p:sp>
      <p:sp>
        <p:nvSpPr>
          <p:cNvPr id="4" name="Confidential disclaimer">
            <a:extLst>
              <a:ext uri="{FF2B5EF4-FFF2-40B4-BE49-F238E27FC236}">
                <a16:creationId xmlns:a16="http://schemas.microsoft.com/office/drawing/2014/main" id="{C0846810-8BC5-01F8-F631-25773D83754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26" name="Footer Placeholder">
            <a:extLst>
              <a:ext uri="{FF2B5EF4-FFF2-40B4-BE49-F238E27FC236}">
                <a16:creationId xmlns:a16="http://schemas.microsoft.com/office/drawing/2014/main" id="{E183FCE9-1380-C908-3210-D1CC81C316C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4237038" y="6485399"/>
            <a:ext cx="3056524" cy="282957"/>
          </a:xfrm>
        </p:spPr>
        <p:txBody>
          <a:bodyPr/>
          <a:lstStyle/>
          <a:p>
            <a:endParaRPr lang="en-GB"/>
          </a:p>
        </p:txBody>
      </p:sp>
      <p:sp>
        <p:nvSpPr>
          <p:cNvPr id="10" name="Source Placeholder">
            <a:extLst>
              <a:ext uri="{FF2B5EF4-FFF2-40B4-BE49-F238E27FC236}">
                <a16:creationId xmlns:a16="http://schemas.microsoft.com/office/drawing/2014/main" id="{77FED749-9C39-81DD-7428-E91EAF740A9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4237036" y="6108700"/>
            <a:ext cx="7662864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13" name="Content Placeholder">
            <a:extLst>
              <a:ext uri="{FF2B5EF4-FFF2-40B4-BE49-F238E27FC236}">
                <a16:creationId xmlns:a16="http://schemas.microsoft.com/office/drawing/2014/main" id="{4EA26CDB-5FFD-8E65-BB9F-B583607F097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5"/>
          </p:nvPr>
        </p:nvSpPr>
        <p:spPr>
          <a:xfrm>
            <a:off x="4237038" y="1219200"/>
            <a:ext cx="7662862" cy="4457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811C7246-8A71-F257-DB0D-3E1F23CE69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0" y="3945964"/>
            <a:ext cx="3409043" cy="1500187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add section subtitle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D9E3A23B-F3DB-B7EF-DCB8-D944C23E6D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1219200"/>
            <a:ext cx="3409043" cy="2401887"/>
          </a:xfrm>
        </p:spPr>
        <p:txBody>
          <a:bodyPr anchor="b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header</a:t>
            </a:r>
            <a:endParaRPr lang="en-GB"/>
          </a:p>
        </p:txBody>
      </p:sp>
      <p:pic>
        <p:nvPicPr>
          <p:cNvPr id="8" name="NIQ GFK Lockup">
            <a:extLst>
              <a:ext uri="{FF2B5EF4-FFF2-40B4-BE49-F238E27FC236}">
                <a16:creationId xmlns:a16="http://schemas.microsoft.com/office/drawing/2014/main" id="{23E903F1-B6FB-BED6-3501-293C1130DA4F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/>
          <a:srcRect l="23" r="23"/>
          <a:stretch/>
        </p:blipFill>
        <p:spPr>
          <a:xfrm>
            <a:off x="302626" y="6462285"/>
            <a:ext cx="906224" cy="329184"/>
          </a:xfrm>
          <a:prstGeom prst="rect">
            <a:avLst/>
          </a:prstGeom>
        </p:spPr>
      </p:pic>
      <p:pic>
        <p:nvPicPr>
          <p:cNvPr id="5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E5214B10-6ABB-0EB3-4E33-9E9E477DD15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130" y="6495154"/>
            <a:ext cx="781433" cy="269593"/>
          </a:xfrm>
          <a:prstGeom prst="rect">
            <a:avLst/>
          </a:prstGeom>
        </p:spPr>
      </p:pic>
      <p:pic>
        <p:nvPicPr>
          <p:cNvPr id="6" name="NIQ Logo" hidden="1">
            <a:extLst>
              <a:ext uri="{FF2B5EF4-FFF2-40B4-BE49-F238E27FC236}">
                <a16:creationId xmlns:a16="http://schemas.microsoft.com/office/drawing/2014/main" id="{A9B1FD76-BF8D-8EEE-6EC7-E0AC284E58CD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2100" y="6495101"/>
            <a:ext cx="645459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0999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48587361-5CC7-9C7F-BD1C-0A8CE32B90E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/>
          <a:p>
            <a:fld id="{3E04DF46-C0DC-4ADC-9A6F-918CC4703A4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889C55DD-275C-EFE2-8883-9CF82493650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Date Placeholder">
            <a:extLst>
              <a:ext uri="{FF2B5EF4-FFF2-40B4-BE49-F238E27FC236}">
                <a16:creationId xmlns:a16="http://schemas.microsoft.com/office/drawing/2014/main" id="{66F49418-AA9F-5CA7-31F1-168499F3D8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A95ACABD-257F-48AB-94D3-B913B9097175}" type="datetime1">
              <a:rPr lang="en-GB" smtClean="0"/>
              <a:t>12/02/2026</a:t>
            </a:fld>
            <a:endParaRPr lang="en-GB"/>
          </a:p>
        </p:txBody>
      </p:sp>
      <p:sp>
        <p:nvSpPr>
          <p:cNvPr id="12" name="Source Placeholder">
            <a:extLst>
              <a:ext uri="{FF2B5EF4-FFF2-40B4-BE49-F238E27FC236}">
                <a16:creationId xmlns:a16="http://schemas.microsoft.com/office/drawing/2014/main" id="{E0FBE8A5-CBE4-7896-370D-0C351238E6E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6" name="Content 2 Placeholder">
            <a:extLst>
              <a:ext uri="{FF2B5EF4-FFF2-40B4-BE49-F238E27FC236}">
                <a16:creationId xmlns:a16="http://schemas.microsoft.com/office/drawing/2014/main" id="{F2EB2B90-CA72-0453-8C46-7140538197A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4" hasCustomPrompt="1"/>
          </p:nvPr>
        </p:nvSpPr>
        <p:spPr>
          <a:xfrm>
            <a:off x="6210300" y="2019300"/>
            <a:ext cx="5673720" cy="3657600"/>
          </a:xfrm>
        </p:spPr>
        <p:txBody>
          <a:bodyPr/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er 2 Placeholder">
            <a:extLst>
              <a:ext uri="{FF2B5EF4-FFF2-40B4-BE49-F238E27FC236}">
                <a16:creationId xmlns:a16="http://schemas.microsoft.com/office/drawing/2014/main" id="{ADF8391B-E110-2D12-ED6A-D8681E86875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" hasCustomPrompt="1"/>
          </p:nvPr>
        </p:nvSpPr>
        <p:spPr>
          <a:xfrm>
            <a:off x="6210300" y="1308100"/>
            <a:ext cx="5689598" cy="620525"/>
          </a:xfrm>
        </p:spPr>
        <p:txBody>
          <a:bodyPr anchor="b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Insert column header</a:t>
            </a:r>
          </a:p>
        </p:txBody>
      </p:sp>
      <p:sp>
        <p:nvSpPr>
          <p:cNvPr id="4" name="Content 1 Placeholder">
            <a:extLst>
              <a:ext uri="{FF2B5EF4-FFF2-40B4-BE49-F238E27FC236}">
                <a16:creationId xmlns:a16="http://schemas.microsoft.com/office/drawing/2014/main" id="{984C70C1-C2F6-EFE6-3AEB-EEEE97D8D82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292101" y="2019300"/>
            <a:ext cx="5673721" cy="3657600"/>
          </a:xfrm>
        </p:spPr>
        <p:txBody>
          <a:bodyPr/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Header 1 Placeholder">
            <a:extLst>
              <a:ext uri="{FF2B5EF4-FFF2-40B4-BE49-F238E27FC236}">
                <a16:creationId xmlns:a16="http://schemas.microsoft.com/office/drawing/2014/main" id="{E16F9965-5453-60FF-D1EB-3A608CF7F7B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1" y="1308100"/>
            <a:ext cx="5689598" cy="620525"/>
          </a:xfrm>
        </p:spPr>
        <p:txBody>
          <a:bodyPr anchor="b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Insert column header</a:t>
            </a:r>
          </a:p>
        </p:txBody>
      </p:sp>
      <p:sp>
        <p:nvSpPr>
          <p:cNvPr id="14" name="Subtitle Placeholder">
            <a:extLst>
              <a:ext uri="{FF2B5EF4-FFF2-40B4-BE49-F238E27FC236}">
                <a16:creationId xmlns:a16="http://schemas.microsoft.com/office/drawing/2014/main" id="{3C3EBBEC-21F2-1AF3-1FA2-6C8052756C7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13" name="Title Placeholder">
            <a:extLst>
              <a:ext uri="{FF2B5EF4-FFF2-40B4-BE49-F238E27FC236}">
                <a16:creationId xmlns:a16="http://schemas.microsoft.com/office/drawing/2014/main" id="{31A8EC3A-084E-1F49-0F96-E9263F03E1F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your slide title in Arial Bold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1111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768">
          <p15:clr>
            <a:srgbClr val="A4A3A4"/>
          </p15:clr>
        </p15:guide>
        <p15:guide id="5" pos="3912">
          <p15:clr>
            <a:srgbClr val="A4A3A4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E94EA2D6-F376-E5FB-864F-2472964B121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/>
          <a:p>
            <a:fld id="{3E04DF46-C0DC-4ADC-9A6F-918CC4703A43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4898322A-6CDF-75C0-CCAE-9F91633E2F5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">
            <a:extLst>
              <a:ext uri="{FF2B5EF4-FFF2-40B4-BE49-F238E27FC236}">
                <a16:creationId xmlns:a16="http://schemas.microsoft.com/office/drawing/2014/main" id="{339D1539-DC5B-675F-DCC6-5BBCE25FC7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B789455A-F4F5-4ADB-BA98-24336C9EA3E7}" type="datetime1">
              <a:rPr lang="en-GB" smtClean="0"/>
              <a:t>12/02/2026</a:t>
            </a:fld>
            <a:endParaRPr lang="en-GB"/>
          </a:p>
        </p:txBody>
      </p: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2EA71DC4-3628-4313-321C-9A95F89CAB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4" name="Content 2 Placeholder">
            <a:extLst>
              <a:ext uri="{FF2B5EF4-FFF2-40B4-BE49-F238E27FC236}">
                <a16:creationId xmlns:a16="http://schemas.microsoft.com/office/drawing/2014/main" id="{5D43A841-AD92-4556-21E4-9939D57FC0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6211892" y="1638301"/>
            <a:ext cx="5688008" cy="4038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nsert conten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1 Placeholder">
            <a:extLst>
              <a:ext uri="{FF2B5EF4-FFF2-40B4-BE49-F238E27FC236}">
                <a16:creationId xmlns:a16="http://schemas.microsoft.com/office/drawing/2014/main" id="{BBF77ABD-CA9D-F0FB-47F7-ABF58A85B72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" hasCustomPrompt="1"/>
          </p:nvPr>
        </p:nvSpPr>
        <p:spPr>
          <a:xfrm>
            <a:off x="292100" y="1638301"/>
            <a:ext cx="5688010" cy="4038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nsert conten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Subtitle Placeholder">
            <a:extLst>
              <a:ext uri="{FF2B5EF4-FFF2-40B4-BE49-F238E27FC236}">
                <a16:creationId xmlns:a16="http://schemas.microsoft.com/office/drawing/2014/main" id="{4DF2806F-470A-D63D-6287-2D96392FDB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330527F2-4E92-075E-0582-2535F1B4C69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your slide title in Arial Bold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3217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680">
          <p15:clr>
            <a:srgbClr val="FBAE40"/>
          </p15:clr>
        </p15:guide>
        <p15:guide id="4" pos="3768">
          <p15:clr>
            <a:srgbClr val="A4A3A4"/>
          </p15:clr>
        </p15:guide>
        <p15:guide id="5" pos="3912">
          <p15:clr>
            <a:srgbClr val="A4A3A4"/>
          </p15:clr>
        </p15:guide>
        <p15:guide id="6" pos="7495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E94EA2D6-F376-E5FB-864F-2472964B121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/>
          <a:p>
            <a:fld id="{3E04DF46-C0DC-4ADC-9A6F-918CC4703A43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4898322A-6CDF-75C0-CCAE-9F91633E2F5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">
            <a:extLst>
              <a:ext uri="{FF2B5EF4-FFF2-40B4-BE49-F238E27FC236}">
                <a16:creationId xmlns:a16="http://schemas.microsoft.com/office/drawing/2014/main" id="{339D1539-DC5B-675F-DCC6-5BBCE25FC7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B789455A-F4F5-4ADB-BA98-24336C9EA3E7}" type="datetime1">
              <a:rPr lang="en-GB" smtClean="0"/>
              <a:t>12/02/2026</a:t>
            </a:fld>
            <a:endParaRPr lang="en-GB"/>
          </a:p>
        </p:txBody>
      </p: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2EA71DC4-3628-4313-321C-9A95F89CAB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4" name="Content 2 Placeholder">
            <a:extLst>
              <a:ext uri="{FF2B5EF4-FFF2-40B4-BE49-F238E27FC236}">
                <a16:creationId xmlns:a16="http://schemas.microsoft.com/office/drawing/2014/main" id="{5D43A841-AD92-4556-21E4-9939D57FC0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6211892" y="3771899"/>
            <a:ext cx="5688008" cy="1905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nsert conten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Image/Content 2 Placeholder">
            <a:extLst>
              <a:ext uri="{FF2B5EF4-FFF2-40B4-BE49-F238E27FC236}">
                <a16:creationId xmlns:a16="http://schemas.microsoft.com/office/drawing/2014/main" id="{F551C892-6720-FE2B-D337-A46B9C4D713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6" hasCustomPrompt="1"/>
          </p:nvPr>
        </p:nvSpPr>
        <p:spPr>
          <a:xfrm>
            <a:off x="6211892" y="1638300"/>
            <a:ext cx="5688009" cy="1905000"/>
          </a:xfrm>
          <a:solidFill>
            <a:srgbClr val="F0F0F0"/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GB"/>
              <a:t>Insert content</a:t>
            </a:r>
          </a:p>
        </p:txBody>
      </p:sp>
      <p:sp>
        <p:nvSpPr>
          <p:cNvPr id="3" name="Content 1 Placeholder">
            <a:extLst>
              <a:ext uri="{FF2B5EF4-FFF2-40B4-BE49-F238E27FC236}">
                <a16:creationId xmlns:a16="http://schemas.microsoft.com/office/drawing/2014/main" id="{BBF77ABD-CA9D-F0FB-47F7-ABF58A85B72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" hasCustomPrompt="1"/>
          </p:nvPr>
        </p:nvSpPr>
        <p:spPr>
          <a:xfrm>
            <a:off x="292100" y="3771899"/>
            <a:ext cx="5688010" cy="1905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nsert conten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Image/Content 1 Placeholder">
            <a:extLst>
              <a:ext uri="{FF2B5EF4-FFF2-40B4-BE49-F238E27FC236}">
                <a16:creationId xmlns:a16="http://schemas.microsoft.com/office/drawing/2014/main" id="{A3759FC6-112A-A989-2E57-F664AD59A35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5" hasCustomPrompt="1"/>
          </p:nvPr>
        </p:nvSpPr>
        <p:spPr>
          <a:xfrm>
            <a:off x="292100" y="1638300"/>
            <a:ext cx="5688009" cy="1905000"/>
          </a:xfrm>
          <a:solidFill>
            <a:srgbClr val="F0F0F0"/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GB"/>
              <a:t>Insert content</a:t>
            </a:r>
          </a:p>
        </p:txBody>
      </p:sp>
      <p:sp>
        <p:nvSpPr>
          <p:cNvPr id="10" name="Subtitle Placeholder">
            <a:extLst>
              <a:ext uri="{FF2B5EF4-FFF2-40B4-BE49-F238E27FC236}">
                <a16:creationId xmlns:a16="http://schemas.microsoft.com/office/drawing/2014/main" id="{4DF2806F-470A-D63D-6287-2D96392FDB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330527F2-4E92-075E-0582-2535F1B4C69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your slide title in Arial Bold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25280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680">
          <p15:clr>
            <a:srgbClr val="FBAE40"/>
          </p15:clr>
        </p15:guide>
        <p15:guide id="4" pos="3768">
          <p15:clr>
            <a:srgbClr val="A4A3A4"/>
          </p15:clr>
        </p15:guide>
        <p15:guide id="5" pos="3912">
          <p15:clr>
            <a:srgbClr val="A4A3A4"/>
          </p15:clr>
        </p15:guide>
        <p15:guide id="6" pos="7495">
          <p15:clr>
            <a:srgbClr val="FBAE40"/>
          </p15:clr>
        </p15:guide>
        <p15:guide id="7" orient="horz" pos="2232">
          <p15:clr>
            <a:srgbClr val="A4A3A4"/>
          </p15:clr>
        </p15:guide>
        <p15:guide id="8" orient="horz" pos="2376">
          <p15:clr>
            <a:srgbClr val="A4A3A4"/>
          </p15:clr>
        </p15:guide>
        <p15:guide id="9" orient="horz" pos="2304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5D77837-F372-41E3-A703-01233BC36B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5360" y="1413288"/>
            <a:ext cx="4032250" cy="461665"/>
          </a:xfrm>
        </p:spPr>
        <p:txBody>
          <a:bodyPr anchor="t"/>
          <a:lstStyle>
            <a:lvl1pPr algn="l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17" name="Content">
            <a:extLst>
              <a:ext uri="{FF2B5EF4-FFF2-40B4-BE49-F238E27FC236}">
                <a16:creationId xmlns:a16="http://schemas.microsoft.com/office/drawing/2014/main" id="{72A9419C-8763-4B76-A999-AC385D6948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35360" y="2060849"/>
            <a:ext cx="4032250" cy="4032448"/>
          </a:xfrm>
        </p:spPr>
        <p:txBody>
          <a:bodyPr/>
          <a:lstStyle>
            <a:lvl1pPr marL="266700" indent="-266700">
              <a:buSzPct val="100000"/>
              <a:buFont typeface="Arial" panose="020B0604020202020204" pitchFamily="34" charset="0"/>
              <a:buAutoNum type="arabicPlain"/>
              <a:tabLst>
                <a:tab pos="4038600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1pPr>
            <a:lvl2pPr marL="447675" indent="-180975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4038600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2pPr>
            <a:lvl3pPr marL="447675" indent="-180975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4038600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3pPr>
            <a:lvl4pPr marL="447675" indent="-180975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4038600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4pPr>
            <a:lvl5pPr marL="447675" indent="-180975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4038600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5pPr>
            <a:lvl6pPr marL="447675" indent="-180975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3524250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6pPr>
            <a:lvl7pPr marL="447675" indent="-180975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3524250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7pPr>
            <a:lvl8pPr marL="447675" indent="-180975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3524250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8pPr>
            <a:lvl9pPr marL="447675" indent="-180975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3524250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9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8" name="Picture">
            <a:extLst>
              <a:ext uri="{FF2B5EF4-FFF2-40B4-BE49-F238E27FC236}">
                <a16:creationId xmlns:a16="http://schemas.microsoft.com/office/drawing/2014/main" id="{A9F39496-3247-4D2A-8D5A-9E2157A6A7D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519936" y="1484784"/>
            <a:ext cx="5760640" cy="4032448"/>
          </a:xfrm>
          <a:custGeom>
            <a:avLst/>
            <a:gdLst>
              <a:gd name="connsiteX0" fmla="*/ 5544001 w 5544001"/>
              <a:gd name="connsiteY0" fmla="*/ 0 h 3551223"/>
              <a:gd name="connsiteX1" fmla="*/ 4543017 w 5544001"/>
              <a:gd name="connsiteY1" fmla="*/ 2543298 h 3551223"/>
              <a:gd name="connsiteX2" fmla="*/ 0 w 5544001"/>
              <a:gd name="connsiteY2" fmla="*/ 3551223 h 3551223"/>
              <a:gd name="connsiteX3" fmla="*/ 0 w 5544001"/>
              <a:gd name="connsiteY3" fmla="*/ 531 h 3551223"/>
              <a:gd name="connsiteX0" fmla="*/ 5544001 w 5544001"/>
              <a:gd name="connsiteY0" fmla="*/ 0 h 3551223"/>
              <a:gd name="connsiteX1" fmla="*/ 4441735 w 5544001"/>
              <a:gd name="connsiteY1" fmla="*/ 2540103 h 3551223"/>
              <a:gd name="connsiteX2" fmla="*/ 0 w 5544001"/>
              <a:gd name="connsiteY2" fmla="*/ 3551223 h 3551223"/>
              <a:gd name="connsiteX3" fmla="*/ 0 w 5544001"/>
              <a:gd name="connsiteY3" fmla="*/ 531 h 3551223"/>
              <a:gd name="connsiteX4" fmla="*/ 5544001 w 5544001"/>
              <a:gd name="connsiteY4" fmla="*/ 0 h 35512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44001" h="3551223">
                <a:moveTo>
                  <a:pt x="5544001" y="0"/>
                </a:moveTo>
                <a:lnTo>
                  <a:pt x="4441735" y="2540103"/>
                </a:lnTo>
                <a:lnTo>
                  <a:pt x="0" y="3551223"/>
                </a:lnTo>
                <a:lnTo>
                  <a:pt x="0" y="531"/>
                </a:lnTo>
                <a:lnTo>
                  <a:pt x="5544001" y="0"/>
                </a:lnTo>
                <a:close/>
              </a:path>
            </a:pathLst>
          </a:custGeom>
          <a:solidFill>
            <a:srgbClr val="D6D9DC"/>
          </a:solidFill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9" name="Source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87488" y="6525360"/>
            <a:ext cx="8639746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8AB4C1E-E193-441C-73B2-5910012838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18651E48-C51F-4719-8624-67E0144C009C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EB2A54-14B0-0DE4-D475-31EBCC2FD5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183B58-29F7-0FD4-5AA2-C4A998AFAF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73676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Half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lock Bkgd">
            <a:extLst>
              <a:ext uri="{FF2B5EF4-FFF2-40B4-BE49-F238E27FC236}">
                <a16:creationId xmlns:a16="http://schemas.microsoft.com/office/drawing/2014/main" id="{EF28BEE6-A3B9-F3EC-053D-F000E1C0334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E94EA2D6-F376-E5FB-864F-2472964B121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/>
          <a:p>
            <a:fld id="{3E04DF46-C0DC-4ADC-9A6F-918CC4703A43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Copyright Line">
            <a:extLst>
              <a:ext uri="{FF2B5EF4-FFF2-40B4-BE49-F238E27FC236}">
                <a16:creationId xmlns:a16="http://schemas.microsoft.com/office/drawing/2014/main" id="{9C89E4B4-9DF8-8FBA-0988-31F1C70E415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09" y="6536551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>
                <a:solidFill>
                  <a:srgbClr val="BBBBBB"/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rgbClr val="BBBBBB"/>
                </a:solidFill>
              </a:rPr>
              <a:t>2026</a:t>
            </a:fld>
            <a:r>
              <a:rPr lang="en-US" sz="700">
                <a:solidFill>
                  <a:srgbClr val="BBBBBB"/>
                </a:solidFill>
              </a:rPr>
              <a:t> Nielsen Consumer LLC. All Rights Reserved.</a:t>
            </a:r>
          </a:p>
        </p:txBody>
      </p:sp>
      <p:sp>
        <p:nvSpPr>
          <p:cNvPr id="12" name="Confidential disclaimer">
            <a:extLst>
              <a:ext uri="{FF2B5EF4-FFF2-40B4-BE49-F238E27FC236}">
                <a16:creationId xmlns:a16="http://schemas.microsoft.com/office/drawing/2014/main" id="{96AB6125-A385-529E-E151-BDF1D0C7EF7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id="{E1297F61-9D45-2558-68F0-C18078DF95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3251200" y="6495102"/>
            <a:ext cx="2551110" cy="282957"/>
          </a:xfrm>
        </p:spPr>
        <p:txBody>
          <a:bodyPr/>
          <a:lstStyle/>
          <a:p>
            <a:endParaRPr lang="en-GB"/>
          </a:p>
        </p:txBody>
      </p:sp>
      <p:sp>
        <p:nvSpPr>
          <p:cNvPr id="5" name="Date Placeholder">
            <a:extLst>
              <a:ext uri="{FF2B5EF4-FFF2-40B4-BE49-F238E27FC236}">
                <a16:creationId xmlns:a16="http://schemas.microsoft.com/office/drawing/2014/main" id="{339D1539-DC5B-675F-DCC6-5BBCE25FC7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B789455A-F4F5-4ADB-BA98-24336C9EA3E7}" type="datetime1">
              <a:rPr lang="en-GB" smtClean="0"/>
              <a:t>12/02/2026</a:t>
            </a:fld>
            <a:endParaRPr lang="en-GB"/>
          </a:p>
        </p:txBody>
      </p:sp>
      <p:cxnSp>
        <p:nvCxnSpPr>
          <p:cNvPr id="17" name="Base Rule">
            <a:extLst>
              <a:ext uri="{FF2B5EF4-FFF2-40B4-BE49-F238E27FC236}">
                <a16:creationId xmlns:a16="http://schemas.microsoft.com/office/drawing/2014/main" id="{0DFE5D64-C53A-A500-F0A7-C09857B818AB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292100" y="6395755"/>
            <a:ext cx="1160780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2EA71DC4-3628-4313-321C-9A95F89CAB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4" name="Content 2 Placeholder">
            <a:extLst>
              <a:ext uri="{FF2B5EF4-FFF2-40B4-BE49-F238E27FC236}">
                <a16:creationId xmlns:a16="http://schemas.microsoft.com/office/drawing/2014/main" id="{5D43A841-AD92-4556-21E4-9939D57FC0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6388100" y="1638301"/>
            <a:ext cx="5511800" cy="4038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nsert conten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Subtitle 2 Placeholder">
            <a:extLst>
              <a:ext uri="{FF2B5EF4-FFF2-40B4-BE49-F238E27FC236}">
                <a16:creationId xmlns:a16="http://schemas.microsoft.com/office/drawing/2014/main" id="{9B24A1DB-1E99-30C3-D014-5A6DEDB3C66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 hasCustomPrompt="1"/>
          </p:nvPr>
        </p:nvSpPr>
        <p:spPr>
          <a:xfrm>
            <a:off x="6388895" y="579495"/>
            <a:ext cx="5511005" cy="436562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11" name="Title 2 Placeholder">
            <a:extLst>
              <a:ext uri="{FF2B5EF4-FFF2-40B4-BE49-F238E27FC236}">
                <a16:creationId xmlns:a16="http://schemas.microsoft.com/office/drawing/2014/main" id="{A1808D7B-A584-646A-5554-EA7041352FF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6383895" y="274634"/>
            <a:ext cx="5514418" cy="295756"/>
          </a:xfrm>
        </p:spPr>
        <p:txBody>
          <a:bodyPr anchor="t" anchorCtr="0">
            <a:noAutofit/>
          </a:bodyPr>
          <a:lstStyle>
            <a:lvl1pPr marL="0" indent="0">
              <a:buFont typeface="Arial" panose="020B0604020202020204" pitchFamily="34" charset="0"/>
              <a:buNone/>
              <a:defRPr sz="2000" b="1"/>
            </a:lvl1pPr>
          </a:lstStyle>
          <a:p>
            <a:pPr lvl="0"/>
            <a:r>
              <a:rPr lang="en-US"/>
              <a:t>Insert your slide title in Arial Bold 20pt</a:t>
            </a:r>
          </a:p>
        </p:txBody>
      </p:sp>
      <p:sp>
        <p:nvSpPr>
          <p:cNvPr id="3" name="Content 1 Placeholder">
            <a:extLst>
              <a:ext uri="{FF2B5EF4-FFF2-40B4-BE49-F238E27FC236}">
                <a16:creationId xmlns:a16="http://schemas.microsoft.com/office/drawing/2014/main" id="{BBF77ABD-CA9D-F0FB-47F7-ABF58A85B72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" hasCustomPrompt="1"/>
          </p:nvPr>
        </p:nvSpPr>
        <p:spPr>
          <a:xfrm>
            <a:off x="292100" y="1638301"/>
            <a:ext cx="5510210" cy="4038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nsert conten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Subtitle 1 Placeholder">
            <a:extLst>
              <a:ext uri="{FF2B5EF4-FFF2-40B4-BE49-F238E27FC236}">
                <a16:creationId xmlns:a16="http://schemas.microsoft.com/office/drawing/2014/main" id="{4DF2806F-470A-D63D-6287-2D96392FDB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5511005" cy="436562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2" name="Title 1 Placeholder">
            <a:extLst>
              <a:ext uri="{FF2B5EF4-FFF2-40B4-BE49-F238E27FC236}">
                <a16:creationId xmlns:a16="http://schemas.microsoft.com/office/drawing/2014/main" id="{330527F2-4E92-075E-0582-2535F1B4C69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5513623" cy="265590"/>
          </a:xfrm>
        </p:spPr>
        <p:txBody>
          <a:bodyPr/>
          <a:lstStyle/>
          <a:p>
            <a:r>
              <a:rPr lang="en-US"/>
              <a:t>Insert your slide title in Arial Bold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0166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680">
          <p15:clr>
            <a:srgbClr val="FBAE40"/>
          </p15:clr>
        </p15:guide>
        <p15:guide id="4" pos="3768">
          <p15:clr>
            <a:srgbClr val="A4A3A4"/>
          </p15:clr>
        </p15:guide>
        <p15:guide id="5" pos="3912">
          <p15:clr>
            <a:srgbClr val="A4A3A4"/>
          </p15:clr>
        </p15:guide>
        <p15:guide id="6" pos="7495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Half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lock Bkgd">
            <a:extLst>
              <a:ext uri="{FF2B5EF4-FFF2-40B4-BE49-F238E27FC236}">
                <a16:creationId xmlns:a16="http://schemas.microsoft.com/office/drawing/2014/main" id="{EF28BEE6-A3B9-F3EC-053D-F000E1C0334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E94EA2D6-F376-E5FB-864F-2472964B121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85399"/>
            <a:ext cx="404321" cy="28295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04DF46-C0DC-4ADC-9A6F-918CC4703A4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Copyright Line">
            <a:extLst>
              <a:ext uri="{FF2B5EF4-FFF2-40B4-BE49-F238E27FC236}">
                <a16:creationId xmlns:a16="http://schemas.microsoft.com/office/drawing/2014/main" id="{9C89E4B4-9DF8-8FBA-0988-31F1C70E415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09" y="6536551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>
                <a:solidFill>
                  <a:schemeClr val="tx1">
                    <a:lumMod val="40000"/>
                    <a:lumOff val="60000"/>
                  </a:schemeClr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2026</a:t>
            </a:fld>
            <a:r>
              <a:rPr lang="en-US" sz="700">
                <a:solidFill>
                  <a:schemeClr val="tx1">
                    <a:lumMod val="40000"/>
                    <a:lumOff val="60000"/>
                  </a:schemeClr>
                </a:solidFill>
              </a:rPr>
              <a:t> Nielsen Consumer LLC. All Rights Reserved.</a:t>
            </a:r>
          </a:p>
        </p:txBody>
      </p:sp>
      <p:sp>
        <p:nvSpPr>
          <p:cNvPr id="8" name="Confidential disclaimer">
            <a:extLst>
              <a:ext uri="{FF2B5EF4-FFF2-40B4-BE49-F238E27FC236}">
                <a16:creationId xmlns:a16="http://schemas.microsoft.com/office/drawing/2014/main" id="{23E65464-19C9-DB30-2F4C-D472D2E89EB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id="{E1297F61-9D45-2558-68F0-C18078DF95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3251200" y="6485399"/>
            <a:ext cx="2551110" cy="282957"/>
          </a:xfrm>
        </p:spPr>
        <p:txBody>
          <a:bodyPr/>
          <a:lstStyle/>
          <a:p>
            <a:endParaRPr lang="en-GB"/>
          </a:p>
        </p:txBody>
      </p:sp>
      <p:sp>
        <p:nvSpPr>
          <p:cNvPr id="5" name="Date Placeholder">
            <a:extLst>
              <a:ext uri="{FF2B5EF4-FFF2-40B4-BE49-F238E27FC236}">
                <a16:creationId xmlns:a16="http://schemas.microsoft.com/office/drawing/2014/main" id="{339D1539-DC5B-675F-DCC6-5BBCE25FC7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85399"/>
            <a:ext cx="757238" cy="282957"/>
          </a:xfrm>
        </p:spPr>
        <p:txBody>
          <a:bodyPr/>
          <a:lstStyle/>
          <a:p>
            <a:fld id="{B789455A-F4F5-4ADB-BA98-24336C9EA3E7}" type="datetime1">
              <a:rPr lang="en-GB" smtClean="0"/>
              <a:t>12/02/2026</a:t>
            </a:fld>
            <a:endParaRPr lang="en-GB"/>
          </a:p>
        </p:txBody>
      </p:sp>
      <p:cxnSp>
        <p:nvCxnSpPr>
          <p:cNvPr id="17" name="Base Rule">
            <a:extLst>
              <a:ext uri="{FF2B5EF4-FFF2-40B4-BE49-F238E27FC236}">
                <a16:creationId xmlns:a16="http://schemas.microsoft.com/office/drawing/2014/main" id="{0DFE5D64-C53A-A500-F0A7-C09857B818AB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6096000" y="6395755"/>
            <a:ext cx="580390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2EA71DC4-3628-4313-321C-9A95F89CAB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4" name="Content 2 Placeholder">
            <a:extLst>
              <a:ext uri="{FF2B5EF4-FFF2-40B4-BE49-F238E27FC236}">
                <a16:creationId xmlns:a16="http://schemas.microsoft.com/office/drawing/2014/main" id="{5D43A841-AD92-4556-21E4-9939D57FC0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6388100" y="1638301"/>
            <a:ext cx="5511800" cy="4038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onten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Subtitle 2 Placeholder">
            <a:extLst>
              <a:ext uri="{FF2B5EF4-FFF2-40B4-BE49-F238E27FC236}">
                <a16:creationId xmlns:a16="http://schemas.microsoft.com/office/drawing/2014/main" id="{9B24A1DB-1E99-30C3-D014-5A6DEDB3C66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 hasCustomPrompt="1"/>
          </p:nvPr>
        </p:nvSpPr>
        <p:spPr>
          <a:xfrm>
            <a:off x="6388895" y="579495"/>
            <a:ext cx="5511005" cy="436562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6" name="Title 2 Placeholder">
            <a:extLst>
              <a:ext uri="{FF2B5EF4-FFF2-40B4-BE49-F238E27FC236}">
                <a16:creationId xmlns:a16="http://schemas.microsoft.com/office/drawing/2014/main" id="{A36FABAF-7E80-EFD2-0E01-79E8B041B9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6383895" y="274634"/>
            <a:ext cx="5514418" cy="295756"/>
          </a:xfrm>
        </p:spPr>
        <p:txBody>
          <a:bodyPr anchor="t" anchorCtr="0">
            <a:noAutofit/>
          </a:bodyPr>
          <a:lstStyle>
            <a:lvl1pPr marL="0" indent="0">
              <a:buFont typeface="Arial" panose="020B0604020202020204" pitchFamily="34" charset="0"/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your slide title in Arial Bold 20pt</a:t>
            </a:r>
          </a:p>
        </p:txBody>
      </p:sp>
      <p:sp>
        <p:nvSpPr>
          <p:cNvPr id="3" name="Content 1 Placeholder">
            <a:extLst>
              <a:ext uri="{FF2B5EF4-FFF2-40B4-BE49-F238E27FC236}">
                <a16:creationId xmlns:a16="http://schemas.microsoft.com/office/drawing/2014/main" id="{BBF77ABD-CA9D-F0FB-47F7-ABF58A85B72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" hasCustomPrompt="1"/>
          </p:nvPr>
        </p:nvSpPr>
        <p:spPr>
          <a:xfrm>
            <a:off x="292100" y="1638301"/>
            <a:ext cx="5510210" cy="4038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nsert conten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Subtitle 1 Placeholder">
            <a:extLst>
              <a:ext uri="{FF2B5EF4-FFF2-40B4-BE49-F238E27FC236}">
                <a16:creationId xmlns:a16="http://schemas.microsoft.com/office/drawing/2014/main" id="{4DF2806F-470A-D63D-6287-2D96392FDB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5511005" cy="436562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2" name="Title 1 Placeholder">
            <a:extLst>
              <a:ext uri="{FF2B5EF4-FFF2-40B4-BE49-F238E27FC236}">
                <a16:creationId xmlns:a16="http://schemas.microsoft.com/office/drawing/2014/main" id="{330527F2-4E92-075E-0582-2535F1B4C69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5513623" cy="265590"/>
          </a:xfrm>
        </p:spPr>
        <p:txBody>
          <a:bodyPr/>
          <a:lstStyle/>
          <a:p>
            <a:r>
              <a:rPr lang="en-US"/>
              <a:t>Insert your slide title in Arial Bold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7775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680">
          <p15:clr>
            <a:srgbClr val="FBAE40"/>
          </p15:clr>
        </p15:guide>
        <p15:guide id="4" pos="3768">
          <p15:clr>
            <a:srgbClr val="A4A3A4"/>
          </p15:clr>
        </p15:guide>
        <p15:guide id="5" pos="3912">
          <p15:clr>
            <a:srgbClr val="A4A3A4"/>
          </p15:clr>
        </p15:guide>
        <p15:guide id="6" pos="7495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Half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lock Bkgd">
            <a:extLst>
              <a:ext uri="{FF2B5EF4-FFF2-40B4-BE49-F238E27FC236}">
                <a16:creationId xmlns:a16="http://schemas.microsoft.com/office/drawing/2014/main" id="{EF28BEE6-A3B9-F3EC-053D-F000E1C0334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E94EA2D6-F376-E5FB-864F-2472964B121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04DF46-C0DC-4ADC-9A6F-918CC4703A4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Copyright Line">
            <a:extLst>
              <a:ext uri="{FF2B5EF4-FFF2-40B4-BE49-F238E27FC236}">
                <a16:creationId xmlns:a16="http://schemas.microsoft.com/office/drawing/2014/main" id="{9C89E4B4-9DF8-8FBA-0988-31F1C70E415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09" y="6536551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>
                <a:solidFill>
                  <a:schemeClr val="tx1">
                    <a:lumMod val="40000"/>
                    <a:lumOff val="60000"/>
                  </a:schemeClr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2026</a:t>
            </a:fld>
            <a:r>
              <a:rPr lang="en-US" sz="700">
                <a:solidFill>
                  <a:schemeClr val="tx1">
                    <a:lumMod val="40000"/>
                    <a:lumOff val="60000"/>
                  </a:schemeClr>
                </a:solidFill>
              </a:rPr>
              <a:t> Nielsen Consumer LLC. All Rights Reserved.</a:t>
            </a:r>
          </a:p>
        </p:txBody>
      </p:sp>
      <p:sp>
        <p:nvSpPr>
          <p:cNvPr id="8" name="Confidential disclaimer">
            <a:extLst>
              <a:ext uri="{FF2B5EF4-FFF2-40B4-BE49-F238E27FC236}">
                <a16:creationId xmlns:a16="http://schemas.microsoft.com/office/drawing/2014/main" id="{96D5C3C7-B3B0-FB86-5907-4E244DADEAE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id="{E1297F61-9D45-2558-68F0-C18078DF95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3251200" y="6485399"/>
            <a:ext cx="2551110" cy="282957"/>
          </a:xfrm>
        </p:spPr>
        <p:txBody>
          <a:bodyPr/>
          <a:lstStyle/>
          <a:p>
            <a:endParaRPr lang="en-GB"/>
          </a:p>
        </p:txBody>
      </p:sp>
      <p:sp>
        <p:nvSpPr>
          <p:cNvPr id="5" name="Date Placeholder">
            <a:extLst>
              <a:ext uri="{FF2B5EF4-FFF2-40B4-BE49-F238E27FC236}">
                <a16:creationId xmlns:a16="http://schemas.microsoft.com/office/drawing/2014/main" id="{339D1539-DC5B-675F-DCC6-5BBCE25FC7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B789455A-F4F5-4ADB-BA98-24336C9EA3E7}" type="datetime1">
              <a:rPr lang="en-GB" smtClean="0"/>
              <a:t>12/02/2026</a:t>
            </a:fld>
            <a:endParaRPr lang="en-GB"/>
          </a:p>
        </p:txBody>
      </p:sp>
      <p:cxnSp>
        <p:nvCxnSpPr>
          <p:cNvPr id="17" name="Base Rule">
            <a:extLst>
              <a:ext uri="{FF2B5EF4-FFF2-40B4-BE49-F238E27FC236}">
                <a16:creationId xmlns:a16="http://schemas.microsoft.com/office/drawing/2014/main" id="{0DFE5D64-C53A-A500-F0A7-C09857B818AB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6096000" y="6395755"/>
            <a:ext cx="580390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2EA71DC4-3628-4313-321C-9A95F89CAB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4" name="Content 2 Placeholder">
            <a:extLst>
              <a:ext uri="{FF2B5EF4-FFF2-40B4-BE49-F238E27FC236}">
                <a16:creationId xmlns:a16="http://schemas.microsoft.com/office/drawing/2014/main" id="{5D43A841-AD92-4556-21E4-9939D57FC0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6388100" y="1638301"/>
            <a:ext cx="5511800" cy="4038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onten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Subtitle 2 Placeholder">
            <a:extLst>
              <a:ext uri="{FF2B5EF4-FFF2-40B4-BE49-F238E27FC236}">
                <a16:creationId xmlns:a16="http://schemas.microsoft.com/office/drawing/2014/main" id="{9B24A1DB-1E99-30C3-D014-5A6DEDB3C66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 hasCustomPrompt="1"/>
          </p:nvPr>
        </p:nvSpPr>
        <p:spPr>
          <a:xfrm>
            <a:off x="6388895" y="579495"/>
            <a:ext cx="5511005" cy="436562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6" name="Title 2 Placeholder">
            <a:extLst>
              <a:ext uri="{FF2B5EF4-FFF2-40B4-BE49-F238E27FC236}">
                <a16:creationId xmlns:a16="http://schemas.microsoft.com/office/drawing/2014/main" id="{2D03B6C0-C08D-EDFA-F4C8-01772C443E6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6383895" y="274634"/>
            <a:ext cx="5514418" cy="295756"/>
          </a:xfrm>
        </p:spPr>
        <p:txBody>
          <a:bodyPr anchor="t" anchorCtr="0">
            <a:noAutofit/>
          </a:bodyPr>
          <a:lstStyle>
            <a:lvl1pPr marL="0" indent="0">
              <a:buFont typeface="Arial" panose="020B0604020202020204" pitchFamily="34" charset="0"/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your slide title in Arial Bold 20pt</a:t>
            </a:r>
          </a:p>
        </p:txBody>
      </p:sp>
      <p:sp>
        <p:nvSpPr>
          <p:cNvPr id="3" name="Content 1 Placeholder">
            <a:extLst>
              <a:ext uri="{FF2B5EF4-FFF2-40B4-BE49-F238E27FC236}">
                <a16:creationId xmlns:a16="http://schemas.microsoft.com/office/drawing/2014/main" id="{BBF77ABD-CA9D-F0FB-47F7-ABF58A85B72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" hasCustomPrompt="1"/>
          </p:nvPr>
        </p:nvSpPr>
        <p:spPr>
          <a:xfrm>
            <a:off x="292100" y="1638301"/>
            <a:ext cx="5510210" cy="4038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nsert conten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Subtitle 1 Placeholder">
            <a:extLst>
              <a:ext uri="{FF2B5EF4-FFF2-40B4-BE49-F238E27FC236}">
                <a16:creationId xmlns:a16="http://schemas.microsoft.com/office/drawing/2014/main" id="{4DF2806F-470A-D63D-6287-2D96392FDB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5511005" cy="436562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2" name="Title 1 Placeholder">
            <a:extLst>
              <a:ext uri="{FF2B5EF4-FFF2-40B4-BE49-F238E27FC236}">
                <a16:creationId xmlns:a16="http://schemas.microsoft.com/office/drawing/2014/main" id="{330527F2-4E92-075E-0582-2535F1B4C69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5513623" cy="265590"/>
          </a:xfrm>
        </p:spPr>
        <p:txBody>
          <a:bodyPr/>
          <a:lstStyle/>
          <a:p>
            <a:r>
              <a:rPr lang="en-US"/>
              <a:t>Insert your slide title in Arial Bold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4522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680">
          <p15:clr>
            <a:srgbClr val="FBAE40"/>
          </p15:clr>
        </p15:guide>
        <p15:guide id="4" pos="3768">
          <p15:clr>
            <a:srgbClr val="A4A3A4"/>
          </p15:clr>
        </p15:guide>
        <p15:guide id="5" pos="3912">
          <p15:clr>
            <a:srgbClr val="A4A3A4"/>
          </p15:clr>
        </p15:guide>
        <p15:guide id="6" pos="7495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ule Block">
            <a:extLst>
              <a:ext uri="{FF2B5EF4-FFF2-40B4-BE49-F238E27FC236}">
                <a16:creationId xmlns:a16="http://schemas.microsoft.com/office/drawing/2014/main" id="{658D6E94-1F36-94B6-33A7-7C708E049D3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5802310" y="6299199"/>
            <a:ext cx="293690" cy="1861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err="1"/>
          </a:p>
        </p:txBody>
      </p:sp>
      <p:sp>
        <p:nvSpPr>
          <p:cNvPr id="12" name="Picture Placeholder">
            <a:extLst>
              <a:ext uri="{FF2B5EF4-FFF2-40B4-BE49-F238E27FC236}">
                <a16:creationId xmlns:a16="http://schemas.microsoft.com/office/drawing/2014/main" id="{7A78F6A2-6801-C5FD-6F85-67A9BBDEF53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7" hasCustomPrompt="1"/>
          </p:nvPr>
        </p:nvSpPr>
        <p:spPr>
          <a:xfrm>
            <a:off x="6096000" y="0"/>
            <a:ext cx="6096000" cy="6858000"/>
          </a:xfrm>
          <a:solidFill>
            <a:schemeClr val="tx1">
              <a:lumMod val="60000"/>
              <a:lumOff val="40000"/>
            </a:schemeClr>
          </a:solidFill>
        </p:spPr>
        <p:txBody>
          <a:bodyPr lIns="182880" tIns="91440" rIns="274320" anchor="t">
            <a:normAutofit/>
          </a:bodyPr>
          <a:lstStyle>
            <a:lvl1pPr marL="174625" indent="-174625" algn="l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rgbClr val="FFFF00"/>
                </a:solidFill>
              </a:defRPr>
            </a:lvl1pPr>
          </a:lstStyle>
          <a:p>
            <a:r>
              <a:rPr lang="en-US"/>
              <a:t>To add image: </a:t>
            </a:r>
            <a:br>
              <a:rPr lang="en-US"/>
            </a:br>
            <a:r>
              <a:rPr lang="en-US"/>
              <a:t>1. Select image placeholder </a:t>
            </a:r>
            <a:br>
              <a:rPr lang="en-US"/>
            </a:br>
            <a:r>
              <a:rPr lang="en-US"/>
              <a:t>2. Drag/drop file or copy/paste image into slide (.jpg, .gif, .</a:t>
            </a:r>
            <a:r>
              <a:rPr lang="en-US" err="1"/>
              <a:t>png</a:t>
            </a:r>
            <a:r>
              <a:rPr lang="en-US"/>
              <a:t>) </a:t>
            </a:r>
            <a:br>
              <a:rPr lang="en-US"/>
            </a:br>
            <a:r>
              <a:rPr lang="en-US"/>
              <a:t>3. Right-click image and “Send to back”</a:t>
            </a:r>
          </a:p>
          <a:p>
            <a:r>
              <a:rPr lang="en-GB"/>
              <a:t> 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E94EA2D6-F376-E5FB-864F-2472964B121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04DF46-C0DC-4ADC-9A6F-918CC4703A4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Copyright Line">
            <a:extLst>
              <a:ext uri="{FF2B5EF4-FFF2-40B4-BE49-F238E27FC236}">
                <a16:creationId xmlns:a16="http://schemas.microsoft.com/office/drawing/2014/main" id="{9C89E4B4-9DF8-8FBA-0988-31F1C70E415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09" y="6536551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>
                <a:solidFill>
                  <a:schemeClr val="tx1">
                    <a:lumMod val="40000"/>
                    <a:lumOff val="60000"/>
                  </a:schemeClr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2026</a:t>
            </a:fld>
            <a:r>
              <a:rPr lang="en-US" sz="700">
                <a:solidFill>
                  <a:schemeClr val="tx1">
                    <a:lumMod val="40000"/>
                    <a:lumOff val="60000"/>
                  </a:schemeClr>
                </a:solidFill>
              </a:rPr>
              <a:t> Nielsen Consumer LLC. All Rights Reserved.</a:t>
            </a:r>
          </a:p>
        </p:txBody>
      </p:sp>
      <p:sp>
        <p:nvSpPr>
          <p:cNvPr id="8" name="Confidential disclaimer">
            <a:extLst>
              <a:ext uri="{FF2B5EF4-FFF2-40B4-BE49-F238E27FC236}">
                <a16:creationId xmlns:a16="http://schemas.microsoft.com/office/drawing/2014/main" id="{96D5C3C7-B3B0-FB86-5907-4E244DADEAE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id="{E1297F61-9D45-2558-68F0-C18078DF95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3251200" y="6485399"/>
            <a:ext cx="2551110" cy="282957"/>
          </a:xfrm>
        </p:spPr>
        <p:txBody>
          <a:bodyPr/>
          <a:lstStyle/>
          <a:p>
            <a:endParaRPr lang="en-GB"/>
          </a:p>
        </p:txBody>
      </p:sp>
      <p:sp>
        <p:nvSpPr>
          <p:cNvPr id="5" name="Date Placeholder">
            <a:extLst>
              <a:ext uri="{FF2B5EF4-FFF2-40B4-BE49-F238E27FC236}">
                <a16:creationId xmlns:a16="http://schemas.microsoft.com/office/drawing/2014/main" id="{339D1539-DC5B-675F-DCC6-5BBCE25FC7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B789455A-F4F5-4ADB-BA98-24336C9EA3E7}" type="datetime1">
              <a:rPr lang="en-GB" smtClean="0"/>
              <a:t>12/02/2026</a:t>
            </a:fld>
            <a:endParaRPr lang="en-GB"/>
          </a:p>
        </p:txBody>
      </p: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2EA71DC4-3628-4313-321C-9A95F89CAB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551021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3" name="Content 1 Placeholder">
            <a:extLst>
              <a:ext uri="{FF2B5EF4-FFF2-40B4-BE49-F238E27FC236}">
                <a16:creationId xmlns:a16="http://schemas.microsoft.com/office/drawing/2014/main" id="{BBF77ABD-CA9D-F0FB-47F7-ABF58A85B72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" hasCustomPrompt="1"/>
          </p:nvPr>
        </p:nvSpPr>
        <p:spPr>
          <a:xfrm>
            <a:off x="292100" y="1638301"/>
            <a:ext cx="5510210" cy="4038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nsert conten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Subtitle 1 Placeholder">
            <a:extLst>
              <a:ext uri="{FF2B5EF4-FFF2-40B4-BE49-F238E27FC236}">
                <a16:creationId xmlns:a16="http://schemas.microsoft.com/office/drawing/2014/main" id="{4DF2806F-470A-D63D-6287-2D96392FDB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5511005" cy="436562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2" name="Title 1 Placeholder">
            <a:extLst>
              <a:ext uri="{FF2B5EF4-FFF2-40B4-BE49-F238E27FC236}">
                <a16:creationId xmlns:a16="http://schemas.microsoft.com/office/drawing/2014/main" id="{330527F2-4E92-075E-0582-2535F1B4C69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5513623" cy="265590"/>
          </a:xfrm>
        </p:spPr>
        <p:txBody>
          <a:bodyPr/>
          <a:lstStyle/>
          <a:p>
            <a:r>
              <a:rPr lang="en-US"/>
              <a:t>Insert your slide title in Arial Bold 20pt</a:t>
            </a:r>
            <a:endParaRPr lang="en-GB"/>
          </a:p>
        </p:txBody>
      </p:sp>
      <p:sp>
        <p:nvSpPr>
          <p:cNvPr id="22" name="Off-slide Instructions">
            <a:extLst>
              <a:ext uri="{FF2B5EF4-FFF2-40B4-BE49-F238E27FC236}">
                <a16:creationId xmlns:a16="http://schemas.microsoft.com/office/drawing/2014/main" id="{960CB651-6B1A-3200-5D2F-A4891428ED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2338614" y="0"/>
            <a:ext cx="2812486" cy="2373888"/>
          </a:xfrm>
          <a:prstGeom prst="bracketPair">
            <a:avLst>
              <a:gd name="adj" fmla="val 4083"/>
            </a:avLst>
          </a:prstGeom>
          <a:solidFill>
            <a:srgbClr val="FFFF00">
              <a:alpha val="80000"/>
            </a:srgbClr>
          </a:solidFill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spAutoFit/>
          </a:bodyPr>
          <a:lstStyle/>
          <a:p>
            <a:pPr marL="0" indent="0" algn="l" defTabSz="914400" rtl="0" eaLnBrk="1" latinLnBrk="0" hangingPunct="1">
              <a:spcAft>
                <a:spcPts val="400"/>
              </a:spcAft>
              <a:buFont typeface="+mj-lt"/>
              <a:buNone/>
            </a:pPr>
            <a:r>
              <a:rPr lang="en-US" sz="1200" b="1" kern="12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If copyright line, disclaimer, slide #, etc. are missing:</a:t>
            </a:r>
          </a:p>
          <a:p>
            <a:pPr marL="177800" lvl="0" indent="-177800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Go to </a:t>
            </a:r>
            <a:r>
              <a:rPr lang="en-US" sz="800" b="1">
                <a:solidFill>
                  <a:srgbClr val="000000"/>
                </a:solidFill>
              </a:rPr>
              <a:t>View &gt; Slide Master</a:t>
            </a:r>
          </a:p>
          <a:p>
            <a:pPr marL="177800" lvl="0" indent="-177800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Copy missing elements from Layout Master</a:t>
            </a:r>
          </a:p>
          <a:p>
            <a:pPr marL="177800" lvl="0" indent="-177800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Close Master View</a:t>
            </a:r>
          </a:p>
          <a:p>
            <a:pPr marL="177800" lvl="0" indent="-177800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Paste on slide</a:t>
            </a:r>
            <a:endParaRPr lang="en-US" sz="1200" b="1">
              <a:solidFill>
                <a:srgbClr val="000000"/>
              </a:solidFill>
            </a:endParaRPr>
          </a:p>
          <a:p>
            <a:pPr>
              <a:spcAft>
                <a:spcPts val="400"/>
              </a:spcAft>
            </a:pPr>
            <a:endParaRPr lang="en-US" sz="1200" b="1">
              <a:solidFill>
                <a:srgbClr val="000000"/>
              </a:solidFill>
            </a:endParaRPr>
          </a:p>
          <a:p>
            <a:pPr>
              <a:spcAft>
                <a:spcPts val="400"/>
              </a:spcAft>
            </a:pPr>
            <a:r>
              <a:rPr lang="en-US" sz="1200" b="1">
                <a:solidFill>
                  <a:srgbClr val="000000"/>
                </a:solidFill>
              </a:rPr>
              <a:t>To replace existing image:</a:t>
            </a:r>
          </a:p>
          <a:p>
            <a:pPr marL="174625" indent="-174625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Right-click image placeholder</a:t>
            </a:r>
          </a:p>
          <a:p>
            <a:pPr marL="174625" indent="-174625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Select </a:t>
            </a:r>
            <a:r>
              <a:rPr lang="en-US" sz="800" b="1">
                <a:solidFill>
                  <a:srgbClr val="000000"/>
                </a:solidFill>
              </a:rPr>
              <a:t>Change Picture</a:t>
            </a:r>
          </a:p>
          <a:p>
            <a:pPr marL="174625" indent="-174625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Select</a:t>
            </a:r>
            <a:r>
              <a:rPr lang="en-US" sz="800" b="1">
                <a:solidFill>
                  <a:srgbClr val="000000"/>
                </a:solidFill>
              </a:rPr>
              <a:t> desired </a:t>
            </a:r>
            <a:r>
              <a:rPr lang="en-US" sz="800">
                <a:solidFill>
                  <a:srgbClr val="000000"/>
                </a:solidFill>
              </a:rPr>
              <a:t>image file (.jpg, .</a:t>
            </a:r>
            <a:r>
              <a:rPr lang="en-US" sz="800" err="1">
                <a:solidFill>
                  <a:srgbClr val="000000"/>
                </a:solidFill>
              </a:rPr>
              <a:t>png</a:t>
            </a:r>
            <a:r>
              <a:rPr lang="en-US" sz="800">
                <a:solidFill>
                  <a:srgbClr val="000000"/>
                </a:solidFill>
              </a:rPr>
              <a:t>, .gif)</a:t>
            </a:r>
          </a:p>
          <a:p>
            <a:pPr marL="174625" indent="-174625">
              <a:spcAft>
                <a:spcPts val="400"/>
              </a:spcAft>
              <a:buFont typeface="+mj-lt"/>
              <a:buAutoNum type="arabicPeriod"/>
            </a:pPr>
            <a:endParaRPr lang="en-US" sz="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7918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680">
          <p15:clr>
            <a:srgbClr val="FBAE40"/>
          </p15:clr>
        </p15:guide>
        <p15:guide id="4" pos="3768">
          <p15:clr>
            <a:srgbClr val="A4A3A4"/>
          </p15:clr>
        </p15:guide>
        <p15:guide id="5" pos="3912">
          <p15:clr>
            <a:srgbClr val="A4A3A4"/>
          </p15:clr>
        </p15:guide>
        <p15:guide id="6" pos="7495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CFA438E1-E88D-115E-D3AC-C02C6E11C4B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Date Placeholder">
            <a:extLst>
              <a:ext uri="{FF2B5EF4-FFF2-40B4-BE49-F238E27FC236}">
                <a16:creationId xmlns:a16="http://schemas.microsoft.com/office/drawing/2014/main" id="{A9C7E5F4-8ACB-AE44-BEFF-CFE9E0596F3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1B0DF2C9-7B70-4009-B83E-42FD28295E6A}" type="datetime1">
              <a:rPr lang="en-GB" smtClean="0"/>
              <a:t>12/02/2026</a:t>
            </a:fld>
            <a:endParaRPr lang="en-GB"/>
          </a:p>
        </p:txBody>
      </p:sp>
      <p:sp>
        <p:nvSpPr>
          <p:cNvPr id="12" name="Source Placeholder">
            <a:extLst>
              <a:ext uri="{FF2B5EF4-FFF2-40B4-BE49-F238E27FC236}">
                <a16:creationId xmlns:a16="http://schemas.microsoft.com/office/drawing/2014/main" id="{C3339F06-F87A-3EB3-4646-D4F9A9AC27A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6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11" name="Content 3 Placeholder">
            <a:extLst>
              <a:ext uri="{FF2B5EF4-FFF2-40B4-BE49-F238E27FC236}">
                <a16:creationId xmlns:a16="http://schemas.microsoft.com/office/drawing/2014/main" id="{F0ADA552-6794-0F4D-013E-A6DA97DBFF4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5" hasCustomPrompt="1"/>
          </p:nvPr>
        </p:nvSpPr>
        <p:spPr>
          <a:xfrm>
            <a:off x="8199441" y="2019300"/>
            <a:ext cx="3700459" cy="36576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Header 3 Placeholder">
            <a:extLst>
              <a:ext uri="{FF2B5EF4-FFF2-40B4-BE49-F238E27FC236}">
                <a16:creationId xmlns:a16="http://schemas.microsoft.com/office/drawing/2014/main" id="{2E94C2A3-89CF-36E6-BD07-E465D92FB48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8199441" y="1308100"/>
            <a:ext cx="3710815" cy="620525"/>
          </a:xfrm>
        </p:spPr>
        <p:txBody>
          <a:bodyPr anchor="b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Insert column header</a:t>
            </a:r>
          </a:p>
        </p:txBody>
      </p:sp>
      <p:sp>
        <p:nvSpPr>
          <p:cNvPr id="9" name="Content 2 Placeholder">
            <a:extLst>
              <a:ext uri="{FF2B5EF4-FFF2-40B4-BE49-F238E27FC236}">
                <a16:creationId xmlns:a16="http://schemas.microsoft.com/office/drawing/2014/main" id="{EEE356A3-4F73-532E-E901-63F8001F850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4" hasCustomPrompt="1"/>
          </p:nvPr>
        </p:nvSpPr>
        <p:spPr>
          <a:xfrm>
            <a:off x="4245770" y="2019300"/>
            <a:ext cx="3700459" cy="36576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Header 2 Placeholder">
            <a:extLst>
              <a:ext uri="{FF2B5EF4-FFF2-40B4-BE49-F238E27FC236}">
                <a16:creationId xmlns:a16="http://schemas.microsoft.com/office/drawing/2014/main" id="{BC5A4612-F020-83E1-2D4D-D6D0BB5148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" hasCustomPrompt="1"/>
          </p:nvPr>
        </p:nvSpPr>
        <p:spPr>
          <a:xfrm>
            <a:off x="4240592" y="1308100"/>
            <a:ext cx="3710815" cy="620525"/>
          </a:xfrm>
        </p:spPr>
        <p:txBody>
          <a:bodyPr anchor="b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Insert column header</a:t>
            </a:r>
          </a:p>
        </p:txBody>
      </p:sp>
      <p:sp>
        <p:nvSpPr>
          <p:cNvPr id="7" name="Content 1 Placeholder">
            <a:extLst>
              <a:ext uri="{FF2B5EF4-FFF2-40B4-BE49-F238E27FC236}">
                <a16:creationId xmlns:a16="http://schemas.microsoft.com/office/drawing/2014/main" id="{2EA745BA-CA14-8FD0-05BA-8977508264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292101" y="2019300"/>
            <a:ext cx="3700460" cy="36576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Header 1 Placeholder">
            <a:extLst>
              <a:ext uri="{FF2B5EF4-FFF2-40B4-BE49-F238E27FC236}">
                <a16:creationId xmlns:a16="http://schemas.microsoft.com/office/drawing/2014/main" id="{97696C2F-B753-BD09-3B16-F91EAC65E0F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1" y="1308100"/>
            <a:ext cx="3710815" cy="620525"/>
          </a:xfrm>
        </p:spPr>
        <p:txBody>
          <a:bodyPr anchor="b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Insert column header</a:t>
            </a:r>
          </a:p>
        </p:txBody>
      </p:sp>
      <p:sp>
        <p:nvSpPr>
          <p:cNvPr id="28" name="Subtitle Placeholder">
            <a:extLst>
              <a:ext uri="{FF2B5EF4-FFF2-40B4-BE49-F238E27FC236}">
                <a16:creationId xmlns:a16="http://schemas.microsoft.com/office/drawing/2014/main" id="{8C1BA443-5E48-08B0-7F06-D0960B1340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54DD3914-9029-5BF1-3AFD-5FCA9538DDA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your slide title in Arial Bold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4326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525">
          <p15:clr>
            <a:srgbClr val="FDE53C"/>
          </p15:clr>
        </p15:guide>
        <p15:guide id="11" pos="2669">
          <p15:clr>
            <a:srgbClr val="FDE53C"/>
          </p15:clr>
        </p15:guide>
        <p15:guide id="18" pos="5010">
          <p15:clr>
            <a:srgbClr val="FDE53C"/>
          </p15:clr>
        </p15:guide>
        <p15:guide id="19" pos="5154">
          <p15:clr>
            <a:srgbClr val="FDE53C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">
            <a:extLst>
              <a:ext uri="{FF2B5EF4-FFF2-40B4-BE49-F238E27FC236}">
                <a16:creationId xmlns:a16="http://schemas.microsoft.com/office/drawing/2014/main" id="{12CCAFAE-C3C1-93DF-1738-B04D08AAA19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95100"/>
            <a:ext cx="404321" cy="282957"/>
          </a:xfrm>
        </p:spPr>
        <p:txBody>
          <a:bodyPr/>
          <a:lstStyle/>
          <a:p>
            <a:fld id="{3E04DF46-C0DC-4ADC-9A6F-918CC4703A43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Footer Placeholder">
            <a:extLst>
              <a:ext uri="{FF2B5EF4-FFF2-40B4-BE49-F238E27FC236}">
                <a16:creationId xmlns:a16="http://schemas.microsoft.com/office/drawing/2014/main" id="{55FFC31E-E405-EE5D-84F4-271FC2E1F99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7" y="6495102"/>
            <a:ext cx="3716341" cy="282957"/>
          </a:xfrm>
        </p:spPr>
        <p:txBody>
          <a:bodyPr/>
          <a:lstStyle/>
          <a:p>
            <a:endParaRPr lang="en-GB"/>
          </a:p>
        </p:txBody>
      </p:sp>
      <p:sp>
        <p:nvSpPr>
          <p:cNvPr id="12" name="Date Placeholder">
            <a:extLst>
              <a:ext uri="{FF2B5EF4-FFF2-40B4-BE49-F238E27FC236}">
                <a16:creationId xmlns:a16="http://schemas.microsoft.com/office/drawing/2014/main" id="{96FC01CD-E391-B88C-4294-55474F60DE8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2"/>
            <a:ext cx="757238" cy="282957"/>
          </a:xfrm>
        </p:spPr>
        <p:txBody>
          <a:bodyPr/>
          <a:lstStyle/>
          <a:p>
            <a:fld id="{1B0DF2C9-7B70-4009-B83E-42FD28295E6A}" type="datetime1">
              <a:rPr lang="en-GB" smtClean="0"/>
              <a:t>12/02/2026</a:t>
            </a:fld>
            <a:endParaRPr lang="en-GB"/>
          </a:p>
        </p:txBody>
      </p:sp>
      <p:sp>
        <p:nvSpPr>
          <p:cNvPr id="16" name="Source Placeholder">
            <a:extLst>
              <a:ext uri="{FF2B5EF4-FFF2-40B4-BE49-F238E27FC236}">
                <a16:creationId xmlns:a16="http://schemas.microsoft.com/office/drawing/2014/main" id="{DC33EFBA-9F80-C4A6-4F52-04BD9D8AD5B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6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17" name="Content 3 Placeholder">
            <a:extLst>
              <a:ext uri="{FF2B5EF4-FFF2-40B4-BE49-F238E27FC236}">
                <a16:creationId xmlns:a16="http://schemas.microsoft.com/office/drawing/2014/main" id="{19AC42AA-357A-BBCD-7082-438C23F9891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7" hasCustomPrompt="1"/>
          </p:nvPr>
        </p:nvSpPr>
        <p:spPr>
          <a:xfrm>
            <a:off x="8199441" y="3771900"/>
            <a:ext cx="3700459" cy="19050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Image/Content 3 Placeholder">
            <a:extLst>
              <a:ext uri="{FF2B5EF4-FFF2-40B4-BE49-F238E27FC236}">
                <a16:creationId xmlns:a16="http://schemas.microsoft.com/office/drawing/2014/main" id="{F0ADA552-6794-0F4D-013E-A6DA97DBFF4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5" hasCustomPrompt="1"/>
          </p:nvPr>
        </p:nvSpPr>
        <p:spPr>
          <a:xfrm>
            <a:off x="8199441" y="1638300"/>
            <a:ext cx="3700459" cy="1905000"/>
          </a:xfrm>
          <a:solidFill>
            <a:srgbClr val="F0F0F0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dirty="0"/>
            </a:lvl1pPr>
            <a:lvl2pPr marL="285750" indent="0">
              <a:buNone/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0" lvl="0" indent="0" algn="ctr">
              <a:buNone/>
            </a:pPr>
            <a:r>
              <a:rPr lang="en-US"/>
              <a:t>Insert your copy here</a:t>
            </a:r>
          </a:p>
        </p:txBody>
      </p:sp>
      <p:sp>
        <p:nvSpPr>
          <p:cNvPr id="18" name="Content 2 Placeholder">
            <a:extLst>
              <a:ext uri="{FF2B5EF4-FFF2-40B4-BE49-F238E27FC236}">
                <a16:creationId xmlns:a16="http://schemas.microsoft.com/office/drawing/2014/main" id="{91174CB4-C42A-BB81-5C74-7EAE27158E3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8" hasCustomPrompt="1"/>
          </p:nvPr>
        </p:nvSpPr>
        <p:spPr>
          <a:xfrm>
            <a:off x="4245770" y="3771900"/>
            <a:ext cx="3700459" cy="19050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Image/Content 2 Placeholder">
            <a:extLst>
              <a:ext uri="{FF2B5EF4-FFF2-40B4-BE49-F238E27FC236}">
                <a16:creationId xmlns:a16="http://schemas.microsoft.com/office/drawing/2014/main" id="{EEE356A3-4F73-532E-E901-63F8001F850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4" hasCustomPrompt="1"/>
          </p:nvPr>
        </p:nvSpPr>
        <p:spPr>
          <a:xfrm>
            <a:off x="4245770" y="1638300"/>
            <a:ext cx="3700459" cy="1905000"/>
          </a:xfrm>
          <a:solidFill>
            <a:srgbClr val="F0F0F0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0" lvl="0" indent="0" algn="ctr">
              <a:buNone/>
            </a:pPr>
            <a:r>
              <a:rPr lang="en-US"/>
              <a:t>Insert your copy here</a:t>
            </a:r>
          </a:p>
        </p:txBody>
      </p:sp>
      <p:sp>
        <p:nvSpPr>
          <p:cNvPr id="19" name="Content 1 Placeholder">
            <a:extLst>
              <a:ext uri="{FF2B5EF4-FFF2-40B4-BE49-F238E27FC236}">
                <a16:creationId xmlns:a16="http://schemas.microsoft.com/office/drawing/2014/main" id="{20DCDE7D-AA2C-B7B3-8FBD-202D432B2BC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9" hasCustomPrompt="1"/>
          </p:nvPr>
        </p:nvSpPr>
        <p:spPr>
          <a:xfrm>
            <a:off x="292101" y="3771900"/>
            <a:ext cx="3700460" cy="19050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Image/Content 1 Placeholder">
            <a:extLst>
              <a:ext uri="{FF2B5EF4-FFF2-40B4-BE49-F238E27FC236}">
                <a16:creationId xmlns:a16="http://schemas.microsoft.com/office/drawing/2014/main" id="{2EA745BA-CA14-8FD0-05BA-8977508264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292101" y="1638300"/>
            <a:ext cx="3700460" cy="1905000"/>
          </a:xfrm>
          <a:solidFill>
            <a:srgbClr val="F0F0F0"/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GB"/>
              <a:t>Insert content</a:t>
            </a:r>
          </a:p>
        </p:txBody>
      </p:sp>
      <p:sp>
        <p:nvSpPr>
          <p:cNvPr id="20" name="Subtitle Placeholder">
            <a:extLst>
              <a:ext uri="{FF2B5EF4-FFF2-40B4-BE49-F238E27FC236}">
                <a16:creationId xmlns:a16="http://schemas.microsoft.com/office/drawing/2014/main" id="{54C4B065-17A6-1D25-422B-92271767584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21" name="Title Placeholder">
            <a:extLst>
              <a:ext uri="{FF2B5EF4-FFF2-40B4-BE49-F238E27FC236}">
                <a16:creationId xmlns:a16="http://schemas.microsoft.com/office/drawing/2014/main" id="{F79F3FC7-37DD-5A7A-D505-4F22DDE2487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11613314" cy="265590"/>
          </a:xfrm>
        </p:spPr>
        <p:txBody>
          <a:bodyPr/>
          <a:lstStyle/>
          <a:p>
            <a:r>
              <a:rPr lang="en-US"/>
              <a:t>Insert your slide title in Arial Bold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963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525">
          <p15:clr>
            <a:srgbClr val="FDE53C"/>
          </p15:clr>
        </p15:guide>
        <p15:guide id="11" pos="2669">
          <p15:clr>
            <a:srgbClr val="FDE53C"/>
          </p15:clr>
        </p15:guide>
        <p15:guide id="18" pos="5010">
          <p15:clr>
            <a:srgbClr val="FDE53C"/>
          </p15:clr>
        </p15:guide>
        <p15:guide id="19" pos="5154">
          <p15:clr>
            <a:srgbClr val="FDE53C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">
            <a:extLst>
              <a:ext uri="{FF2B5EF4-FFF2-40B4-BE49-F238E27FC236}">
                <a16:creationId xmlns:a16="http://schemas.microsoft.com/office/drawing/2014/main" id="{D495B8CC-E8CB-7F1A-1316-9781EDA1285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95100"/>
            <a:ext cx="404321" cy="282957"/>
          </a:xfrm>
        </p:spPr>
        <p:txBody>
          <a:bodyPr>
            <a:noAutofit/>
          </a:bodyPr>
          <a:lstStyle/>
          <a:p>
            <a:fld id="{3E04DF46-C0DC-4ADC-9A6F-918CC4703A43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Footer Placeholder">
            <a:extLst>
              <a:ext uri="{FF2B5EF4-FFF2-40B4-BE49-F238E27FC236}">
                <a16:creationId xmlns:a16="http://schemas.microsoft.com/office/drawing/2014/main" id="{755874C6-354E-0479-18AF-0B5B6F2D8DB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7" y="6495102"/>
            <a:ext cx="3716341" cy="282957"/>
          </a:xfrm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17" name="Date Placeholder">
            <a:extLst>
              <a:ext uri="{FF2B5EF4-FFF2-40B4-BE49-F238E27FC236}">
                <a16:creationId xmlns:a16="http://schemas.microsoft.com/office/drawing/2014/main" id="{7C2D774A-7DFB-C505-8D80-D8FC261E954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2"/>
            <a:ext cx="757238" cy="282957"/>
          </a:xfrm>
        </p:spPr>
        <p:txBody>
          <a:bodyPr>
            <a:noAutofit/>
          </a:bodyPr>
          <a:lstStyle/>
          <a:p>
            <a:fld id="{1B0DF2C9-7B70-4009-B83E-42FD28295E6A}" type="datetime1">
              <a:rPr lang="en-GB" smtClean="0"/>
              <a:t>12/02/2026</a:t>
            </a:fld>
            <a:endParaRPr lang="en-GB"/>
          </a:p>
        </p:txBody>
      </p:sp>
      <p:sp>
        <p:nvSpPr>
          <p:cNvPr id="18" name="Source Placeholder">
            <a:extLst>
              <a:ext uri="{FF2B5EF4-FFF2-40B4-BE49-F238E27FC236}">
                <a16:creationId xmlns:a16="http://schemas.microsoft.com/office/drawing/2014/main" id="{1D1442CA-AA80-3CCA-30CB-BC1CBF625A1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6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27" name="Content 4 Placeholder">
            <a:extLst>
              <a:ext uri="{FF2B5EF4-FFF2-40B4-BE49-F238E27FC236}">
                <a16:creationId xmlns:a16="http://schemas.microsoft.com/office/drawing/2014/main" id="{7C2B5AD6-A6E3-3B28-9679-4CAA49FFC4B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7" hasCustomPrompt="1"/>
          </p:nvPr>
        </p:nvSpPr>
        <p:spPr>
          <a:xfrm>
            <a:off x="9169401" y="2019300"/>
            <a:ext cx="2725320" cy="36576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Header 4 Placeholder">
            <a:extLst>
              <a:ext uri="{FF2B5EF4-FFF2-40B4-BE49-F238E27FC236}">
                <a16:creationId xmlns:a16="http://schemas.microsoft.com/office/drawing/2014/main" id="{46CE2237-C386-E5C2-9850-234FCD6F556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8" hasCustomPrompt="1"/>
          </p:nvPr>
        </p:nvSpPr>
        <p:spPr>
          <a:xfrm>
            <a:off x="9169401" y="1308100"/>
            <a:ext cx="2730499" cy="620525"/>
          </a:xfrm>
        </p:spPr>
        <p:txBody>
          <a:bodyPr anchor="b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Insert column header</a:t>
            </a:r>
          </a:p>
        </p:txBody>
      </p:sp>
      <p:sp>
        <p:nvSpPr>
          <p:cNvPr id="19" name="Content 3 Placeholder">
            <a:extLst>
              <a:ext uri="{FF2B5EF4-FFF2-40B4-BE49-F238E27FC236}">
                <a16:creationId xmlns:a16="http://schemas.microsoft.com/office/drawing/2014/main" id="{9D282216-D102-1092-A42F-C09C78C616B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5" hasCustomPrompt="1"/>
          </p:nvPr>
        </p:nvSpPr>
        <p:spPr>
          <a:xfrm>
            <a:off x="6215481" y="2019300"/>
            <a:ext cx="2725320" cy="36576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Header 3 Placeholder">
            <a:extLst>
              <a:ext uri="{FF2B5EF4-FFF2-40B4-BE49-F238E27FC236}">
                <a16:creationId xmlns:a16="http://schemas.microsoft.com/office/drawing/2014/main" id="{DF86DE8F-0F64-3718-C7A3-3C0DA008E36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6215481" y="1308100"/>
            <a:ext cx="2730499" cy="620525"/>
          </a:xfrm>
        </p:spPr>
        <p:txBody>
          <a:bodyPr anchor="b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Insert column header</a:t>
            </a:r>
          </a:p>
        </p:txBody>
      </p:sp>
      <p:sp>
        <p:nvSpPr>
          <p:cNvPr id="21" name="Content 2 Placeholder">
            <a:extLst>
              <a:ext uri="{FF2B5EF4-FFF2-40B4-BE49-F238E27FC236}">
                <a16:creationId xmlns:a16="http://schemas.microsoft.com/office/drawing/2014/main" id="{0C107B28-6253-BBE5-A677-D106A288FC6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4" hasCustomPrompt="1"/>
          </p:nvPr>
        </p:nvSpPr>
        <p:spPr>
          <a:xfrm>
            <a:off x="3251201" y="2019300"/>
            <a:ext cx="2725320" cy="36576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Header 2 Placeholder">
            <a:extLst>
              <a:ext uri="{FF2B5EF4-FFF2-40B4-BE49-F238E27FC236}">
                <a16:creationId xmlns:a16="http://schemas.microsoft.com/office/drawing/2014/main" id="{F576DA41-4177-FBCB-15CA-5D5CFC03D6E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" hasCustomPrompt="1"/>
          </p:nvPr>
        </p:nvSpPr>
        <p:spPr>
          <a:xfrm>
            <a:off x="3251201" y="1308100"/>
            <a:ext cx="2730499" cy="620525"/>
          </a:xfrm>
        </p:spPr>
        <p:txBody>
          <a:bodyPr anchor="b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Insert column header</a:t>
            </a:r>
          </a:p>
        </p:txBody>
      </p:sp>
      <p:sp>
        <p:nvSpPr>
          <p:cNvPr id="23" name="Content 1 Placeholder">
            <a:extLst>
              <a:ext uri="{FF2B5EF4-FFF2-40B4-BE49-F238E27FC236}">
                <a16:creationId xmlns:a16="http://schemas.microsoft.com/office/drawing/2014/main" id="{798BF9BC-09E8-98E1-3853-58189E5CB99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292101" y="2019300"/>
            <a:ext cx="2725321" cy="36576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Header 1 Placeholder">
            <a:extLst>
              <a:ext uri="{FF2B5EF4-FFF2-40B4-BE49-F238E27FC236}">
                <a16:creationId xmlns:a16="http://schemas.microsoft.com/office/drawing/2014/main" id="{3DBA9534-E843-A204-0F9A-0F01FA42573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1" y="1308100"/>
            <a:ext cx="2730499" cy="620525"/>
          </a:xfrm>
        </p:spPr>
        <p:txBody>
          <a:bodyPr anchor="b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Insert column header</a:t>
            </a:r>
          </a:p>
        </p:txBody>
      </p:sp>
      <p:sp>
        <p:nvSpPr>
          <p:cNvPr id="25" name="Subtitle Placeholder">
            <a:extLst>
              <a:ext uri="{FF2B5EF4-FFF2-40B4-BE49-F238E27FC236}">
                <a16:creationId xmlns:a16="http://schemas.microsoft.com/office/drawing/2014/main" id="{F84E48B2-4370-582F-FBFE-E1DA1A8B91C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26" name="Title Placeholder">
            <a:extLst>
              <a:ext uri="{FF2B5EF4-FFF2-40B4-BE49-F238E27FC236}">
                <a16:creationId xmlns:a16="http://schemas.microsoft.com/office/drawing/2014/main" id="{3E0B6312-F182-139F-C3A4-F69C900CC48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11613314" cy="265590"/>
          </a:xfrm>
        </p:spPr>
        <p:txBody>
          <a:bodyPr>
            <a:noAutofit/>
          </a:bodyPr>
          <a:lstStyle/>
          <a:p>
            <a:r>
              <a:rPr lang="en-US"/>
              <a:t>Insert your slide title in Arial Bold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6596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904">
          <p15:clr>
            <a:srgbClr val="5ACBF0"/>
          </p15:clr>
        </p15:guide>
        <p15:guide id="9" pos="2048">
          <p15:clr>
            <a:srgbClr val="5ACBF0"/>
          </p15:clr>
        </p15:guide>
        <p15:guide id="14" pos="3768">
          <p15:clr>
            <a:srgbClr val="A4A3A4"/>
          </p15:clr>
        </p15:guide>
        <p15:guide id="15" pos="3912">
          <p15:clr>
            <a:srgbClr val="A4A3A4"/>
          </p15:clr>
        </p15:guide>
        <p15:guide id="20" pos="5631">
          <p15:clr>
            <a:srgbClr val="5ACBF0"/>
          </p15:clr>
        </p15:guide>
        <p15:guide id="21" pos="5775">
          <p15:clr>
            <a:srgbClr val="5ACBF0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">
            <a:extLst>
              <a:ext uri="{FF2B5EF4-FFF2-40B4-BE49-F238E27FC236}">
                <a16:creationId xmlns:a16="http://schemas.microsoft.com/office/drawing/2014/main" id="{63BBECEB-ADAD-567C-0E7F-32D5DD73D22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95100"/>
            <a:ext cx="404321" cy="282957"/>
          </a:xfrm>
        </p:spPr>
        <p:txBody>
          <a:bodyPr>
            <a:noAutofit/>
          </a:bodyPr>
          <a:lstStyle/>
          <a:p>
            <a:fld id="{3E04DF46-C0DC-4ADC-9A6F-918CC4703A43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Footer Placeholder">
            <a:extLst>
              <a:ext uri="{FF2B5EF4-FFF2-40B4-BE49-F238E27FC236}">
                <a16:creationId xmlns:a16="http://schemas.microsoft.com/office/drawing/2014/main" id="{4CE5B1DD-3293-4063-F7F1-B70B9765EBB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7" y="6495102"/>
            <a:ext cx="3716341" cy="282957"/>
          </a:xfrm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12" name="Date Placeholder">
            <a:extLst>
              <a:ext uri="{FF2B5EF4-FFF2-40B4-BE49-F238E27FC236}">
                <a16:creationId xmlns:a16="http://schemas.microsoft.com/office/drawing/2014/main" id="{2B42008E-A492-279B-2ED3-A175F4B4468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2"/>
            <a:ext cx="757238" cy="282957"/>
          </a:xfrm>
        </p:spPr>
        <p:txBody>
          <a:bodyPr>
            <a:noAutofit/>
          </a:bodyPr>
          <a:lstStyle/>
          <a:p>
            <a:fld id="{1B0DF2C9-7B70-4009-B83E-42FD28295E6A}" type="datetime1">
              <a:rPr lang="en-GB" smtClean="0"/>
              <a:t>12/02/2026</a:t>
            </a:fld>
            <a:endParaRPr lang="en-GB"/>
          </a:p>
        </p:txBody>
      </p:sp>
      <p:sp>
        <p:nvSpPr>
          <p:cNvPr id="18" name="Source Placeholder">
            <a:extLst>
              <a:ext uri="{FF2B5EF4-FFF2-40B4-BE49-F238E27FC236}">
                <a16:creationId xmlns:a16="http://schemas.microsoft.com/office/drawing/2014/main" id="{B58D918B-E5ED-CEFD-AC78-E2B63F48FCB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6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27" name="Content 4 Placeholder">
            <a:extLst>
              <a:ext uri="{FF2B5EF4-FFF2-40B4-BE49-F238E27FC236}">
                <a16:creationId xmlns:a16="http://schemas.microsoft.com/office/drawing/2014/main" id="{144A1808-BD26-954C-7A7D-83EEA82BA69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20" hasCustomPrompt="1"/>
          </p:nvPr>
        </p:nvSpPr>
        <p:spPr>
          <a:xfrm>
            <a:off x="9169398" y="3771900"/>
            <a:ext cx="2730499" cy="19050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Image/Content 4 Placeholder">
            <a:extLst>
              <a:ext uri="{FF2B5EF4-FFF2-40B4-BE49-F238E27FC236}">
                <a16:creationId xmlns:a16="http://schemas.microsoft.com/office/drawing/2014/main" id="{8FC58B79-91D4-E705-AA46-09881D8F6B6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21" hasCustomPrompt="1"/>
          </p:nvPr>
        </p:nvSpPr>
        <p:spPr>
          <a:xfrm>
            <a:off x="9169398" y="1638300"/>
            <a:ext cx="2730499" cy="1905000"/>
          </a:xfrm>
          <a:solidFill>
            <a:srgbClr val="F0F0F0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dirty="0"/>
            </a:lvl1pPr>
            <a:lvl2pPr marL="285750" indent="0">
              <a:buNone/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0" lvl="0" indent="0" algn="ctr">
              <a:buNone/>
            </a:pPr>
            <a:r>
              <a:rPr lang="en-US"/>
              <a:t>Insert your copy here</a:t>
            </a:r>
          </a:p>
        </p:txBody>
      </p:sp>
      <p:sp>
        <p:nvSpPr>
          <p:cNvPr id="19" name="Content 3 Placeholder">
            <a:extLst>
              <a:ext uri="{FF2B5EF4-FFF2-40B4-BE49-F238E27FC236}">
                <a16:creationId xmlns:a16="http://schemas.microsoft.com/office/drawing/2014/main" id="{1C68F5D6-927B-1890-8237-531EC33D821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7" hasCustomPrompt="1"/>
          </p:nvPr>
        </p:nvSpPr>
        <p:spPr>
          <a:xfrm>
            <a:off x="6210300" y="3771900"/>
            <a:ext cx="2730499" cy="19050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Image/Content 3 Placeholder">
            <a:extLst>
              <a:ext uri="{FF2B5EF4-FFF2-40B4-BE49-F238E27FC236}">
                <a16:creationId xmlns:a16="http://schemas.microsoft.com/office/drawing/2014/main" id="{6A6CF041-3B02-7A63-A899-5A7D01696A1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5" hasCustomPrompt="1"/>
          </p:nvPr>
        </p:nvSpPr>
        <p:spPr>
          <a:xfrm>
            <a:off x="6210300" y="1638300"/>
            <a:ext cx="2730499" cy="1905000"/>
          </a:xfrm>
          <a:solidFill>
            <a:srgbClr val="F0F0F0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dirty="0"/>
            </a:lvl1pPr>
            <a:lvl2pPr marL="285750" indent="0">
              <a:buNone/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0" lvl="0" indent="0" algn="ctr">
              <a:buNone/>
            </a:pPr>
            <a:r>
              <a:rPr lang="en-US"/>
              <a:t>Insert your copy here</a:t>
            </a:r>
          </a:p>
        </p:txBody>
      </p:sp>
      <p:sp>
        <p:nvSpPr>
          <p:cNvPr id="21" name="Content 2 Placeholder">
            <a:extLst>
              <a:ext uri="{FF2B5EF4-FFF2-40B4-BE49-F238E27FC236}">
                <a16:creationId xmlns:a16="http://schemas.microsoft.com/office/drawing/2014/main" id="{D738D949-C558-6B16-B96A-624CAABF5C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8" hasCustomPrompt="1"/>
          </p:nvPr>
        </p:nvSpPr>
        <p:spPr>
          <a:xfrm>
            <a:off x="3251202" y="3771900"/>
            <a:ext cx="2730499" cy="19050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Image/Content 2 Placeholder">
            <a:extLst>
              <a:ext uri="{FF2B5EF4-FFF2-40B4-BE49-F238E27FC236}">
                <a16:creationId xmlns:a16="http://schemas.microsoft.com/office/drawing/2014/main" id="{5F2A25EF-6714-B247-2DB2-B0DC035CA2A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4" hasCustomPrompt="1"/>
          </p:nvPr>
        </p:nvSpPr>
        <p:spPr>
          <a:xfrm>
            <a:off x="3251202" y="1638300"/>
            <a:ext cx="2730499" cy="1905000"/>
          </a:xfrm>
          <a:solidFill>
            <a:srgbClr val="F0F0F0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0" lvl="0" indent="0" algn="ctr">
              <a:buNone/>
            </a:pPr>
            <a:r>
              <a:rPr lang="en-US"/>
              <a:t>Insert your copy here</a:t>
            </a:r>
          </a:p>
        </p:txBody>
      </p:sp>
      <p:sp>
        <p:nvSpPr>
          <p:cNvPr id="23" name="Content 1 Placeholder">
            <a:extLst>
              <a:ext uri="{FF2B5EF4-FFF2-40B4-BE49-F238E27FC236}">
                <a16:creationId xmlns:a16="http://schemas.microsoft.com/office/drawing/2014/main" id="{9B7A0767-D64A-2252-7ED8-79BDD2A285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9" hasCustomPrompt="1"/>
          </p:nvPr>
        </p:nvSpPr>
        <p:spPr>
          <a:xfrm>
            <a:off x="292101" y="3771900"/>
            <a:ext cx="2730500" cy="19050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Image/Content 1 Placeholder">
            <a:extLst>
              <a:ext uri="{FF2B5EF4-FFF2-40B4-BE49-F238E27FC236}">
                <a16:creationId xmlns:a16="http://schemas.microsoft.com/office/drawing/2014/main" id="{ACCC2EE9-2558-5373-EC90-280A39D1898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292101" y="1638300"/>
            <a:ext cx="2730500" cy="1905000"/>
          </a:xfrm>
          <a:solidFill>
            <a:srgbClr val="F0F0F0"/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GB"/>
              <a:t>Insert content</a:t>
            </a:r>
          </a:p>
        </p:txBody>
      </p:sp>
      <p:sp>
        <p:nvSpPr>
          <p:cNvPr id="25" name="Subtitle Placeholder">
            <a:extLst>
              <a:ext uri="{FF2B5EF4-FFF2-40B4-BE49-F238E27FC236}">
                <a16:creationId xmlns:a16="http://schemas.microsoft.com/office/drawing/2014/main" id="{377C48EF-B0F0-FB83-53E1-3E98D8DF928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26" name="Title Placeholder">
            <a:extLst>
              <a:ext uri="{FF2B5EF4-FFF2-40B4-BE49-F238E27FC236}">
                <a16:creationId xmlns:a16="http://schemas.microsoft.com/office/drawing/2014/main" id="{11AA0F79-4C10-AAB7-4E1A-A1143BCD44D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11613314" cy="265590"/>
          </a:xfrm>
        </p:spPr>
        <p:txBody>
          <a:bodyPr>
            <a:noAutofit/>
          </a:bodyPr>
          <a:lstStyle/>
          <a:p>
            <a:r>
              <a:rPr lang="en-US"/>
              <a:t>Insert your slide title in Arial Bold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0283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904">
          <p15:clr>
            <a:srgbClr val="5ACBF0"/>
          </p15:clr>
        </p15:guide>
        <p15:guide id="9" pos="2048">
          <p15:clr>
            <a:srgbClr val="5ACBF0"/>
          </p15:clr>
        </p15:guide>
        <p15:guide id="14" pos="3768">
          <p15:clr>
            <a:srgbClr val="A4A3A4"/>
          </p15:clr>
        </p15:guide>
        <p15:guide id="15" pos="3912">
          <p15:clr>
            <a:srgbClr val="A4A3A4"/>
          </p15:clr>
        </p15:guide>
        <p15:guide id="20" pos="5631">
          <p15:clr>
            <a:srgbClr val="5ACBF0"/>
          </p15:clr>
        </p15:guide>
        <p15:guide id="21" pos="5775">
          <p15:clr>
            <a:srgbClr val="5ACBF0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Laptop Frame">
            <a:extLst>
              <a:ext uri="{FF2B5EF4-FFF2-40B4-BE49-F238E27FC236}">
                <a16:creationId xmlns:a16="http://schemas.microsoft.com/office/drawing/2014/main" id="{28CA7E52-1DEF-001D-23AD-F3A1C94F9472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4124687" y="1638300"/>
            <a:ext cx="7893777" cy="4138018"/>
            <a:chOff x="3936001" y="1448418"/>
            <a:chExt cx="8256000" cy="4327900"/>
          </a:xfrm>
        </p:grpSpPr>
        <p:pic>
          <p:nvPicPr>
            <p:cNvPr id="13" name="Shape">
              <a:extLst>
                <a:ext uri="{FF2B5EF4-FFF2-40B4-BE49-F238E27FC236}">
                  <a16:creationId xmlns:a16="http://schemas.microsoft.com/office/drawing/2014/main" id="{2AB0D041-303A-5AF4-862E-A74ACD791CB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3936001" y="1448418"/>
              <a:ext cx="8256000" cy="4327900"/>
            </a:xfrm>
            <a:prstGeom prst="rect">
              <a:avLst/>
            </a:prstGeom>
          </p:spPr>
        </p:pic>
        <p:sp>
          <p:nvSpPr>
            <p:cNvPr id="14" name="Redact">
              <a:extLst>
                <a:ext uri="{FF2B5EF4-FFF2-40B4-BE49-F238E27FC236}">
                  <a16:creationId xmlns:a16="http://schemas.microsoft.com/office/drawing/2014/main" id="{A4E3EFDE-C5ED-BDD5-F21C-80D4CA71AD8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7892321" y="5403954"/>
              <a:ext cx="329784" cy="74951"/>
            </a:xfrm>
            <a:prstGeom prst="rect">
              <a:avLst/>
            </a:prstGeom>
            <a:solidFill>
              <a:srgbClr val="2D2D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15" name="Picture Placeholder">
            <a:extLst>
              <a:ext uri="{FF2B5EF4-FFF2-40B4-BE49-F238E27FC236}">
                <a16:creationId xmlns:a16="http://schemas.microsoft.com/office/drawing/2014/main" id="{74F0AE2B-B9B7-3100-37FB-FCDFB48EDE7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7" hasCustomPrompt="1"/>
          </p:nvPr>
        </p:nvSpPr>
        <p:spPr bwMode="gray">
          <a:xfrm>
            <a:off x="5290128" y="1739900"/>
            <a:ext cx="5566620" cy="3619500"/>
          </a:xfrm>
          <a:prstGeom prst="roundRect">
            <a:avLst>
              <a:gd name="adj" fmla="val 1482"/>
            </a:avLst>
          </a:prstGeom>
          <a:solidFill>
            <a:schemeClr val="tx1"/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 Click picture icon to add photo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F40ED59A-96CE-38E9-B955-808CAC1BBE9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95100"/>
            <a:ext cx="404321" cy="282957"/>
          </a:xfrm>
        </p:spPr>
        <p:txBody>
          <a:bodyPr>
            <a:noAutofit/>
          </a:bodyPr>
          <a:lstStyle/>
          <a:p>
            <a:fld id="{3E04DF46-C0DC-4ADC-9A6F-918CC4703A43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Footer Placeholder">
            <a:extLst>
              <a:ext uri="{FF2B5EF4-FFF2-40B4-BE49-F238E27FC236}">
                <a16:creationId xmlns:a16="http://schemas.microsoft.com/office/drawing/2014/main" id="{12ABF694-3377-ED1E-A0A9-F03E499ECE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7" y="6495102"/>
            <a:ext cx="3716341" cy="282957"/>
          </a:xfrm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11" name="Date Placeholder">
            <a:extLst>
              <a:ext uri="{FF2B5EF4-FFF2-40B4-BE49-F238E27FC236}">
                <a16:creationId xmlns:a16="http://schemas.microsoft.com/office/drawing/2014/main" id="{6C70B518-71FA-524B-8A6C-76B2F1192A0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2"/>
            <a:ext cx="757238" cy="282957"/>
          </a:xfrm>
        </p:spPr>
        <p:txBody>
          <a:bodyPr>
            <a:noAutofit/>
          </a:bodyPr>
          <a:lstStyle/>
          <a:p>
            <a:fld id="{A95ACABD-257F-48AB-94D3-B913B9097175}" type="datetime1">
              <a:rPr lang="en-GB" smtClean="0"/>
              <a:t>12/02/2026</a:t>
            </a:fld>
            <a:endParaRPr lang="en-GB"/>
          </a:p>
        </p:txBody>
      </p:sp>
      <p:sp>
        <p:nvSpPr>
          <p:cNvPr id="16" name="Source Placeholder">
            <a:extLst>
              <a:ext uri="{FF2B5EF4-FFF2-40B4-BE49-F238E27FC236}">
                <a16:creationId xmlns:a16="http://schemas.microsoft.com/office/drawing/2014/main" id="{92349AC3-43C9-A349-AF2E-C029A34491C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7" name="Content Placeholder">
            <a:extLst>
              <a:ext uri="{FF2B5EF4-FFF2-40B4-BE49-F238E27FC236}">
                <a16:creationId xmlns:a16="http://schemas.microsoft.com/office/drawing/2014/main" id="{2EA745BA-CA14-8FD0-05BA-8977508264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292101" y="2019300"/>
            <a:ext cx="3700460" cy="36576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Header Placeholder">
            <a:extLst>
              <a:ext uri="{FF2B5EF4-FFF2-40B4-BE49-F238E27FC236}">
                <a16:creationId xmlns:a16="http://schemas.microsoft.com/office/drawing/2014/main" id="{97696C2F-B753-BD09-3B16-F91EAC65E0F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1" y="1308100"/>
            <a:ext cx="3710815" cy="620525"/>
          </a:xfrm>
        </p:spPr>
        <p:txBody>
          <a:bodyPr anchor="b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Insert column header</a:t>
            </a:r>
          </a:p>
        </p:txBody>
      </p:sp>
      <p:sp>
        <p:nvSpPr>
          <p:cNvPr id="17" name="Subtitle Placeholder">
            <a:extLst>
              <a:ext uri="{FF2B5EF4-FFF2-40B4-BE49-F238E27FC236}">
                <a16:creationId xmlns:a16="http://schemas.microsoft.com/office/drawing/2014/main" id="{73234507-5FFE-AB0B-1739-6DC3FB8BBDB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18" name="Title Placeholder">
            <a:extLst>
              <a:ext uri="{FF2B5EF4-FFF2-40B4-BE49-F238E27FC236}">
                <a16:creationId xmlns:a16="http://schemas.microsoft.com/office/drawing/2014/main" id="{173559CA-3B9C-F323-35EC-DBADE1584BE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11613314" cy="265590"/>
          </a:xfrm>
        </p:spPr>
        <p:txBody>
          <a:bodyPr>
            <a:noAutofit/>
          </a:bodyPr>
          <a:lstStyle/>
          <a:p>
            <a:r>
              <a:rPr lang="en-US"/>
              <a:t>Insert your slide title in Arial Bold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96805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525">
          <p15:clr>
            <a:srgbClr val="FDE53C"/>
          </p15:clr>
        </p15:guide>
        <p15:guide id="11" pos="2669">
          <p15:clr>
            <a:srgbClr val="FDE53C"/>
          </p15:clr>
        </p15:guide>
        <p15:guide id="18" pos="5010">
          <p15:clr>
            <a:srgbClr val="FDE53C"/>
          </p15:clr>
        </p15:guide>
        <p15:guide id="19" pos="5154">
          <p15:clr>
            <a:srgbClr val="FDE53C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">
            <a:extLst>
              <a:ext uri="{FF2B5EF4-FFF2-40B4-BE49-F238E27FC236}">
                <a16:creationId xmlns:a16="http://schemas.microsoft.com/office/drawing/2014/main" id="{D855F1A0-B3DE-8CBB-753A-EBAB8DE25C2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95100"/>
            <a:ext cx="404321" cy="282957"/>
          </a:xfrm>
        </p:spPr>
        <p:txBody>
          <a:bodyPr>
            <a:noAutofit/>
          </a:bodyPr>
          <a:lstStyle/>
          <a:p>
            <a:fld id="{3E04DF46-C0DC-4ADC-9A6F-918CC4703A43}" type="slidenum">
              <a:rPr lang="en-GB" smtClean="0"/>
              <a:t>‹#›</a:t>
            </a:fld>
            <a:endParaRPr lang="en-GB"/>
          </a:p>
        </p:txBody>
      </p:sp>
      <p:sp>
        <p:nvSpPr>
          <p:cNvPr id="13" name="Footer Placeholder">
            <a:extLst>
              <a:ext uri="{FF2B5EF4-FFF2-40B4-BE49-F238E27FC236}">
                <a16:creationId xmlns:a16="http://schemas.microsoft.com/office/drawing/2014/main" id="{ED39D506-68E8-D832-DF39-5B6BE145087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7" y="6495102"/>
            <a:ext cx="3716341" cy="282957"/>
          </a:xfrm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14" name="Date Placeholder">
            <a:extLst>
              <a:ext uri="{FF2B5EF4-FFF2-40B4-BE49-F238E27FC236}">
                <a16:creationId xmlns:a16="http://schemas.microsoft.com/office/drawing/2014/main" id="{462487FC-31D3-3400-936D-53E132CBF69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2"/>
            <a:ext cx="757238" cy="282957"/>
          </a:xfrm>
        </p:spPr>
        <p:txBody>
          <a:bodyPr>
            <a:noAutofit/>
          </a:bodyPr>
          <a:lstStyle/>
          <a:p>
            <a:fld id="{A95ACABD-257F-48AB-94D3-B913B9097175}" type="datetime1">
              <a:rPr lang="en-GB" smtClean="0"/>
              <a:t>12/02/2026</a:t>
            </a:fld>
            <a:endParaRPr lang="en-GB"/>
          </a:p>
        </p:txBody>
      </p:sp>
      <p:sp>
        <p:nvSpPr>
          <p:cNvPr id="15" name="Source Placeholder">
            <a:extLst>
              <a:ext uri="{FF2B5EF4-FFF2-40B4-BE49-F238E27FC236}">
                <a16:creationId xmlns:a16="http://schemas.microsoft.com/office/drawing/2014/main" id="{99790FFB-129C-6DB8-7083-44E68EB4BF7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pic>
        <p:nvPicPr>
          <p:cNvPr id="9" name="Tablet Frame">
            <a:extLst>
              <a:ext uri="{FF2B5EF4-FFF2-40B4-BE49-F238E27FC236}">
                <a16:creationId xmlns:a16="http://schemas.microsoft.com/office/drawing/2014/main" id="{9489571B-A37B-8754-6A0A-0144963120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67"/>
          <a:stretch/>
        </p:blipFill>
        <p:spPr bwMode="gray">
          <a:xfrm>
            <a:off x="3784635" y="1606014"/>
            <a:ext cx="8139891" cy="4434024"/>
          </a:xfrm>
          <a:prstGeom prst="rect">
            <a:avLst/>
          </a:prstGeom>
        </p:spPr>
      </p:pic>
      <p:sp>
        <p:nvSpPr>
          <p:cNvPr id="10" name="Picture Placeholder">
            <a:extLst>
              <a:ext uri="{FF2B5EF4-FFF2-40B4-BE49-F238E27FC236}">
                <a16:creationId xmlns:a16="http://schemas.microsoft.com/office/drawing/2014/main" id="{2B100C95-A8AE-9316-439D-4F2A091DD08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7" hasCustomPrompt="1"/>
          </p:nvPr>
        </p:nvSpPr>
        <p:spPr bwMode="gray">
          <a:xfrm>
            <a:off x="5149851" y="1765300"/>
            <a:ext cx="5753100" cy="3797300"/>
          </a:xfrm>
          <a:prstGeom prst="roundRect">
            <a:avLst>
              <a:gd name="adj" fmla="val 5312"/>
            </a:avLst>
          </a:prstGeom>
          <a:solidFill>
            <a:schemeClr val="tx1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GB"/>
              <a:t> Click to add photo</a:t>
            </a:r>
          </a:p>
        </p:txBody>
      </p:sp>
      <p:sp>
        <p:nvSpPr>
          <p:cNvPr id="7" name="Content Placeholder">
            <a:extLst>
              <a:ext uri="{FF2B5EF4-FFF2-40B4-BE49-F238E27FC236}">
                <a16:creationId xmlns:a16="http://schemas.microsoft.com/office/drawing/2014/main" id="{2EA745BA-CA14-8FD0-05BA-8977508264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292101" y="2019300"/>
            <a:ext cx="3700460" cy="36576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Header Placeholder">
            <a:extLst>
              <a:ext uri="{FF2B5EF4-FFF2-40B4-BE49-F238E27FC236}">
                <a16:creationId xmlns:a16="http://schemas.microsoft.com/office/drawing/2014/main" id="{97696C2F-B753-BD09-3B16-F91EAC65E0F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1" y="1308100"/>
            <a:ext cx="3710815" cy="620525"/>
          </a:xfrm>
        </p:spPr>
        <p:txBody>
          <a:bodyPr anchor="b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Insert column header</a:t>
            </a:r>
          </a:p>
        </p:txBody>
      </p:sp>
      <p:sp>
        <p:nvSpPr>
          <p:cNvPr id="16" name="Subtitle Placeholder">
            <a:extLst>
              <a:ext uri="{FF2B5EF4-FFF2-40B4-BE49-F238E27FC236}">
                <a16:creationId xmlns:a16="http://schemas.microsoft.com/office/drawing/2014/main" id="{54C4987E-C48B-8EC9-E43A-A8293855B44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17" name="Title Placeholder">
            <a:extLst>
              <a:ext uri="{FF2B5EF4-FFF2-40B4-BE49-F238E27FC236}">
                <a16:creationId xmlns:a16="http://schemas.microsoft.com/office/drawing/2014/main" id="{36465407-29C7-E82D-8FA8-8F0F4FCCD26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11613314" cy="265590"/>
          </a:xfrm>
        </p:spPr>
        <p:txBody>
          <a:bodyPr>
            <a:noAutofit/>
          </a:bodyPr>
          <a:lstStyle/>
          <a:p>
            <a:r>
              <a:rPr lang="en-US"/>
              <a:t>Insert your slide title in Arial Bold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6290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525">
          <p15:clr>
            <a:srgbClr val="FDE53C"/>
          </p15:clr>
        </p15:guide>
        <p15:guide id="11" pos="2669">
          <p15:clr>
            <a:srgbClr val="FDE53C"/>
          </p15:clr>
        </p15:guide>
        <p15:guide id="18" pos="5010">
          <p15:clr>
            <a:srgbClr val="FDE53C"/>
          </p15:clr>
        </p15:guide>
        <p15:guide id="19" pos="5154">
          <p15:clr>
            <a:srgbClr val="FDE53C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picture | for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5D77837-F372-41E3-A703-01233BC36B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9936" y="1412776"/>
            <a:ext cx="5760640" cy="461665"/>
          </a:xfrm>
        </p:spPr>
        <p:txBody>
          <a:bodyPr anchor="t"/>
          <a:lstStyle>
            <a:lvl1pPr algn="l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8" name="Picture">
            <a:extLst>
              <a:ext uri="{FF2B5EF4-FFF2-40B4-BE49-F238E27FC236}">
                <a16:creationId xmlns:a16="http://schemas.microsoft.com/office/drawing/2014/main" id="{A9F39496-3247-4D2A-8D5A-9E2157A6A7D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905952" y="1484785"/>
            <a:ext cx="4037919" cy="2895027"/>
          </a:xfrm>
          <a:custGeom>
            <a:avLst/>
            <a:gdLst>
              <a:gd name="connsiteX0" fmla="*/ 5544001 w 5544001"/>
              <a:gd name="connsiteY0" fmla="*/ 0 h 3551223"/>
              <a:gd name="connsiteX1" fmla="*/ 4543017 w 5544001"/>
              <a:gd name="connsiteY1" fmla="*/ 2543298 h 3551223"/>
              <a:gd name="connsiteX2" fmla="*/ 0 w 5544001"/>
              <a:gd name="connsiteY2" fmla="*/ 3551223 h 3551223"/>
              <a:gd name="connsiteX3" fmla="*/ 0 w 5544001"/>
              <a:gd name="connsiteY3" fmla="*/ 531 h 3551223"/>
              <a:gd name="connsiteX0" fmla="*/ 5544001 w 5544001"/>
              <a:gd name="connsiteY0" fmla="*/ 0 h 3551223"/>
              <a:gd name="connsiteX1" fmla="*/ 4441735 w 5544001"/>
              <a:gd name="connsiteY1" fmla="*/ 2540103 h 3551223"/>
              <a:gd name="connsiteX2" fmla="*/ 0 w 5544001"/>
              <a:gd name="connsiteY2" fmla="*/ 3551223 h 3551223"/>
              <a:gd name="connsiteX3" fmla="*/ 0 w 5544001"/>
              <a:gd name="connsiteY3" fmla="*/ 531 h 3551223"/>
              <a:gd name="connsiteX4" fmla="*/ 5544001 w 5544001"/>
              <a:gd name="connsiteY4" fmla="*/ 0 h 3551223"/>
              <a:gd name="connsiteX0" fmla="*/ 4585198 w 4585198"/>
              <a:gd name="connsiteY0" fmla="*/ 0 h 3551223"/>
              <a:gd name="connsiteX1" fmla="*/ 4441735 w 4585198"/>
              <a:gd name="connsiteY1" fmla="*/ 2540103 h 3551223"/>
              <a:gd name="connsiteX2" fmla="*/ 0 w 4585198"/>
              <a:gd name="connsiteY2" fmla="*/ 3551223 h 3551223"/>
              <a:gd name="connsiteX3" fmla="*/ 0 w 4585198"/>
              <a:gd name="connsiteY3" fmla="*/ 531 h 3551223"/>
              <a:gd name="connsiteX4" fmla="*/ 4585198 w 4585198"/>
              <a:gd name="connsiteY4" fmla="*/ 0 h 3551223"/>
              <a:gd name="connsiteX0" fmla="*/ 4585198 w 4589243"/>
              <a:gd name="connsiteY0" fmla="*/ 0 h 3551223"/>
              <a:gd name="connsiteX1" fmla="*/ 4589243 w 4589243"/>
              <a:gd name="connsiteY1" fmla="*/ 2135159 h 3551223"/>
              <a:gd name="connsiteX2" fmla="*/ 0 w 4589243"/>
              <a:gd name="connsiteY2" fmla="*/ 3551223 h 3551223"/>
              <a:gd name="connsiteX3" fmla="*/ 0 w 4589243"/>
              <a:gd name="connsiteY3" fmla="*/ 531 h 3551223"/>
              <a:gd name="connsiteX4" fmla="*/ 4585198 w 4589243"/>
              <a:gd name="connsiteY4" fmla="*/ 0 h 3551223"/>
              <a:gd name="connsiteX0" fmla="*/ 4585198 w 4589243"/>
              <a:gd name="connsiteY0" fmla="*/ 0 h 3551223"/>
              <a:gd name="connsiteX1" fmla="*/ 4589243 w 4589243"/>
              <a:gd name="connsiteY1" fmla="*/ 2135159 h 3551223"/>
              <a:gd name="connsiteX2" fmla="*/ 0 w 4589243"/>
              <a:gd name="connsiteY2" fmla="*/ 3551223 h 3551223"/>
              <a:gd name="connsiteX3" fmla="*/ 1263038 w 4589243"/>
              <a:gd name="connsiteY3" fmla="*/ 531 h 3551223"/>
              <a:gd name="connsiteX4" fmla="*/ 4585198 w 4589243"/>
              <a:gd name="connsiteY4" fmla="*/ 0 h 3551223"/>
              <a:gd name="connsiteX0" fmla="*/ 4013604 w 4017649"/>
              <a:gd name="connsiteY0" fmla="*/ 0 h 2783519"/>
              <a:gd name="connsiteX1" fmla="*/ 4017649 w 4017649"/>
              <a:gd name="connsiteY1" fmla="*/ 2135159 h 2783519"/>
              <a:gd name="connsiteX2" fmla="*/ 0 w 4017649"/>
              <a:gd name="connsiteY2" fmla="*/ 2783519 h 2783519"/>
              <a:gd name="connsiteX3" fmla="*/ 691444 w 4017649"/>
              <a:gd name="connsiteY3" fmla="*/ 531 h 2783519"/>
              <a:gd name="connsiteX4" fmla="*/ 4013604 w 4017649"/>
              <a:gd name="connsiteY4" fmla="*/ 0 h 2783519"/>
              <a:gd name="connsiteX0" fmla="*/ 3649314 w 3653359"/>
              <a:gd name="connsiteY0" fmla="*/ 0 h 2528493"/>
              <a:gd name="connsiteX1" fmla="*/ 3653359 w 3653359"/>
              <a:gd name="connsiteY1" fmla="*/ 2135159 h 2528493"/>
              <a:gd name="connsiteX2" fmla="*/ 0 w 3653359"/>
              <a:gd name="connsiteY2" fmla="*/ 2528493 h 2528493"/>
              <a:gd name="connsiteX3" fmla="*/ 327154 w 3653359"/>
              <a:gd name="connsiteY3" fmla="*/ 531 h 2528493"/>
              <a:gd name="connsiteX4" fmla="*/ 3649314 w 3653359"/>
              <a:gd name="connsiteY4" fmla="*/ 0 h 2528493"/>
              <a:gd name="connsiteX0" fmla="*/ 3880327 w 3884372"/>
              <a:gd name="connsiteY0" fmla="*/ 0 h 2664507"/>
              <a:gd name="connsiteX1" fmla="*/ 3884372 w 3884372"/>
              <a:gd name="connsiteY1" fmla="*/ 2135159 h 2664507"/>
              <a:gd name="connsiteX2" fmla="*/ 0 w 3884372"/>
              <a:gd name="connsiteY2" fmla="*/ 2664507 h 2664507"/>
              <a:gd name="connsiteX3" fmla="*/ 558167 w 3884372"/>
              <a:gd name="connsiteY3" fmla="*/ 531 h 2664507"/>
              <a:gd name="connsiteX4" fmla="*/ 3880327 w 3884372"/>
              <a:gd name="connsiteY4" fmla="*/ 0 h 2664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84372" h="2664507">
                <a:moveTo>
                  <a:pt x="3880327" y="0"/>
                </a:moveTo>
                <a:cubicBezTo>
                  <a:pt x="3881675" y="711720"/>
                  <a:pt x="3883024" y="1423439"/>
                  <a:pt x="3884372" y="2135159"/>
                </a:cubicBezTo>
                <a:lnTo>
                  <a:pt x="0" y="2664507"/>
                </a:lnTo>
                <a:lnTo>
                  <a:pt x="558167" y="531"/>
                </a:lnTo>
                <a:lnTo>
                  <a:pt x="3880327" y="0"/>
                </a:lnTo>
                <a:close/>
              </a:path>
            </a:pathLst>
          </a:custGeom>
          <a:solidFill>
            <a:srgbClr val="D6D9DC"/>
          </a:solidFill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9" name="Source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87488" y="6525360"/>
            <a:ext cx="864096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DDBB81F-46E9-988D-D974-0DBA6D5EB4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D7D40A53-D8F9-40BC-ABCE-5F4550686BDF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AACD181-5A1B-9A2A-CEEC-CAF69755C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7AA28C3-8AC8-CBDA-1BB5-4D0BA3AE02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5550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7">
          <p15:clr>
            <a:srgbClr val="FBAE40"/>
          </p15:clr>
        </p15:guide>
        <p15:guide id="2" pos="7106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0D075AAD-92E8-E876-C437-4DA760B06A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95100"/>
            <a:ext cx="404321" cy="282957"/>
          </a:xfrm>
        </p:spPr>
        <p:txBody>
          <a:bodyPr>
            <a:noAutofit/>
          </a:bodyPr>
          <a:lstStyle/>
          <a:p>
            <a:fld id="{3E04DF46-C0DC-4ADC-9A6F-918CC4703A43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7F6973E-B506-459C-8409-EDC0F9FEB64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7" y="6495102"/>
            <a:ext cx="3716341" cy="282957"/>
          </a:xfrm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11" name="Date Placeholder">
            <a:extLst>
              <a:ext uri="{FF2B5EF4-FFF2-40B4-BE49-F238E27FC236}">
                <a16:creationId xmlns:a16="http://schemas.microsoft.com/office/drawing/2014/main" id="{D92AE263-867A-3BFE-D77F-172427CCFD5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2"/>
            <a:ext cx="757238" cy="282957"/>
          </a:xfrm>
        </p:spPr>
        <p:txBody>
          <a:bodyPr>
            <a:noAutofit/>
          </a:bodyPr>
          <a:lstStyle/>
          <a:p>
            <a:fld id="{A95ACABD-257F-48AB-94D3-B913B9097175}" type="datetime1">
              <a:rPr lang="en-GB" smtClean="0"/>
              <a:t>12/02/2026</a:t>
            </a:fld>
            <a:endParaRPr lang="en-GB"/>
          </a:p>
        </p:txBody>
      </p:sp>
      <p:sp>
        <p:nvSpPr>
          <p:cNvPr id="15" name="Source Placeholder">
            <a:extLst>
              <a:ext uri="{FF2B5EF4-FFF2-40B4-BE49-F238E27FC236}">
                <a16:creationId xmlns:a16="http://schemas.microsoft.com/office/drawing/2014/main" id="{4CF2C7F5-1F44-0A19-3182-4B375AB6F89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pic>
        <p:nvPicPr>
          <p:cNvPr id="2" name="Smartphone Frame">
            <a:extLst>
              <a:ext uri="{FF2B5EF4-FFF2-40B4-BE49-F238E27FC236}">
                <a16:creationId xmlns:a16="http://schemas.microsoft.com/office/drawing/2014/main" id="{8FEE0E6E-6D89-CD10-D4A2-0D249DEDC1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500502" y="1197507"/>
            <a:ext cx="3096000" cy="4787820"/>
          </a:xfrm>
          <a:prstGeom prst="rect">
            <a:avLst/>
          </a:prstGeom>
        </p:spPr>
      </p:pic>
      <p:sp>
        <p:nvSpPr>
          <p:cNvPr id="10" name="Picture Placeholder">
            <a:extLst>
              <a:ext uri="{FF2B5EF4-FFF2-40B4-BE49-F238E27FC236}">
                <a16:creationId xmlns:a16="http://schemas.microsoft.com/office/drawing/2014/main" id="{7F98CD2C-62E2-FC8B-548B-D3ADCC2F9CD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7" hasCustomPrompt="1"/>
          </p:nvPr>
        </p:nvSpPr>
        <p:spPr bwMode="gray">
          <a:xfrm>
            <a:off x="8018062" y="1288629"/>
            <a:ext cx="2057400" cy="4450080"/>
          </a:xfrm>
          <a:prstGeom prst="roundRect">
            <a:avLst>
              <a:gd name="adj" fmla="val 12964"/>
            </a:avLst>
          </a:prstGeom>
          <a:solidFill>
            <a:schemeClr val="tx1"/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 Click picture icon to add photo</a:t>
            </a:r>
          </a:p>
        </p:txBody>
      </p:sp>
      <p:sp>
        <p:nvSpPr>
          <p:cNvPr id="4" name="Content Placeholder">
            <a:extLst>
              <a:ext uri="{FF2B5EF4-FFF2-40B4-BE49-F238E27FC236}">
                <a16:creationId xmlns:a16="http://schemas.microsoft.com/office/drawing/2014/main" id="{984C70C1-C2F6-EFE6-3AEB-EEEE97D8D82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292101" y="2019300"/>
            <a:ext cx="5673721" cy="36576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Header Placeholder">
            <a:extLst>
              <a:ext uri="{FF2B5EF4-FFF2-40B4-BE49-F238E27FC236}">
                <a16:creationId xmlns:a16="http://schemas.microsoft.com/office/drawing/2014/main" id="{E16F9965-5453-60FF-D1EB-3A608CF7F7B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1" y="1308100"/>
            <a:ext cx="5689598" cy="620525"/>
          </a:xfrm>
        </p:spPr>
        <p:txBody>
          <a:bodyPr anchor="b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Insert column header</a:t>
            </a:r>
          </a:p>
        </p:txBody>
      </p:sp>
      <p:sp>
        <p:nvSpPr>
          <p:cNvPr id="16" name="Subtitle Placeholder">
            <a:extLst>
              <a:ext uri="{FF2B5EF4-FFF2-40B4-BE49-F238E27FC236}">
                <a16:creationId xmlns:a16="http://schemas.microsoft.com/office/drawing/2014/main" id="{1177695A-5838-D1AD-85A0-C2DC4AE6192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17" name="Title Placeholder">
            <a:extLst>
              <a:ext uri="{FF2B5EF4-FFF2-40B4-BE49-F238E27FC236}">
                <a16:creationId xmlns:a16="http://schemas.microsoft.com/office/drawing/2014/main" id="{6438D16E-D0B0-429C-0E43-66D0F19014E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11613314" cy="265590"/>
          </a:xfrm>
        </p:spPr>
        <p:txBody>
          <a:bodyPr>
            <a:noAutofit/>
          </a:bodyPr>
          <a:lstStyle/>
          <a:p>
            <a:r>
              <a:rPr lang="en-US"/>
              <a:t>Insert your slide title in Arial Bold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2906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768">
          <p15:clr>
            <a:srgbClr val="A4A3A4"/>
          </p15:clr>
        </p15:guide>
        <p15:guide id="5" pos="3912">
          <p15:clr>
            <a:srgbClr val="A4A3A4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">
            <a:extLst>
              <a:ext uri="{FF2B5EF4-FFF2-40B4-BE49-F238E27FC236}">
                <a16:creationId xmlns:a16="http://schemas.microsoft.com/office/drawing/2014/main" id="{7880336B-6551-8B18-CD4D-52CF1537E46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95100"/>
            <a:ext cx="404321" cy="282957"/>
          </a:xfrm>
        </p:spPr>
        <p:txBody>
          <a:bodyPr>
            <a:noAutofit/>
          </a:bodyPr>
          <a:lstStyle/>
          <a:p>
            <a:fld id="{3E04DF46-C0DC-4ADC-9A6F-918CC4703A43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Footer Placeholder">
            <a:extLst>
              <a:ext uri="{FF2B5EF4-FFF2-40B4-BE49-F238E27FC236}">
                <a16:creationId xmlns:a16="http://schemas.microsoft.com/office/drawing/2014/main" id="{D5E23E6B-A969-B922-443C-DB4B673F14C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7" y="6495102"/>
            <a:ext cx="3716341" cy="282957"/>
          </a:xfrm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12" name="Date Placeholder">
            <a:extLst>
              <a:ext uri="{FF2B5EF4-FFF2-40B4-BE49-F238E27FC236}">
                <a16:creationId xmlns:a16="http://schemas.microsoft.com/office/drawing/2014/main" id="{3E682D3C-E320-394E-C615-424A83B576A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2"/>
            <a:ext cx="757238" cy="282957"/>
          </a:xfrm>
        </p:spPr>
        <p:txBody>
          <a:bodyPr>
            <a:noAutofit/>
          </a:bodyPr>
          <a:lstStyle/>
          <a:p>
            <a:fld id="{A95ACABD-257F-48AB-94D3-B913B9097175}" type="datetime1">
              <a:rPr lang="en-GB" smtClean="0"/>
              <a:t>12/02/2026</a:t>
            </a:fld>
            <a:endParaRPr lang="en-GB"/>
          </a:p>
        </p:txBody>
      </p:sp>
      <p:sp>
        <p:nvSpPr>
          <p:cNvPr id="13" name="Source Placeholder">
            <a:extLst>
              <a:ext uri="{FF2B5EF4-FFF2-40B4-BE49-F238E27FC236}">
                <a16:creationId xmlns:a16="http://schemas.microsoft.com/office/drawing/2014/main" id="{F5E18C3F-FDED-E3BC-CB25-E414E35DA8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7" name="Content Placeholder">
            <a:extLst>
              <a:ext uri="{FF2B5EF4-FFF2-40B4-BE49-F238E27FC236}">
                <a16:creationId xmlns:a16="http://schemas.microsoft.com/office/drawing/2014/main" id="{2EA745BA-CA14-8FD0-05BA-8977508264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8168315" y="2019300"/>
            <a:ext cx="3700460" cy="36576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Header Placeholder">
            <a:extLst>
              <a:ext uri="{FF2B5EF4-FFF2-40B4-BE49-F238E27FC236}">
                <a16:creationId xmlns:a16="http://schemas.microsoft.com/office/drawing/2014/main" id="{97696C2F-B753-BD09-3B16-F91EAC65E0F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8168315" y="1308100"/>
            <a:ext cx="3710815" cy="620525"/>
          </a:xfrm>
        </p:spPr>
        <p:txBody>
          <a:bodyPr anchor="b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Insert column header</a:t>
            </a:r>
          </a:p>
        </p:txBody>
      </p:sp>
      <p:sp>
        <p:nvSpPr>
          <p:cNvPr id="9" name="Image/Content Placeholder">
            <a:extLst>
              <a:ext uri="{FF2B5EF4-FFF2-40B4-BE49-F238E27FC236}">
                <a16:creationId xmlns:a16="http://schemas.microsoft.com/office/drawing/2014/main" id="{E7FED7F9-B9AF-8E1D-D4E4-E0925BDC1C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4" hasCustomPrompt="1"/>
          </p:nvPr>
        </p:nvSpPr>
        <p:spPr>
          <a:xfrm>
            <a:off x="292100" y="1638300"/>
            <a:ext cx="7661275" cy="4038600"/>
          </a:xfrm>
          <a:solidFill>
            <a:srgbClr val="F0F0F0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0" lvl="0" indent="0" algn="ctr">
              <a:buNone/>
            </a:pPr>
            <a:r>
              <a:rPr lang="en-US"/>
              <a:t>Insert content</a:t>
            </a:r>
          </a:p>
        </p:txBody>
      </p:sp>
      <p:sp>
        <p:nvSpPr>
          <p:cNvPr id="14" name="Subtitle Placeholder">
            <a:extLst>
              <a:ext uri="{FF2B5EF4-FFF2-40B4-BE49-F238E27FC236}">
                <a16:creationId xmlns:a16="http://schemas.microsoft.com/office/drawing/2014/main" id="{F55BBEAC-F3EB-AF73-371A-E2F90A4E7CD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15" name="Title Placeholder">
            <a:extLst>
              <a:ext uri="{FF2B5EF4-FFF2-40B4-BE49-F238E27FC236}">
                <a16:creationId xmlns:a16="http://schemas.microsoft.com/office/drawing/2014/main" id="{A568B237-249F-A08F-E259-9BD8E276671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11613314" cy="265590"/>
          </a:xfrm>
        </p:spPr>
        <p:txBody>
          <a:bodyPr>
            <a:noAutofit/>
          </a:bodyPr>
          <a:lstStyle/>
          <a:p>
            <a:r>
              <a:rPr lang="en-US"/>
              <a:t>Insert your slide title in Arial Bold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83089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525">
          <p15:clr>
            <a:srgbClr val="FDE53C"/>
          </p15:clr>
        </p15:guide>
        <p15:guide id="11" pos="2669">
          <p15:clr>
            <a:srgbClr val="FDE53C"/>
          </p15:clr>
        </p15:guide>
        <p15:guide id="18" pos="5010">
          <p15:clr>
            <a:srgbClr val="FDE53C"/>
          </p15:clr>
        </p15:guide>
        <p15:guide id="19" pos="5154">
          <p15:clr>
            <a:srgbClr val="FDE53C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80A15201-F299-04EA-E6CE-E722641959C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95100"/>
            <a:ext cx="404321" cy="282957"/>
          </a:xfrm>
        </p:spPr>
        <p:txBody>
          <a:bodyPr>
            <a:noAutofit/>
          </a:bodyPr>
          <a:lstStyle/>
          <a:p>
            <a:fld id="{3E04DF46-C0DC-4ADC-9A6F-918CC4703A4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8C02E2E7-130F-8E98-F5E2-0E052FB5C9B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7" y="6495102"/>
            <a:ext cx="3716341" cy="282957"/>
          </a:xfrm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688318DD-F239-9F43-D086-9EBEC3E5402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2"/>
            <a:ext cx="757238" cy="282957"/>
          </a:xfrm>
        </p:spPr>
        <p:txBody>
          <a:bodyPr>
            <a:noAutofit/>
          </a:bodyPr>
          <a:lstStyle/>
          <a:p>
            <a:fld id="{A95ACABD-257F-48AB-94D3-B913B9097175}" type="datetime1">
              <a:rPr lang="en-GB" smtClean="0"/>
              <a:t>12/02/2026</a:t>
            </a:fld>
            <a:endParaRPr lang="en-GB"/>
          </a:p>
        </p:txBody>
      </p: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C6CEF957-D49F-C931-2F5D-3BEC205BBE4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10" name="Subtitle Placeholder">
            <a:extLst>
              <a:ext uri="{FF2B5EF4-FFF2-40B4-BE49-F238E27FC236}">
                <a16:creationId xmlns:a16="http://schemas.microsoft.com/office/drawing/2014/main" id="{6C1C9672-42DD-57E9-416C-57C076682C6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11" name="Title Placeholder">
            <a:extLst>
              <a:ext uri="{FF2B5EF4-FFF2-40B4-BE49-F238E27FC236}">
                <a16:creationId xmlns:a16="http://schemas.microsoft.com/office/drawing/2014/main" id="{85B153CC-4B6C-85AB-FFEB-0F2CD0DA990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11613314" cy="265590"/>
          </a:xfrm>
        </p:spPr>
        <p:txBody>
          <a:bodyPr>
            <a:noAutofit/>
          </a:bodyPr>
          <a:lstStyle/>
          <a:p>
            <a:r>
              <a:rPr lang="en-US"/>
              <a:t>Insert your slide title in Arial Bold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51312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904">
          <p15:clr>
            <a:srgbClr val="5ACBF0"/>
          </p15:clr>
        </p15:guide>
        <p15:guide id="9" pos="2048">
          <p15:clr>
            <a:srgbClr val="5ACBF0"/>
          </p15:clr>
        </p15:guide>
        <p15:guide id="10" pos="2525">
          <p15:clr>
            <a:srgbClr val="FDE53C"/>
          </p15:clr>
        </p15:guide>
        <p15:guide id="11" pos="2669">
          <p15:clr>
            <a:srgbClr val="FDE53C"/>
          </p15:clr>
        </p15:guide>
        <p15:guide id="14" pos="3768">
          <p15:clr>
            <a:srgbClr val="A4A3A4"/>
          </p15:clr>
        </p15:guide>
        <p15:guide id="15" pos="3912">
          <p15:clr>
            <a:srgbClr val="A4A3A4"/>
          </p15:clr>
        </p15:guide>
        <p15:guide id="18" pos="5010">
          <p15:clr>
            <a:srgbClr val="FDE53C"/>
          </p15:clr>
        </p15:guide>
        <p15:guide id="19" pos="5154">
          <p15:clr>
            <a:srgbClr val="FDE53C"/>
          </p15:clr>
        </p15:guide>
        <p15:guide id="20" pos="5631">
          <p15:clr>
            <a:srgbClr val="5ACBF0"/>
          </p15:clr>
        </p15:guide>
        <p15:guide id="21" pos="5775">
          <p15:clr>
            <a:srgbClr val="5ACBF0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FF1CCD16-E874-4575-C807-467DA234694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95100"/>
            <a:ext cx="404321" cy="282957"/>
          </a:xfrm>
        </p:spPr>
        <p:txBody>
          <a:bodyPr>
            <a:noAutofit/>
          </a:bodyPr>
          <a:lstStyle/>
          <a:p>
            <a:fld id="{3E04DF46-C0DC-4ADC-9A6F-918CC4703A4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B4915FF7-2EBE-0DA1-DDC3-CE3F3E028DF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7" y="6495102"/>
            <a:ext cx="3716341" cy="282957"/>
          </a:xfrm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BC0175EF-749F-C86F-818F-8A61B862153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2"/>
            <a:ext cx="757238" cy="282957"/>
          </a:xfrm>
        </p:spPr>
        <p:txBody>
          <a:bodyPr>
            <a:noAutofit/>
          </a:bodyPr>
          <a:lstStyle/>
          <a:p>
            <a:fld id="{A95ACABD-257F-48AB-94D3-B913B9097175}" type="datetime1">
              <a:rPr lang="en-GB" smtClean="0"/>
              <a:t>12/02/2026</a:t>
            </a:fld>
            <a:endParaRPr lang="en-GB"/>
          </a:p>
        </p:txBody>
      </p: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3D2B748D-0569-6BAA-D751-0BE3B75C09E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</p:spTree>
    <p:extLst>
      <p:ext uri="{BB962C8B-B14F-4D97-AF65-F5344CB8AC3E}">
        <p14:creationId xmlns:p14="http://schemas.microsoft.com/office/powerpoint/2010/main" val="830498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904">
          <p15:clr>
            <a:srgbClr val="5ACBF0"/>
          </p15:clr>
        </p15:guide>
        <p15:guide id="9" pos="2048">
          <p15:clr>
            <a:srgbClr val="5ACBF0"/>
          </p15:clr>
        </p15:guide>
        <p15:guide id="10" pos="2525">
          <p15:clr>
            <a:srgbClr val="FDE53C"/>
          </p15:clr>
        </p15:guide>
        <p15:guide id="11" pos="2669">
          <p15:clr>
            <a:srgbClr val="FDE53C"/>
          </p15:clr>
        </p15:guide>
        <p15:guide id="14" pos="3768">
          <p15:clr>
            <a:srgbClr val="A4A3A4"/>
          </p15:clr>
        </p15:guide>
        <p15:guide id="15" pos="3912">
          <p15:clr>
            <a:srgbClr val="A4A3A4"/>
          </p15:clr>
        </p15:guide>
        <p15:guide id="18" pos="5010">
          <p15:clr>
            <a:srgbClr val="FDE53C"/>
          </p15:clr>
        </p15:guide>
        <p15:guide id="19" pos="5154">
          <p15:clr>
            <a:srgbClr val="FDE53C"/>
          </p15:clr>
        </p15:guide>
        <p15:guide id="20" pos="5631">
          <p15:clr>
            <a:srgbClr val="5ACBF0"/>
          </p15:clr>
        </p15:guide>
        <p15:guide id="21" pos="5775">
          <p15:clr>
            <a:srgbClr val="5ACBF0"/>
          </p15:clr>
        </p15:guide>
        <p15:guide id="22" orient="horz" pos="2016">
          <p15:clr>
            <a:srgbClr val="A4A3A4"/>
          </p15:clr>
        </p15:guide>
        <p15:guide id="23" orient="horz" pos="2088">
          <p15:clr>
            <a:srgbClr val="A4A3A4"/>
          </p15:clr>
        </p15:guide>
        <p15:guide id="24" orient="horz" pos="1944">
          <p15:clr>
            <a:srgbClr val="A4A3A4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-bleed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ff-slide Instructions">
            <a:extLst>
              <a:ext uri="{FF2B5EF4-FFF2-40B4-BE49-F238E27FC236}">
                <a16:creationId xmlns:a16="http://schemas.microsoft.com/office/drawing/2014/main" id="{DA271C09-A92C-0B4B-7460-3B1AE1A0D3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2338614" y="0"/>
            <a:ext cx="2812486" cy="2373888"/>
          </a:xfrm>
          <a:prstGeom prst="bracketPair">
            <a:avLst>
              <a:gd name="adj" fmla="val 4083"/>
            </a:avLst>
          </a:prstGeom>
          <a:solidFill>
            <a:srgbClr val="FFFF00">
              <a:alpha val="80000"/>
            </a:srgbClr>
          </a:solidFill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spAutoFit/>
          </a:bodyPr>
          <a:lstStyle/>
          <a:p>
            <a:pPr marL="0" indent="0" algn="l" defTabSz="914400" rtl="0" eaLnBrk="1" latinLnBrk="0" hangingPunct="1">
              <a:spcAft>
                <a:spcPts val="400"/>
              </a:spcAft>
              <a:buFont typeface="+mj-lt"/>
              <a:buNone/>
            </a:pPr>
            <a:r>
              <a:rPr lang="en-US" sz="1200" b="1" kern="12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If logo, copyright line, footer, etc. are missing:</a:t>
            </a:r>
          </a:p>
          <a:p>
            <a:pPr marL="177800" lvl="0" indent="-177800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Go to </a:t>
            </a:r>
            <a:r>
              <a:rPr lang="en-US" sz="800" b="1">
                <a:solidFill>
                  <a:srgbClr val="000000"/>
                </a:solidFill>
              </a:rPr>
              <a:t>View &gt; Slide Master</a:t>
            </a:r>
          </a:p>
          <a:p>
            <a:pPr marL="177800" lvl="0" indent="-177800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Copy logo and footer elements from Layout Master</a:t>
            </a:r>
          </a:p>
          <a:p>
            <a:pPr marL="177800" lvl="0" indent="-177800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Close Master View</a:t>
            </a:r>
          </a:p>
          <a:p>
            <a:pPr marL="177800" lvl="0" indent="-177800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Paste on slide</a:t>
            </a:r>
            <a:endParaRPr lang="en-US" sz="1200" b="1">
              <a:solidFill>
                <a:srgbClr val="000000"/>
              </a:solidFill>
            </a:endParaRPr>
          </a:p>
          <a:p>
            <a:pPr>
              <a:spcAft>
                <a:spcPts val="400"/>
              </a:spcAft>
            </a:pPr>
            <a:endParaRPr lang="en-US" sz="1200" b="1">
              <a:solidFill>
                <a:srgbClr val="000000"/>
              </a:solidFill>
            </a:endParaRPr>
          </a:p>
          <a:p>
            <a:pPr>
              <a:spcAft>
                <a:spcPts val="400"/>
              </a:spcAft>
            </a:pPr>
            <a:r>
              <a:rPr lang="en-US" sz="1200" b="1">
                <a:solidFill>
                  <a:srgbClr val="000000"/>
                </a:solidFill>
              </a:rPr>
              <a:t>To replace existing image:</a:t>
            </a:r>
          </a:p>
          <a:p>
            <a:pPr marL="174625" indent="-174625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Right-click image placeholder</a:t>
            </a:r>
          </a:p>
          <a:p>
            <a:pPr marL="174625" indent="-174625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Select </a:t>
            </a:r>
            <a:r>
              <a:rPr lang="en-US" sz="800" b="1">
                <a:solidFill>
                  <a:srgbClr val="000000"/>
                </a:solidFill>
              </a:rPr>
              <a:t>Change Picture</a:t>
            </a:r>
          </a:p>
          <a:p>
            <a:pPr marL="174625" indent="-174625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Select</a:t>
            </a:r>
            <a:r>
              <a:rPr lang="en-US" sz="800" b="1">
                <a:solidFill>
                  <a:srgbClr val="000000"/>
                </a:solidFill>
              </a:rPr>
              <a:t> desired </a:t>
            </a:r>
            <a:r>
              <a:rPr lang="en-US" sz="800">
                <a:solidFill>
                  <a:srgbClr val="000000"/>
                </a:solidFill>
              </a:rPr>
              <a:t>image file (.jpg, .</a:t>
            </a:r>
            <a:r>
              <a:rPr lang="en-US" sz="800" err="1">
                <a:solidFill>
                  <a:srgbClr val="000000"/>
                </a:solidFill>
              </a:rPr>
              <a:t>png</a:t>
            </a:r>
            <a:r>
              <a:rPr lang="en-US" sz="800">
                <a:solidFill>
                  <a:srgbClr val="000000"/>
                </a:solidFill>
              </a:rPr>
              <a:t>, .gif)</a:t>
            </a:r>
          </a:p>
          <a:p>
            <a:pPr marL="174625" indent="-174625">
              <a:spcAft>
                <a:spcPts val="400"/>
              </a:spcAft>
              <a:buFont typeface="+mj-lt"/>
              <a:buAutoNum type="arabicPeriod"/>
            </a:pPr>
            <a:endParaRPr lang="en-US" sz="800">
              <a:solidFill>
                <a:srgbClr val="000000"/>
              </a:solidFill>
            </a:endParaRP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4B940176-20BD-885B-C7DC-D045A7B5B0D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tx1">
              <a:lumMod val="60000"/>
              <a:lumOff val="40000"/>
            </a:schemeClr>
          </a:solidFill>
        </p:spPr>
        <p:txBody>
          <a:bodyPr vert="horz" lIns="9144000" tIns="91440" rIns="182880" bIns="0" rtlCol="0" anchor="t">
            <a:noAutofit/>
          </a:bodyPr>
          <a:lstStyle>
            <a:lvl1pPr marL="231775" indent="-231775">
              <a:buNone/>
              <a:defRPr lang="en-GB" sz="1400" b="1">
                <a:solidFill>
                  <a:srgbClr val="FFFF00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To add image: </a:t>
            </a:r>
            <a:br>
              <a:rPr lang="en-US"/>
            </a:br>
            <a:r>
              <a:rPr lang="en-US"/>
              <a:t>1. Select image placeholder</a:t>
            </a:r>
            <a:br>
              <a:rPr lang="en-US"/>
            </a:br>
            <a:r>
              <a:rPr lang="en-US"/>
              <a:t>2. Drag/drop file or copy/paste image into slide (.jpg, .gif, .</a:t>
            </a:r>
            <a:r>
              <a:rPr lang="en-US" err="1"/>
              <a:t>png</a:t>
            </a:r>
            <a:r>
              <a:rPr lang="en-US"/>
              <a:t>)</a:t>
            </a:r>
            <a:br>
              <a:rPr lang="en-US"/>
            </a:br>
            <a:r>
              <a:rPr lang="en-US"/>
              <a:t>3. Right-click image and “Send to back”</a:t>
            </a:r>
          </a:p>
          <a:p>
            <a:pPr marL="171450" lvl="0" indent="-171450"/>
            <a:endParaRPr lang="en-GB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29AE0AC1-71EF-CCFC-AB5C-8DFA568CA5F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85399"/>
            <a:ext cx="404321" cy="28295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04DF46-C0DC-4ADC-9A6F-918CC4703A4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Copyright Line">
            <a:extLst>
              <a:ext uri="{FF2B5EF4-FFF2-40B4-BE49-F238E27FC236}">
                <a16:creationId xmlns:a16="http://schemas.microsoft.com/office/drawing/2014/main" id="{B707803F-60FA-342A-DB2A-415C371CB04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09" y="6536551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>
                <a:solidFill>
                  <a:schemeClr val="bg1"/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chemeClr val="bg1"/>
                </a:solidFill>
              </a:rPr>
              <a:t>2026</a:t>
            </a:fld>
            <a:r>
              <a:rPr lang="en-US" sz="700">
                <a:solidFill>
                  <a:schemeClr val="bg1"/>
                </a:solidFill>
              </a:rPr>
              <a:t> Nielsen Consumer LLC. All Rights Reserved.</a:t>
            </a:r>
          </a:p>
        </p:txBody>
      </p:sp>
      <p:sp>
        <p:nvSpPr>
          <p:cNvPr id="6" name="Confidential disclaimer">
            <a:extLst>
              <a:ext uri="{FF2B5EF4-FFF2-40B4-BE49-F238E27FC236}">
                <a16:creationId xmlns:a16="http://schemas.microsoft.com/office/drawing/2014/main" id="{FCE25AF0-0C89-001E-06C2-AD51F5FC7DE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02D2B3EE-E70A-1DEB-939C-DC6B0065BF6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0"/>
          </p:nvPr>
        </p:nvSpPr>
        <p:spPr>
          <a:xfrm>
            <a:off x="3251197" y="6485399"/>
            <a:ext cx="3716341" cy="28295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F13BEA8B-0F53-AC66-58D8-93A2E2ABD13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1"/>
          </p:nvPr>
        </p:nvSpPr>
        <p:spPr>
          <a:xfrm>
            <a:off x="2265363" y="6485399"/>
            <a:ext cx="757238" cy="28295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2DF71F-30BE-44BA-A536-D8EF81D0364C}" type="datetime1">
              <a:rPr lang="en-GB" smtClean="0"/>
              <a:pPr/>
              <a:t>12/02/2026</a:t>
            </a:fld>
            <a:endParaRPr lang="en-GB"/>
          </a:p>
        </p:txBody>
      </p:sp>
      <p:cxnSp>
        <p:nvCxnSpPr>
          <p:cNvPr id="16" name="Base Rule">
            <a:extLst>
              <a:ext uri="{FF2B5EF4-FFF2-40B4-BE49-F238E27FC236}">
                <a16:creationId xmlns:a16="http://schemas.microsoft.com/office/drawing/2014/main" id="{A2E4D762-EABE-F9E8-A416-7B524EE5A5F3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292100" y="6395755"/>
            <a:ext cx="1160780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ED1AEB33-C846-8D27-B334-B80B72329C8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chemeClr val="bg1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pic>
        <p:nvPicPr>
          <p:cNvPr id="8" name="NIQ GFK Lockup">
            <a:extLst>
              <a:ext uri="{FF2B5EF4-FFF2-40B4-BE49-F238E27FC236}">
                <a16:creationId xmlns:a16="http://schemas.microsoft.com/office/drawing/2014/main" id="{5D3C3BE7-0356-CB3B-CA9F-9B23ECA7BDF9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/>
          <a:srcRect l="23" r="23"/>
          <a:stretch/>
        </p:blipFill>
        <p:spPr>
          <a:xfrm>
            <a:off x="302626" y="6462285"/>
            <a:ext cx="906224" cy="329184"/>
          </a:xfrm>
          <a:prstGeom prst="rect">
            <a:avLst/>
          </a:prstGeom>
        </p:spPr>
      </p:pic>
      <p:pic>
        <p:nvPicPr>
          <p:cNvPr id="2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3D2C78A3-1318-F9F9-A0FA-2E6F97A0A4AD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130" y="6495154"/>
            <a:ext cx="781433" cy="269593"/>
          </a:xfrm>
          <a:prstGeom prst="rect">
            <a:avLst/>
          </a:prstGeom>
        </p:spPr>
      </p:pic>
      <p:pic>
        <p:nvPicPr>
          <p:cNvPr id="18" name="NIQ Logo" hidden="1">
            <a:extLst>
              <a:ext uri="{FF2B5EF4-FFF2-40B4-BE49-F238E27FC236}">
                <a16:creationId xmlns:a16="http://schemas.microsoft.com/office/drawing/2014/main" id="{74EC100F-70B4-0E01-8BC9-6F09D73757D7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2100" y="6495101"/>
            <a:ext cx="645459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084164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Abstracted logo">
            <a:extLst>
              <a:ext uri="{FF2B5EF4-FFF2-40B4-BE49-F238E27FC236}">
                <a16:creationId xmlns:a16="http://schemas.microsoft.com/office/drawing/2014/main" id="{37C4672C-8363-CE87-84A0-A85A94F793F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1"/>
            <a:ext cx="11495577" cy="6496681"/>
          </a:xfrm>
          <a:custGeom>
            <a:avLst/>
            <a:gdLst>
              <a:gd name="connsiteX0" fmla="*/ 0 w 11495577"/>
              <a:gd name="connsiteY0" fmla="*/ 0 h 6496681"/>
              <a:gd name="connsiteX1" fmla="*/ 704099 w 11495577"/>
              <a:gd name="connsiteY1" fmla="*/ 0 h 6496681"/>
              <a:gd name="connsiteX2" fmla="*/ 741689 w 11495577"/>
              <a:gd name="connsiteY2" fmla="*/ 102812 h 6496681"/>
              <a:gd name="connsiteX3" fmla="*/ 3783129 w 11495577"/>
              <a:gd name="connsiteY3" fmla="*/ 2118000 h 6496681"/>
              <a:gd name="connsiteX4" fmla="*/ 6824569 w 11495577"/>
              <a:gd name="connsiteY4" fmla="*/ 102812 h 6496681"/>
              <a:gd name="connsiteX5" fmla="*/ 6862160 w 11495577"/>
              <a:gd name="connsiteY5" fmla="*/ 0 h 6496681"/>
              <a:gd name="connsiteX6" fmla="*/ 10037149 w 11495577"/>
              <a:gd name="connsiteY6" fmla="*/ 0 h 6496681"/>
              <a:gd name="connsiteX7" fmla="*/ 10016547 w 11495577"/>
              <a:gd name="connsiteY7" fmla="*/ 118329 h 6496681"/>
              <a:gd name="connsiteX8" fmla="*/ 9239892 w 11495577"/>
              <a:gd name="connsiteY8" fmla="*/ 2084828 h 6496681"/>
              <a:gd name="connsiteX9" fmla="*/ 11495577 w 11495577"/>
              <a:gd name="connsiteY9" fmla="*/ 4340512 h 6496681"/>
              <a:gd name="connsiteX10" fmla="*/ 9339409 w 11495577"/>
              <a:gd name="connsiteY10" fmla="*/ 6496681 h 6496681"/>
              <a:gd name="connsiteX11" fmla="*/ 7083724 w 11495577"/>
              <a:gd name="connsiteY11" fmla="*/ 4224410 h 6496681"/>
              <a:gd name="connsiteX12" fmla="*/ 3799716 w 11495577"/>
              <a:gd name="connsiteY12" fmla="*/ 5153221 h 6496681"/>
              <a:gd name="connsiteX13" fmla="*/ 2713 w 11495577"/>
              <a:gd name="connsiteY13" fmla="*/ 3888664 h 6496681"/>
              <a:gd name="connsiteX14" fmla="*/ 0 w 11495577"/>
              <a:gd name="connsiteY14" fmla="*/ 3886530 h 649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1495577" h="6496681">
                <a:moveTo>
                  <a:pt x="0" y="0"/>
                </a:moveTo>
                <a:lnTo>
                  <a:pt x="704099" y="0"/>
                </a:lnTo>
                <a:lnTo>
                  <a:pt x="741689" y="102812"/>
                </a:lnTo>
                <a:cubicBezTo>
                  <a:pt x="1242376" y="1287668"/>
                  <a:pt x="2414792" y="2118000"/>
                  <a:pt x="3783129" y="2118000"/>
                </a:cubicBezTo>
                <a:cubicBezTo>
                  <a:pt x="5151467" y="2118000"/>
                  <a:pt x="6323883" y="1287668"/>
                  <a:pt x="6824569" y="102812"/>
                </a:cubicBezTo>
                <a:lnTo>
                  <a:pt x="6862160" y="0"/>
                </a:lnTo>
                <a:lnTo>
                  <a:pt x="10037149" y="0"/>
                </a:lnTo>
                <a:lnTo>
                  <a:pt x="10016547" y="118329"/>
                </a:lnTo>
                <a:cubicBezTo>
                  <a:pt x="9868343" y="824040"/>
                  <a:pt x="9602709" y="1483589"/>
                  <a:pt x="9239892" y="2084828"/>
                </a:cubicBezTo>
                <a:lnTo>
                  <a:pt x="11495577" y="4340512"/>
                </a:lnTo>
                <a:lnTo>
                  <a:pt x="9339409" y="6496681"/>
                </a:lnTo>
                <a:lnTo>
                  <a:pt x="7083724" y="4224410"/>
                </a:lnTo>
                <a:cubicBezTo>
                  <a:pt x="6138328" y="4821503"/>
                  <a:pt x="5010486" y="5153221"/>
                  <a:pt x="3799716" y="5153221"/>
                </a:cubicBezTo>
                <a:cubicBezTo>
                  <a:pt x="2377992" y="5153221"/>
                  <a:pt x="1063024" y="4682402"/>
                  <a:pt x="2713" y="3888664"/>
                </a:cubicBezTo>
                <a:lnTo>
                  <a:pt x="0" y="388653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 w="16583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7" name="Confidential disclaimer">
            <a:extLst>
              <a:ext uri="{FF2B5EF4-FFF2-40B4-BE49-F238E27FC236}">
                <a16:creationId xmlns:a16="http://schemas.microsoft.com/office/drawing/2014/main" id="{8C7D221E-197F-4D9A-2DBE-264A762EB7A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798636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26" name="Footer Placeholder">
            <a:extLst>
              <a:ext uri="{FF2B5EF4-FFF2-40B4-BE49-F238E27FC236}">
                <a16:creationId xmlns:a16="http://schemas.microsoft.com/office/drawing/2014/main" id="{6DAF4C10-B884-4C63-31AE-C07181CF51A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3251197" y="6485399"/>
            <a:ext cx="3716341" cy="282957"/>
          </a:xfrm>
          <a:noFill/>
        </p:spPr>
        <p:txBody>
          <a:bodyPr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16" name="Copyright Line">
            <a:extLst>
              <a:ext uri="{FF2B5EF4-FFF2-40B4-BE49-F238E27FC236}">
                <a16:creationId xmlns:a16="http://schemas.microsoft.com/office/drawing/2014/main" id="{8D552AA0-2719-EBF2-2C9E-A8D7C82BEB55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88558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13" name="Contact Info Placeholder">
            <a:extLst>
              <a:ext uri="{FF2B5EF4-FFF2-40B4-BE49-F238E27FC236}">
                <a16:creationId xmlns:a16="http://schemas.microsoft.com/office/drawing/2014/main" id="{C53A8FC6-F70F-155C-7171-C3706040B82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88559" y="4707481"/>
            <a:ext cx="8642082" cy="423465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ontact information</a:t>
            </a:r>
          </a:p>
        </p:txBody>
      </p:sp>
      <p:sp>
        <p:nvSpPr>
          <p:cNvPr id="12" name="Presenter Name Placeholder">
            <a:extLst>
              <a:ext uri="{FF2B5EF4-FFF2-40B4-BE49-F238E27FC236}">
                <a16:creationId xmlns:a16="http://schemas.microsoft.com/office/drawing/2014/main" id="{FDEBEBA6-435D-29FE-A7B2-7A24861035E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88559" y="4339347"/>
            <a:ext cx="8642082" cy="344384"/>
          </a:xfrm>
        </p:spPr>
        <p:txBody>
          <a:bodyPr t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811C7246-8A71-F257-DB0D-3E1F23CE69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0" y="3136050"/>
            <a:ext cx="7121979" cy="829817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[Call to action]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D9E3A23B-F3DB-B7EF-DCB8-D944C23E6D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953699"/>
            <a:ext cx="7121979" cy="1938435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[Thank you]</a:t>
            </a:r>
            <a:endParaRPr lang="en-GB"/>
          </a:p>
        </p:txBody>
      </p:sp>
      <p:pic>
        <p:nvPicPr>
          <p:cNvPr id="4" name="NielsenIQ GFK lockup">
            <a:extLst>
              <a:ext uri="{FF2B5EF4-FFF2-40B4-BE49-F238E27FC236}">
                <a16:creationId xmlns:a16="http://schemas.microsoft.com/office/drawing/2014/main" id="{DCA6E8BC-B77A-54A1-C369-91956B34FEC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6122" y="5539740"/>
            <a:ext cx="3377876" cy="753596"/>
          </a:xfrm>
          <a:prstGeom prst="rect">
            <a:avLst/>
          </a:prstGeom>
        </p:spPr>
      </p:pic>
      <p:pic>
        <p:nvPicPr>
          <p:cNvPr id="22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B75E8267-9411-9919-62E4-BB9AB43721F4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558" y="5563212"/>
            <a:ext cx="2155411" cy="743616"/>
          </a:xfrm>
          <a:prstGeom prst="rect">
            <a:avLst/>
          </a:prstGeom>
        </p:spPr>
      </p:pic>
      <p:sp>
        <p:nvSpPr>
          <p:cNvPr id="5" name="Nielsen wordmark" hidden="1">
            <a:extLst>
              <a:ext uri="{FF2B5EF4-FFF2-40B4-BE49-F238E27FC236}">
                <a16:creationId xmlns:a16="http://schemas.microsoft.com/office/drawing/2014/main" id="{0A2688EF-BBA7-DD42-EAFC-01D7D42070A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95274" y="5686380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accent1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31372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Abstracted logo">
            <a:extLst>
              <a:ext uri="{FF2B5EF4-FFF2-40B4-BE49-F238E27FC236}">
                <a16:creationId xmlns:a16="http://schemas.microsoft.com/office/drawing/2014/main" id="{37C4672C-8363-CE87-84A0-A85A94F793F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1"/>
            <a:ext cx="11495577" cy="6496681"/>
          </a:xfrm>
          <a:custGeom>
            <a:avLst/>
            <a:gdLst>
              <a:gd name="connsiteX0" fmla="*/ 0 w 11495577"/>
              <a:gd name="connsiteY0" fmla="*/ 0 h 6496681"/>
              <a:gd name="connsiteX1" fmla="*/ 704099 w 11495577"/>
              <a:gd name="connsiteY1" fmla="*/ 0 h 6496681"/>
              <a:gd name="connsiteX2" fmla="*/ 741689 w 11495577"/>
              <a:gd name="connsiteY2" fmla="*/ 102812 h 6496681"/>
              <a:gd name="connsiteX3" fmla="*/ 3783129 w 11495577"/>
              <a:gd name="connsiteY3" fmla="*/ 2118000 h 6496681"/>
              <a:gd name="connsiteX4" fmla="*/ 6824569 w 11495577"/>
              <a:gd name="connsiteY4" fmla="*/ 102812 h 6496681"/>
              <a:gd name="connsiteX5" fmla="*/ 6862160 w 11495577"/>
              <a:gd name="connsiteY5" fmla="*/ 0 h 6496681"/>
              <a:gd name="connsiteX6" fmla="*/ 10037149 w 11495577"/>
              <a:gd name="connsiteY6" fmla="*/ 0 h 6496681"/>
              <a:gd name="connsiteX7" fmla="*/ 10016547 w 11495577"/>
              <a:gd name="connsiteY7" fmla="*/ 118329 h 6496681"/>
              <a:gd name="connsiteX8" fmla="*/ 9239892 w 11495577"/>
              <a:gd name="connsiteY8" fmla="*/ 2084828 h 6496681"/>
              <a:gd name="connsiteX9" fmla="*/ 11495577 w 11495577"/>
              <a:gd name="connsiteY9" fmla="*/ 4340512 h 6496681"/>
              <a:gd name="connsiteX10" fmla="*/ 9339409 w 11495577"/>
              <a:gd name="connsiteY10" fmla="*/ 6496681 h 6496681"/>
              <a:gd name="connsiteX11" fmla="*/ 7083724 w 11495577"/>
              <a:gd name="connsiteY11" fmla="*/ 4224410 h 6496681"/>
              <a:gd name="connsiteX12" fmla="*/ 3799716 w 11495577"/>
              <a:gd name="connsiteY12" fmla="*/ 5153221 h 6496681"/>
              <a:gd name="connsiteX13" fmla="*/ 2713 w 11495577"/>
              <a:gd name="connsiteY13" fmla="*/ 3888664 h 6496681"/>
              <a:gd name="connsiteX14" fmla="*/ 0 w 11495577"/>
              <a:gd name="connsiteY14" fmla="*/ 3886530 h 649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1495577" h="6496681">
                <a:moveTo>
                  <a:pt x="0" y="0"/>
                </a:moveTo>
                <a:lnTo>
                  <a:pt x="704099" y="0"/>
                </a:lnTo>
                <a:lnTo>
                  <a:pt x="741689" y="102812"/>
                </a:lnTo>
                <a:cubicBezTo>
                  <a:pt x="1242376" y="1287668"/>
                  <a:pt x="2414792" y="2118000"/>
                  <a:pt x="3783129" y="2118000"/>
                </a:cubicBezTo>
                <a:cubicBezTo>
                  <a:pt x="5151467" y="2118000"/>
                  <a:pt x="6323883" y="1287668"/>
                  <a:pt x="6824569" y="102812"/>
                </a:cubicBezTo>
                <a:lnTo>
                  <a:pt x="6862160" y="0"/>
                </a:lnTo>
                <a:lnTo>
                  <a:pt x="10037149" y="0"/>
                </a:lnTo>
                <a:lnTo>
                  <a:pt x="10016547" y="118329"/>
                </a:lnTo>
                <a:cubicBezTo>
                  <a:pt x="9868343" y="824040"/>
                  <a:pt x="9602709" y="1483589"/>
                  <a:pt x="9239892" y="2084828"/>
                </a:cubicBezTo>
                <a:lnTo>
                  <a:pt x="11495577" y="4340512"/>
                </a:lnTo>
                <a:lnTo>
                  <a:pt x="9339409" y="6496681"/>
                </a:lnTo>
                <a:lnTo>
                  <a:pt x="7083724" y="4224410"/>
                </a:lnTo>
                <a:cubicBezTo>
                  <a:pt x="6138328" y="4821503"/>
                  <a:pt x="5010486" y="5153221"/>
                  <a:pt x="3799716" y="5153221"/>
                </a:cubicBezTo>
                <a:cubicBezTo>
                  <a:pt x="2377992" y="5153221"/>
                  <a:pt x="1063024" y="4682402"/>
                  <a:pt x="2713" y="3888664"/>
                </a:cubicBezTo>
                <a:lnTo>
                  <a:pt x="0" y="3886530"/>
                </a:lnTo>
                <a:close/>
              </a:path>
            </a:pathLst>
          </a:custGeom>
          <a:solidFill>
            <a:srgbClr val="1F2358"/>
          </a:solidFill>
          <a:ln w="16583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2" name="Confidential disclaimer">
            <a:extLst>
              <a:ext uri="{FF2B5EF4-FFF2-40B4-BE49-F238E27FC236}">
                <a16:creationId xmlns:a16="http://schemas.microsoft.com/office/drawing/2014/main" id="{CC2B4C36-E651-2950-6A7E-EA8C3223EAD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798636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6567EAC2-C7F5-1090-5CB4-EBD818C469A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3251197" y="6485399"/>
            <a:ext cx="3716341" cy="282957"/>
          </a:xfrm>
          <a:noFill/>
        </p:spPr>
        <p:txBody>
          <a:bodyPr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Copyright Line">
            <a:extLst>
              <a:ext uri="{FF2B5EF4-FFF2-40B4-BE49-F238E27FC236}">
                <a16:creationId xmlns:a16="http://schemas.microsoft.com/office/drawing/2014/main" id="{F7126EC3-8C35-EE2B-ADB1-C715FE7A9F8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88558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17" name="Contact Info Placeholder">
            <a:extLst>
              <a:ext uri="{FF2B5EF4-FFF2-40B4-BE49-F238E27FC236}">
                <a16:creationId xmlns:a16="http://schemas.microsoft.com/office/drawing/2014/main" id="{A3FB210C-3E75-B9CF-9D2B-068286A55F3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88559" y="4707481"/>
            <a:ext cx="8642082" cy="423465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ontact information</a:t>
            </a:r>
          </a:p>
        </p:txBody>
      </p:sp>
      <p:sp>
        <p:nvSpPr>
          <p:cNvPr id="24" name="Presenter Name Placeholder">
            <a:extLst>
              <a:ext uri="{FF2B5EF4-FFF2-40B4-BE49-F238E27FC236}">
                <a16:creationId xmlns:a16="http://schemas.microsoft.com/office/drawing/2014/main" id="{9CCE47FC-ABF8-A3D7-1819-33209FC9E53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88559" y="4339347"/>
            <a:ext cx="8642082" cy="344384"/>
          </a:xfrm>
        </p:spPr>
        <p:txBody>
          <a:bodyPr t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25" name="Subtitle Placeholder">
            <a:extLst>
              <a:ext uri="{FF2B5EF4-FFF2-40B4-BE49-F238E27FC236}">
                <a16:creationId xmlns:a16="http://schemas.microsoft.com/office/drawing/2014/main" id="{10BFC0B4-2BF4-2A65-9425-84381B182E3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0" y="3136050"/>
            <a:ext cx="7121979" cy="829817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[Call to action]</a:t>
            </a:r>
          </a:p>
        </p:txBody>
      </p:sp>
      <p:sp>
        <p:nvSpPr>
          <p:cNvPr id="27" name="Title Placeholder">
            <a:extLst>
              <a:ext uri="{FF2B5EF4-FFF2-40B4-BE49-F238E27FC236}">
                <a16:creationId xmlns:a16="http://schemas.microsoft.com/office/drawing/2014/main" id="{ABB00A9C-AB66-516A-550B-B734DF89C33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953699"/>
            <a:ext cx="7121979" cy="1938435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[Thank you]</a:t>
            </a:r>
            <a:endParaRPr lang="en-GB"/>
          </a:p>
        </p:txBody>
      </p:sp>
      <p:pic>
        <p:nvPicPr>
          <p:cNvPr id="3" name="NielsenIQ GFK lockup">
            <a:extLst>
              <a:ext uri="{FF2B5EF4-FFF2-40B4-BE49-F238E27FC236}">
                <a16:creationId xmlns:a16="http://schemas.microsoft.com/office/drawing/2014/main" id="{8991D051-ABB0-DBF5-92EA-40EAAEB0F576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86122" y="5539740"/>
            <a:ext cx="3377876" cy="753596"/>
          </a:xfrm>
          <a:prstGeom prst="rect">
            <a:avLst/>
          </a:prstGeom>
        </p:spPr>
      </p:pic>
      <p:pic>
        <p:nvPicPr>
          <p:cNvPr id="22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B75E8267-9411-9919-62E4-BB9AB43721F4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558" y="5563212"/>
            <a:ext cx="2155411" cy="743616"/>
          </a:xfrm>
          <a:prstGeom prst="rect">
            <a:avLst/>
          </a:prstGeom>
        </p:spPr>
      </p:pic>
      <p:sp>
        <p:nvSpPr>
          <p:cNvPr id="28" name="Nielsen wordmark" hidden="1">
            <a:extLst>
              <a:ext uri="{FF2B5EF4-FFF2-40B4-BE49-F238E27FC236}">
                <a16:creationId xmlns:a16="http://schemas.microsoft.com/office/drawing/2014/main" id="{B8D9CC60-F1A1-B774-0169-5108239545D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95274" y="5686380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accent1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6559181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tatic Light Bkgd">
            <a:extLst>
              <a:ext uri="{FF2B5EF4-FFF2-40B4-BE49-F238E27FC236}">
                <a16:creationId xmlns:a16="http://schemas.microsoft.com/office/drawing/2014/main" id="{C4626CD7-1C0C-6928-FA7F-84C22CDFEB5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9"/>
          </a:p>
        </p:txBody>
      </p:sp>
      <p:cxnSp>
        <p:nvCxnSpPr>
          <p:cNvPr id="9" name="Horizontal Rule">
            <a:extLst>
              <a:ext uri="{FF2B5EF4-FFF2-40B4-BE49-F238E27FC236}">
                <a16:creationId xmlns:a16="http://schemas.microsoft.com/office/drawing/2014/main" id="{429C2072-EE2B-A064-5CA2-6097546F935A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292100" y="1364752"/>
            <a:ext cx="11607800" cy="0"/>
          </a:xfrm>
          <a:prstGeom prst="line">
            <a:avLst/>
          </a:prstGeom>
          <a:ln w="12700">
            <a:solidFill>
              <a:srgbClr val="5555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fidential disclaimer">
            <a:extLst>
              <a:ext uri="{FF2B5EF4-FFF2-40B4-BE49-F238E27FC236}">
                <a16:creationId xmlns:a16="http://schemas.microsoft.com/office/drawing/2014/main" id="{BB35ED0A-9206-82C6-8F45-ACF38F7B1A6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798637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15" name="Copyright Line">
            <a:extLst>
              <a:ext uri="{FF2B5EF4-FFF2-40B4-BE49-F238E27FC236}">
                <a16:creationId xmlns:a16="http://schemas.microsoft.com/office/drawing/2014/main" id="{D439B148-E719-27C3-3403-978BEDC13EC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88559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1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36" name="Footer Placeholder">
            <a:extLst>
              <a:ext uri="{FF2B5EF4-FFF2-40B4-BE49-F238E27FC236}">
                <a16:creationId xmlns:a16="http://schemas.microsoft.com/office/drawing/2014/main" id="{7A2163E9-256E-9B73-6413-FAB496F455C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3"/>
          </p:nvPr>
        </p:nvSpPr>
        <p:spPr>
          <a:xfrm>
            <a:off x="3251200" y="6485400"/>
            <a:ext cx="3716336" cy="282957"/>
          </a:xfrm>
          <a:noFill/>
        </p:spPr>
        <p:txBody>
          <a:bodyPr/>
          <a:lstStyle>
            <a:lvl1pPr algn="l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34C6756D-B2C7-2A2B-E9A7-BB5F5972C73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2"/>
          </p:nvPr>
        </p:nvSpPr>
        <p:spPr>
          <a:xfrm>
            <a:off x="292100" y="6073689"/>
            <a:ext cx="1744664" cy="282957"/>
          </a:xfrm>
        </p:spPr>
        <p:txBody>
          <a:bodyPr/>
          <a:lstStyle>
            <a:lvl1pPr>
              <a:defRPr sz="1200">
                <a:solidFill>
                  <a:srgbClr val="555555"/>
                </a:solidFill>
              </a:defRPr>
            </a:lvl1pPr>
          </a:lstStyle>
          <a:p>
            <a:fld id="{B6481281-E9D1-47F7-BA91-39AA71050F8A}" type="datetime1">
              <a:rPr lang="en-GB" smtClean="0"/>
              <a:t>12/02/2026</a:t>
            </a:fld>
            <a:endParaRPr lang="en-GB"/>
          </a:p>
        </p:txBody>
      </p:sp>
      <p:sp>
        <p:nvSpPr>
          <p:cNvPr id="19" name="Title/Dept Placeholder">
            <a:extLst>
              <a:ext uri="{FF2B5EF4-FFF2-40B4-BE49-F238E27FC236}">
                <a16:creationId xmlns:a16="http://schemas.microsoft.com/office/drawing/2014/main" id="{6942A971-1821-DF95-6B7B-A7991E06FA8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 hasCustomPrompt="1"/>
          </p:nvPr>
        </p:nvSpPr>
        <p:spPr>
          <a:xfrm>
            <a:off x="292100" y="5562226"/>
            <a:ext cx="8625843" cy="344384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rgbClr val="555555"/>
                </a:solidFill>
              </a:defRPr>
            </a:lvl1pPr>
            <a:lvl2pPr marL="457051" indent="0">
              <a:buNone/>
              <a:defRPr sz="1200" b="1">
                <a:solidFill>
                  <a:schemeClr val="bg1"/>
                </a:solidFill>
              </a:defRPr>
            </a:lvl2pPr>
            <a:lvl3pPr marL="914103" indent="0">
              <a:buNone/>
              <a:defRPr sz="1200" b="1">
                <a:solidFill>
                  <a:schemeClr val="bg1"/>
                </a:solidFill>
              </a:defRPr>
            </a:lvl3pPr>
            <a:lvl4pPr marL="1371154" indent="0">
              <a:buNone/>
              <a:defRPr sz="1200" b="1">
                <a:solidFill>
                  <a:schemeClr val="bg1"/>
                </a:solidFill>
              </a:defRPr>
            </a:lvl4pPr>
            <a:lvl5pPr marL="1828206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Department</a:t>
            </a:r>
          </a:p>
        </p:txBody>
      </p:sp>
      <p:sp>
        <p:nvSpPr>
          <p:cNvPr id="18" name="Presenter Name Placeholder">
            <a:extLst>
              <a:ext uri="{FF2B5EF4-FFF2-40B4-BE49-F238E27FC236}">
                <a16:creationId xmlns:a16="http://schemas.microsoft.com/office/drawing/2014/main" id="{4D8E56BE-097F-EB4E-3287-BD1DCBFF488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292101" y="5194091"/>
            <a:ext cx="8625841" cy="344384"/>
          </a:xfrm>
        </p:spPr>
        <p:txBody>
          <a:bodyPr t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rgbClr val="555555"/>
                </a:solidFill>
              </a:defRPr>
            </a:lvl1pPr>
            <a:lvl2pPr marL="457051" indent="0">
              <a:buNone/>
              <a:defRPr sz="1200" b="1">
                <a:solidFill>
                  <a:schemeClr val="bg1"/>
                </a:solidFill>
              </a:defRPr>
            </a:lvl2pPr>
            <a:lvl3pPr marL="914103" indent="0">
              <a:buNone/>
              <a:defRPr sz="1200" b="1">
                <a:solidFill>
                  <a:schemeClr val="bg1"/>
                </a:solidFill>
              </a:defRPr>
            </a:lvl3pPr>
            <a:lvl4pPr marL="1371154" indent="0">
              <a:buNone/>
              <a:defRPr sz="1200" b="1">
                <a:solidFill>
                  <a:schemeClr val="bg1"/>
                </a:solidFill>
              </a:defRPr>
            </a:lvl4pPr>
            <a:lvl5pPr marL="1828206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D952C9CE-AA03-A24B-BBD9-8EA2482DC59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292100" y="4151029"/>
            <a:ext cx="8625840" cy="837883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399">
                <a:solidFill>
                  <a:srgbClr val="555555"/>
                </a:solidFill>
              </a:defRPr>
            </a:lvl1pPr>
            <a:lvl2pPr marL="457051" indent="0" algn="ctr">
              <a:buNone/>
              <a:defRPr sz="1999"/>
            </a:lvl2pPr>
            <a:lvl3pPr marL="914103" indent="0" algn="ctr">
              <a:buNone/>
              <a:defRPr sz="1799"/>
            </a:lvl3pPr>
            <a:lvl4pPr marL="1371154" indent="0" algn="ctr">
              <a:buNone/>
              <a:defRPr sz="1599"/>
            </a:lvl4pPr>
            <a:lvl5pPr marL="1828206" indent="0" algn="ctr">
              <a:buNone/>
              <a:defRPr sz="1599"/>
            </a:lvl5pPr>
            <a:lvl6pPr marL="2285257" indent="0" algn="ctr">
              <a:buNone/>
              <a:defRPr sz="1599"/>
            </a:lvl6pPr>
            <a:lvl7pPr marL="2742308" indent="0" algn="ctr">
              <a:buNone/>
              <a:defRPr sz="1599"/>
            </a:lvl7pPr>
            <a:lvl8pPr marL="3199360" indent="0" algn="ctr">
              <a:buNone/>
              <a:defRPr sz="1599"/>
            </a:lvl8pPr>
            <a:lvl9pPr marL="3656411" indent="0" algn="ctr">
              <a:buNone/>
              <a:defRPr sz="159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5F151AF7-737A-1648-9BC4-B9D881179FB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292100" y="1671355"/>
            <a:ext cx="8625840" cy="23876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5398">
                <a:solidFill>
                  <a:srgbClr val="555555"/>
                </a:solidFill>
              </a:defRPr>
            </a:lvl1pPr>
          </a:lstStyle>
          <a:p>
            <a:r>
              <a:rPr lang="en-US"/>
              <a:t>Insert your presentation title here maximum of three lines</a:t>
            </a:r>
          </a:p>
        </p:txBody>
      </p:sp>
      <p:pic>
        <p:nvPicPr>
          <p:cNvPr id="11" name="NielsenIQ GFK lockup">
            <a:extLst>
              <a:ext uri="{FF2B5EF4-FFF2-40B4-BE49-F238E27FC236}">
                <a16:creationId xmlns:a16="http://schemas.microsoft.com/office/drawing/2014/main" id="{7D277D99-518B-9609-51D0-587AB5DBF23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6123" y="321744"/>
            <a:ext cx="3377876" cy="753595"/>
          </a:xfrm>
          <a:prstGeom prst="rect">
            <a:avLst/>
          </a:prstGeom>
        </p:spPr>
      </p:pic>
      <p:pic>
        <p:nvPicPr>
          <p:cNvPr id="5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9851AB56-8AE6-EEF1-0330-E0C0C6360BE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558" y="305206"/>
            <a:ext cx="2211999" cy="763139"/>
          </a:xfrm>
          <a:prstGeom prst="rect">
            <a:avLst/>
          </a:prstGeom>
        </p:spPr>
      </p:pic>
      <p:sp>
        <p:nvSpPr>
          <p:cNvPr id="4" name="Nielsen wordmark" hidden="1">
            <a:extLst>
              <a:ext uri="{FF2B5EF4-FFF2-40B4-BE49-F238E27FC236}">
                <a16:creationId xmlns:a16="http://schemas.microsoft.com/office/drawing/2014/main" id="{114DF69D-7EB6-203C-43F0-B2D46A94C48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295275" y="443156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accent1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sz="1799"/>
          </a:p>
        </p:txBody>
      </p:sp>
    </p:spTree>
    <p:extLst>
      <p:ext uri="{BB962C8B-B14F-4D97-AF65-F5344CB8AC3E}">
        <p14:creationId xmlns:p14="http://schemas.microsoft.com/office/powerpoint/2010/main" val="3895879765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tatic Dark Bkgd">
            <a:extLst>
              <a:ext uri="{FF2B5EF4-FFF2-40B4-BE49-F238E27FC236}">
                <a16:creationId xmlns:a16="http://schemas.microsoft.com/office/drawing/2014/main" id="{C44FA2BA-550D-EDA0-ABAB-D662C16F137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9"/>
          </a:p>
        </p:txBody>
      </p:sp>
      <p:cxnSp>
        <p:nvCxnSpPr>
          <p:cNvPr id="9" name="Horizontal Rule">
            <a:extLst>
              <a:ext uri="{FF2B5EF4-FFF2-40B4-BE49-F238E27FC236}">
                <a16:creationId xmlns:a16="http://schemas.microsoft.com/office/drawing/2014/main" id="{429C2072-EE2B-A064-5CA2-6097546F935A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292100" y="1364752"/>
            <a:ext cx="11607800" cy="0"/>
          </a:xfrm>
          <a:prstGeom prst="line">
            <a:avLst/>
          </a:prstGeom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fidential disclaimer">
            <a:extLst>
              <a:ext uri="{FF2B5EF4-FFF2-40B4-BE49-F238E27FC236}">
                <a16:creationId xmlns:a16="http://schemas.microsoft.com/office/drawing/2014/main" id="{0CFED10E-E876-D584-0DE6-56605800FA6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798637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15" name="Copyright Line">
            <a:extLst>
              <a:ext uri="{FF2B5EF4-FFF2-40B4-BE49-F238E27FC236}">
                <a16:creationId xmlns:a16="http://schemas.microsoft.com/office/drawing/2014/main" id="{D439B148-E719-27C3-3403-978BEDC13EC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88559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1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10" name="Footer Placeholder">
            <a:extLst>
              <a:ext uri="{FF2B5EF4-FFF2-40B4-BE49-F238E27FC236}">
                <a16:creationId xmlns:a16="http://schemas.microsoft.com/office/drawing/2014/main" id="{671A6FA9-FE3E-4211-C84B-88F574FE85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3"/>
          </p:nvPr>
        </p:nvSpPr>
        <p:spPr>
          <a:xfrm>
            <a:off x="3251200" y="6485400"/>
            <a:ext cx="3716336" cy="282957"/>
          </a:xfrm>
          <a:noFill/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34C6756D-B2C7-2A2B-E9A7-BB5F5972C73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2"/>
          </p:nvPr>
        </p:nvSpPr>
        <p:spPr>
          <a:xfrm>
            <a:off x="292100" y="6073689"/>
            <a:ext cx="1744664" cy="282957"/>
          </a:xfrm>
        </p:spPr>
        <p:txBody>
          <a:bodyPr/>
          <a:lstStyle>
            <a:lvl1pPr>
              <a:defRPr sz="1200">
                <a:solidFill>
                  <a:srgbClr val="FFFFFF"/>
                </a:solidFill>
              </a:defRPr>
            </a:lvl1pPr>
          </a:lstStyle>
          <a:p>
            <a:fld id="{6939B06F-C1B3-44B6-B618-A1DBE0D9FD92}" type="datetime1">
              <a:rPr lang="en-GB" smtClean="0"/>
              <a:t>12/02/2026</a:t>
            </a:fld>
            <a:endParaRPr lang="en-GB"/>
          </a:p>
        </p:txBody>
      </p:sp>
      <p:sp>
        <p:nvSpPr>
          <p:cNvPr id="19" name="Title/Dept Placeholder">
            <a:extLst>
              <a:ext uri="{FF2B5EF4-FFF2-40B4-BE49-F238E27FC236}">
                <a16:creationId xmlns:a16="http://schemas.microsoft.com/office/drawing/2014/main" id="{6942A971-1821-DF95-6B7B-A7991E06FA8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 hasCustomPrompt="1"/>
          </p:nvPr>
        </p:nvSpPr>
        <p:spPr>
          <a:xfrm>
            <a:off x="292100" y="5562226"/>
            <a:ext cx="8625843" cy="344384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rgbClr val="FFFFFF"/>
                </a:solidFill>
              </a:defRPr>
            </a:lvl1pPr>
            <a:lvl2pPr marL="457051" indent="0">
              <a:buNone/>
              <a:defRPr sz="1200" b="1">
                <a:solidFill>
                  <a:schemeClr val="bg1"/>
                </a:solidFill>
              </a:defRPr>
            </a:lvl2pPr>
            <a:lvl3pPr marL="914103" indent="0">
              <a:buNone/>
              <a:defRPr sz="1200" b="1">
                <a:solidFill>
                  <a:schemeClr val="bg1"/>
                </a:solidFill>
              </a:defRPr>
            </a:lvl3pPr>
            <a:lvl4pPr marL="1371154" indent="0">
              <a:buNone/>
              <a:defRPr sz="1200" b="1">
                <a:solidFill>
                  <a:schemeClr val="bg1"/>
                </a:solidFill>
              </a:defRPr>
            </a:lvl4pPr>
            <a:lvl5pPr marL="1828206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Department</a:t>
            </a:r>
          </a:p>
        </p:txBody>
      </p:sp>
      <p:sp>
        <p:nvSpPr>
          <p:cNvPr id="18" name="Presenter Name Placeholder">
            <a:extLst>
              <a:ext uri="{FF2B5EF4-FFF2-40B4-BE49-F238E27FC236}">
                <a16:creationId xmlns:a16="http://schemas.microsoft.com/office/drawing/2014/main" id="{4D8E56BE-097F-EB4E-3287-BD1DCBFF488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292101" y="5194091"/>
            <a:ext cx="8625841" cy="344384"/>
          </a:xfrm>
        </p:spPr>
        <p:txBody>
          <a:bodyPr t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rgbClr val="FFFFFF"/>
                </a:solidFill>
              </a:defRPr>
            </a:lvl1pPr>
            <a:lvl2pPr marL="457051" indent="0">
              <a:buNone/>
              <a:defRPr sz="1200" b="1">
                <a:solidFill>
                  <a:schemeClr val="bg1"/>
                </a:solidFill>
              </a:defRPr>
            </a:lvl2pPr>
            <a:lvl3pPr marL="914103" indent="0">
              <a:buNone/>
              <a:defRPr sz="1200" b="1">
                <a:solidFill>
                  <a:schemeClr val="bg1"/>
                </a:solidFill>
              </a:defRPr>
            </a:lvl3pPr>
            <a:lvl4pPr marL="1371154" indent="0">
              <a:buNone/>
              <a:defRPr sz="1200" b="1">
                <a:solidFill>
                  <a:schemeClr val="bg1"/>
                </a:solidFill>
              </a:defRPr>
            </a:lvl4pPr>
            <a:lvl5pPr marL="1828206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D952C9CE-AA03-A24B-BBD9-8EA2482DC59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292100" y="4151029"/>
            <a:ext cx="8625840" cy="837883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399">
                <a:solidFill>
                  <a:srgbClr val="FFFFFF"/>
                </a:solidFill>
              </a:defRPr>
            </a:lvl1pPr>
            <a:lvl2pPr marL="457051" indent="0" algn="ctr">
              <a:buNone/>
              <a:defRPr sz="1999"/>
            </a:lvl2pPr>
            <a:lvl3pPr marL="914103" indent="0" algn="ctr">
              <a:buNone/>
              <a:defRPr sz="1799"/>
            </a:lvl3pPr>
            <a:lvl4pPr marL="1371154" indent="0" algn="ctr">
              <a:buNone/>
              <a:defRPr sz="1599"/>
            </a:lvl4pPr>
            <a:lvl5pPr marL="1828206" indent="0" algn="ctr">
              <a:buNone/>
              <a:defRPr sz="1599"/>
            </a:lvl5pPr>
            <a:lvl6pPr marL="2285257" indent="0" algn="ctr">
              <a:buNone/>
              <a:defRPr sz="1599"/>
            </a:lvl6pPr>
            <a:lvl7pPr marL="2742308" indent="0" algn="ctr">
              <a:buNone/>
              <a:defRPr sz="1599"/>
            </a:lvl7pPr>
            <a:lvl8pPr marL="3199360" indent="0" algn="ctr">
              <a:buNone/>
              <a:defRPr sz="1599"/>
            </a:lvl8pPr>
            <a:lvl9pPr marL="3656411" indent="0" algn="ctr">
              <a:buNone/>
              <a:defRPr sz="159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5F151AF7-737A-1648-9BC4-B9D881179FB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292100" y="1671355"/>
            <a:ext cx="8625840" cy="23876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5398">
                <a:solidFill>
                  <a:srgbClr val="FFFFFF"/>
                </a:solidFill>
              </a:defRPr>
            </a:lvl1pPr>
          </a:lstStyle>
          <a:p>
            <a:r>
              <a:rPr lang="en-US"/>
              <a:t>Insert your presentation title here maximum of three lines</a:t>
            </a:r>
          </a:p>
        </p:txBody>
      </p:sp>
      <p:pic>
        <p:nvPicPr>
          <p:cNvPr id="11" name="NielsenIQ GFK lockup">
            <a:extLst>
              <a:ext uri="{FF2B5EF4-FFF2-40B4-BE49-F238E27FC236}">
                <a16:creationId xmlns:a16="http://schemas.microsoft.com/office/drawing/2014/main" id="{F5A22785-6BE6-D1CC-4D14-4C9F4152DA6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86123" y="321744"/>
            <a:ext cx="3377876" cy="753595"/>
          </a:xfrm>
          <a:prstGeom prst="rect">
            <a:avLst/>
          </a:prstGeom>
        </p:spPr>
      </p:pic>
      <p:pic>
        <p:nvPicPr>
          <p:cNvPr id="12" name="NielsenIQ logo+wordmark" hidden="1">
            <a:extLst>
              <a:ext uri="{FF2B5EF4-FFF2-40B4-BE49-F238E27FC236}">
                <a16:creationId xmlns:a16="http://schemas.microsoft.com/office/drawing/2014/main" id="{8189DD20-160D-9FA4-6050-54CA59644796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8560" y="305206"/>
            <a:ext cx="2211753" cy="763139"/>
          </a:xfrm>
          <a:prstGeom prst="rect">
            <a:avLst/>
          </a:prstGeom>
        </p:spPr>
      </p:pic>
      <p:sp>
        <p:nvSpPr>
          <p:cNvPr id="23" name="Nielsen wordmark" hidden="1">
            <a:extLst>
              <a:ext uri="{FF2B5EF4-FFF2-40B4-BE49-F238E27FC236}">
                <a16:creationId xmlns:a16="http://schemas.microsoft.com/office/drawing/2014/main" id="{A534929D-2AB3-3703-CE21-C24AAF5B90D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95275" y="443156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tx2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sz="1799"/>
          </a:p>
        </p:txBody>
      </p:sp>
    </p:spTree>
    <p:extLst>
      <p:ext uri="{BB962C8B-B14F-4D97-AF65-F5344CB8AC3E}">
        <p14:creationId xmlns:p14="http://schemas.microsoft.com/office/powerpoint/2010/main" val="141945167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tatic Dark Bkgd">
            <a:extLst>
              <a:ext uri="{FF2B5EF4-FFF2-40B4-BE49-F238E27FC236}">
                <a16:creationId xmlns:a16="http://schemas.microsoft.com/office/drawing/2014/main" id="{C44FA2BA-550D-EDA0-ABAB-D662C16F137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60A4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9"/>
          </a:p>
        </p:txBody>
      </p:sp>
      <p:cxnSp>
        <p:nvCxnSpPr>
          <p:cNvPr id="9" name="Horizontal Rule">
            <a:extLst>
              <a:ext uri="{FF2B5EF4-FFF2-40B4-BE49-F238E27FC236}">
                <a16:creationId xmlns:a16="http://schemas.microsoft.com/office/drawing/2014/main" id="{429C2072-EE2B-A064-5CA2-6097546F935A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292100" y="1364752"/>
            <a:ext cx="11607800" cy="0"/>
          </a:xfrm>
          <a:prstGeom prst="line">
            <a:avLst/>
          </a:prstGeom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fidential disclaimer">
            <a:extLst>
              <a:ext uri="{FF2B5EF4-FFF2-40B4-BE49-F238E27FC236}">
                <a16:creationId xmlns:a16="http://schemas.microsoft.com/office/drawing/2014/main" id="{15979AA9-9DD3-3AAB-213C-8B9A6FF3D1D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798637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15" name="Copyright Line">
            <a:extLst>
              <a:ext uri="{FF2B5EF4-FFF2-40B4-BE49-F238E27FC236}">
                <a16:creationId xmlns:a16="http://schemas.microsoft.com/office/drawing/2014/main" id="{D439B148-E719-27C3-3403-978BEDC13EC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88559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1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10" name="Footer Placeholder">
            <a:extLst>
              <a:ext uri="{FF2B5EF4-FFF2-40B4-BE49-F238E27FC236}">
                <a16:creationId xmlns:a16="http://schemas.microsoft.com/office/drawing/2014/main" id="{671A6FA9-FE3E-4211-C84B-88F574FE85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3"/>
          </p:nvPr>
        </p:nvSpPr>
        <p:spPr>
          <a:xfrm>
            <a:off x="3251200" y="6485400"/>
            <a:ext cx="3716336" cy="282957"/>
          </a:xfrm>
          <a:solidFill>
            <a:schemeClr val="tx2"/>
          </a:solidFill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34C6756D-B2C7-2A2B-E9A7-BB5F5972C73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2"/>
          </p:nvPr>
        </p:nvSpPr>
        <p:spPr>
          <a:xfrm>
            <a:off x="292100" y="6073689"/>
            <a:ext cx="1744664" cy="282957"/>
          </a:xfrm>
        </p:spPr>
        <p:txBody>
          <a:bodyPr/>
          <a:lstStyle>
            <a:lvl1pPr>
              <a:defRPr sz="1200">
                <a:solidFill>
                  <a:srgbClr val="FFFFFF"/>
                </a:solidFill>
              </a:defRPr>
            </a:lvl1pPr>
          </a:lstStyle>
          <a:p>
            <a:fld id="{6939B06F-C1B3-44B6-B618-A1DBE0D9FD92}" type="datetime1">
              <a:rPr lang="en-GB" smtClean="0"/>
              <a:t>12/02/2026</a:t>
            </a:fld>
            <a:endParaRPr lang="en-GB"/>
          </a:p>
        </p:txBody>
      </p:sp>
      <p:sp>
        <p:nvSpPr>
          <p:cNvPr id="19" name="Title/Dept Placeholder">
            <a:extLst>
              <a:ext uri="{FF2B5EF4-FFF2-40B4-BE49-F238E27FC236}">
                <a16:creationId xmlns:a16="http://schemas.microsoft.com/office/drawing/2014/main" id="{6942A971-1821-DF95-6B7B-A7991E06FA8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 hasCustomPrompt="1"/>
          </p:nvPr>
        </p:nvSpPr>
        <p:spPr>
          <a:xfrm>
            <a:off x="292100" y="5562226"/>
            <a:ext cx="8625843" cy="344384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rgbClr val="FFFFFF"/>
                </a:solidFill>
              </a:defRPr>
            </a:lvl1pPr>
            <a:lvl2pPr marL="457051" indent="0">
              <a:buNone/>
              <a:defRPr sz="1200" b="1">
                <a:solidFill>
                  <a:schemeClr val="bg1"/>
                </a:solidFill>
              </a:defRPr>
            </a:lvl2pPr>
            <a:lvl3pPr marL="914103" indent="0">
              <a:buNone/>
              <a:defRPr sz="1200" b="1">
                <a:solidFill>
                  <a:schemeClr val="bg1"/>
                </a:solidFill>
              </a:defRPr>
            </a:lvl3pPr>
            <a:lvl4pPr marL="1371154" indent="0">
              <a:buNone/>
              <a:defRPr sz="1200" b="1">
                <a:solidFill>
                  <a:schemeClr val="bg1"/>
                </a:solidFill>
              </a:defRPr>
            </a:lvl4pPr>
            <a:lvl5pPr marL="1828206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Department</a:t>
            </a:r>
          </a:p>
        </p:txBody>
      </p:sp>
      <p:sp>
        <p:nvSpPr>
          <p:cNvPr id="18" name="Presenter Name Placeholder">
            <a:extLst>
              <a:ext uri="{FF2B5EF4-FFF2-40B4-BE49-F238E27FC236}">
                <a16:creationId xmlns:a16="http://schemas.microsoft.com/office/drawing/2014/main" id="{4D8E56BE-097F-EB4E-3287-BD1DCBFF488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292101" y="5194091"/>
            <a:ext cx="8625841" cy="344384"/>
          </a:xfrm>
        </p:spPr>
        <p:txBody>
          <a:bodyPr t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rgbClr val="FFFFFF"/>
                </a:solidFill>
              </a:defRPr>
            </a:lvl1pPr>
            <a:lvl2pPr marL="457051" indent="0">
              <a:buNone/>
              <a:defRPr sz="1200" b="1">
                <a:solidFill>
                  <a:schemeClr val="bg1"/>
                </a:solidFill>
              </a:defRPr>
            </a:lvl2pPr>
            <a:lvl3pPr marL="914103" indent="0">
              <a:buNone/>
              <a:defRPr sz="1200" b="1">
                <a:solidFill>
                  <a:schemeClr val="bg1"/>
                </a:solidFill>
              </a:defRPr>
            </a:lvl3pPr>
            <a:lvl4pPr marL="1371154" indent="0">
              <a:buNone/>
              <a:defRPr sz="1200" b="1">
                <a:solidFill>
                  <a:schemeClr val="bg1"/>
                </a:solidFill>
              </a:defRPr>
            </a:lvl4pPr>
            <a:lvl5pPr marL="1828206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D952C9CE-AA03-A24B-BBD9-8EA2482DC59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292100" y="4151029"/>
            <a:ext cx="8625840" cy="837883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399">
                <a:solidFill>
                  <a:srgbClr val="FFFFFF"/>
                </a:solidFill>
              </a:defRPr>
            </a:lvl1pPr>
            <a:lvl2pPr marL="457051" indent="0" algn="ctr">
              <a:buNone/>
              <a:defRPr sz="1999"/>
            </a:lvl2pPr>
            <a:lvl3pPr marL="914103" indent="0" algn="ctr">
              <a:buNone/>
              <a:defRPr sz="1799"/>
            </a:lvl3pPr>
            <a:lvl4pPr marL="1371154" indent="0" algn="ctr">
              <a:buNone/>
              <a:defRPr sz="1599"/>
            </a:lvl4pPr>
            <a:lvl5pPr marL="1828206" indent="0" algn="ctr">
              <a:buNone/>
              <a:defRPr sz="1599"/>
            </a:lvl5pPr>
            <a:lvl6pPr marL="2285257" indent="0" algn="ctr">
              <a:buNone/>
              <a:defRPr sz="1599"/>
            </a:lvl6pPr>
            <a:lvl7pPr marL="2742308" indent="0" algn="ctr">
              <a:buNone/>
              <a:defRPr sz="1599"/>
            </a:lvl7pPr>
            <a:lvl8pPr marL="3199360" indent="0" algn="ctr">
              <a:buNone/>
              <a:defRPr sz="1599"/>
            </a:lvl8pPr>
            <a:lvl9pPr marL="3656411" indent="0" algn="ctr">
              <a:buNone/>
              <a:defRPr sz="159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5F151AF7-737A-1648-9BC4-B9D881179FB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292100" y="1671355"/>
            <a:ext cx="8625840" cy="23876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5398">
                <a:solidFill>
                  <a:srgbClr val="FFFFFF"/>
                </a:solidFill>
              </a:defRPr>
            </a:lvl1pPr>
          </a:lstStyle>
          <a:p>
            <a:r>
              <a:rPr lang="en-US"/>
              <a:t>Insert your presentation title here maximum of three lines</a:t>
            </a:r>
          </a:p>
        </p:txBody>
      </p:sp>
      <p:pic>
        <p:nvPicPr>
          <p:cNvPr id="4" name="NielsenIQ GFK lockup">
            <a:extLst>
              <a:ext uri="{FF2B5EF4-FFF2-40B4-BE49-F238E27FC236}">
                <a16:creationId xmlns:a16="http://schemas.microsoft.com/office/drawing/2014/main" id="{C8AAA83D-C3BC-19DA-FC85-5AFC9A752B02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86123" y="321744"/>
            <a:ext cx="3377876" cy="753595"/>
          </a:xfrm>
          <a:prstGeom prst="rect">
            <a:avLst/>
          </a:prstGeom>
        </p:spPr>
      </p:pic>
      <p:pic>
        <p:nvPicPr>
          <p:cNvPr id="12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8189DD20-160D-9FA4-6050-54CA59644796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558" y="305206"/>
            <a:ext cx="2211999" cy="763139"/>
          </a:xfrm>
          <a:prstGeom prst="rect">
            <a:avLst/>
          </a:prstGeom>
        </p:spPr>
      </p:pic>
      <p:sp>
        <p:nvSpPr>
          <p:cNvPr id="23" name="Nielsen wordmark" hidden="1">
            <a:extLst>
              <a:ext uri="{FF2B5EF4-FFF2-40B4-BE49-F238E27FC236}">
                <a16:creationId xmlns:a16="http://schemas.microsoft.com/office/drawing/2014/main" id="{ACEC4A6E-78BA-F45C-EDE6-561ED4C493C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95275" y="443156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accent1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sz="1799"/>
          </a:p>
        </p:txBody>
      </p:sp>
    </p:spTree>
    <p:extLst>
      <p:ext uri="{BB962C8B-B14F-4D97-AF65-F5344CB8AC3E}">
        <p14:creationId xmlns:p14="http://schemas.microsoft.com/office/powerpoint/2010/main" val="34501126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Line">
            <a:extLst>
              <a:ext uri="{FF2B5EF4-FFF2-40B4-BE49-F238E27FC236}">
                <a16:creationId xmlns:a16="http://schemas.microsoft.com/office/drawing/2014/main" id="{78C23B66-615F-4718-BD9E-FC56288257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248296" y="1484784"/>
            <a:ext cx="1728024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7248128" y="1989024"/>
            <a:ext cx="4032448" cy="1223952"/>
          </a:xfrm>
          <a:prstGeom prst="rect">
            <a:avLst/>
          </a:prstGeom>
        </p:spPr>
        <p:txBody>
          <a:bodyPr>
            <a:noAutofit/>
          </a:bodyPr>
          <a:lstStyle>
            <a:lvl1pPr marL="361950" indent="-361950"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GB"/>
              <a:t>1	Divider slide | Insert your headline in maximal three lines here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4FDF9C42-D4C2-4901-8C80-4142CE35C1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128" y="3745606"/>
            <a:ext cx="4032448" cy="1195561"/>
          </a:xfrm>
          <a:prstGeom prst="rect">
            <a:avLst/>
          </a:prstGeom>
          <a:noFill/>
          <a:ln w="0">
            <a:noFill/>
          </a:ln>
        </p:spPr>
        <p:txBody>
          <a:bodyPr lIns="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17" name="Picture">
            <a:extLst>
              <a:ext uri="{FF2B5EF4-FFF2-40B4-BE49-F238E27FC236}">
                <a16:creationId xmlns:a16="http://schemas.microsoft.com/office/drawing/2014/main" id="{98F4FF65-FEA2-42DE-8EE1-50E91E928FE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23637" y="1484784"/>
            <a:ext cx="5748427" cy="4611217"/>
          </a:xfrm>
          <a:custGeom>
            <a:avLst/>
            <a:gdLst>
              <a:gd name="connsiteX0" fmla="*/ 1008000 w 7056002"/>
              <a:gd name="connsiteY0" fmla="*/ 0 h 5040002"/>
              <a:gd name="connsiteX1" fmla="*/ 7056002 w 7056002"/>
              <a:gd name="connsiteY1" fmla="*/ 0 h 5040002"/>
              <a:gd name="connsiteX2" fmla="*/ 7056002 w 7056002"/>
              <a:gd name="connsiteY2" fmla="*/ 4033656 h 5040002"/>
              <a:gd name="connsiteX3" fmla="*/ 0 w 7056002"/>
              <a:gd name="connsiteY3" fmla="*/ 5040002 h 5040002"/>
              <a:gd name="connsiteX0" fmla="*/ 1174688 w 7056002"/>
              <a:gd name="connsiteY0" fmla="*/ 0 h 5040002"/>
              <a:gd name="connsiteX1" fmla="*/ 7056002 w 7056002"/>
              <a:gd name="connsiteY1" fmla="*/ 0 h 5040002"/>
              <a:gd name="connsiteX2" fmla="*/ 7056002 w 7056002"/>
              <a:gd name="connsiteY2" fmla="*/ 4033656 h 5040002"/>
              <a:gd name="connsiteX3" fmla="*/ 0 w 7056002"/>
              <a:gd name="connsiteY3" fmla="*/ 5040002 h 5040002"/>
              <a:gd name="connsiteX4" fmla="*/ 1174688 w 7056002"/>
              <a:gd name="connsiteY4" fmla="*/ 0 h 5040002"/>
              <a:gd name="connsiteX0" fmla="*/ 1174688 w 7056002"/>
              <a:gd name="connsiteY0" fmla="*/ 0 h 5040002"/>
              <a:gd name="connsiteX1" fmla="*/ 7056002 w 7056002"/>
              <a:gd name="connsiteY1" fmla="*/ 0 h 5040002"/>
              <a:gd name="connsiteX2" fmla="*/ 7053224 w 7056002"/>
              <a:gd name="connsiteY2" fmla="*/ 3919886 h 5040002"/>
              <a:gd name="connsiteX3" fmla="*/ 0 w 7056002"/>
              <a:gd name="connsiteY3" fmla="*/ 5040002 h 5040002"/>
              <a:gd name="connsiteX4" fmla="*/ 1174688 w 7056002"/>
              <a:gd name="connsiteY4" fmla="*/ 0 h 5040002"/>
              <a:gd name="connsiteX0" fmla="*/ 1445452 w 7326766"/>
              <a:gd name="connsiteY0" fmla="*/ 0 h 5196122"/>
              <a:gd name="connsiteX1" fmla="*/ 7326766 w 7326766"/>
              <a:gd name="connsiteY1" fmla="*/ 0 h 5196122"/>
              <a:gd name="connsiteX2" fmla="*/ 7323988 w 7326766"/>
              <a:gd name="connsiteY2" fmla="*/ 3919886 h 5196122"/>
              <a:gd name="connsiteX3" fmla="*/ 0 w 7326766"/>
              <a:gd name="connsiteY3" fmla="*/ 5196122 h 5196122"/>
              <a:gd name="connsiteX4" fmla="*/ 1445452 w 7326766"/>
              <a:gd name="connsiteY4" fmla="*/ 0 h 5196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26766" h="5196122">
                <a:moveTo>
                  <a:pt x="1445452" y="0"/>
                </a:moveTo>
                <a:lnTo>
                  <a:pt x="7326766" y="0"/>
                </a:lnTo>
                <a:lnTo>
                  <a:pt x="7323988" y="3919886"/>
                </a:lnTo>
                <a:cubicBezTo>
                  <a:pt x="4972913" y="4293258"/>
                  <a:pt x="2351075" y="4822750"/>
                  <a:pt x="0" y="5196122"/>
                </a:cubicBezTo>
                <a:cubicBezTo>
                  <a:pt x="336000" y="3516121"/>
                  <a:pt x="1109452" y="1680001"/>
                  <a:pt x="1445452" y="0"/>
                </a:cubicBezTo>
                <a:close/>
              </a:path>
            </a:pathLst>
          </a:custGeom>
          <a:solidFill>
            <a:srgbClr val="D6D9DC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0" name="Source">
            <a:extLst>
              <a:ext uri="{FF2B5EF4-FFF2-40B4-BE49-F238E27FC236}">
                <a16:creationId xmlns:a16="http://schemas.microsoft.com/office/drawing/2014/main" id="{4DBD7890-AED9-4944-BFE1-FABFDC77A9B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487488" y="6525000"/>
            <a:ext cx="9144512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FA7DD22-07DB-6A1C-6F72-BB52B9126F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19803218-710D-41D9-955C-C6E1763D7E37}" type="datetime1">
              <a:rPr lang="en-GB" smtClean="0"/>
              <a:t>12/02/2026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2A2A817-BB61-9C2D-8F92-EEE4D20DA7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A769AE6-21E3-6291-8C0F-448B679ACC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93491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hoto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tatic Light Bkgd">
            <a:extLst>
              <a:ext uri="{FF2B5EF4-FFF2-40B4-BE49-F238E27FC236}">
                <a16:creationId xmlns:a16="http://schemas.microsoft.com/office/drawing/2014/main" id="{EE705342-7994-AFF3-15FD-F6FDEC9AE6B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9"/>
          </a:p>
        </p:txBody>
      </p:sp>
      <p:grpSp>
        <p:nvGrpSpPr>
          <p:cNvPr id="30" name="Photo Accent Circles">
            <a:extLst>
              <a:ext uri="{FF2B5EF4-FFF2-40B4-BE49-F238E27FC236}">
                <a16:creationId xmlns:a16="http://schemas.microsoft.com/office/drawing/2014/main" id="{05F2AB47-2DD7-8B76-D4C4-88A3A382FA8A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5942371" y="1"/>
            <a:ext cx="6249631" cy="6778171"/>
            <a:chOff x="5942370" y="1"/>
            <a:chExt cx="6249631" cy="6778171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41DBC157-DD06-141E-B188-1EB8D24163C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5942370" y="1"/>
              <a:ext cx="6249631" cy="6778171"/>
            </a:xfrm>
            <a:custGeom>
              <a:avLst/>
              <a:gdLst>
                <a:gd name="connsiteX0" fmla="*/ 1133398 w 6249631"/>
                <a:gd name="connsiteY0" fmla="*/ 0 h 6778171"/>
                <a:gd name="connsiteX1" fmla="*/ 6249631 w 6249631"/>
                <a:gd name="connsiteY1" fmla="*/ 0 h 6778171"/>
                <a:gd name="connsiteX2" fmla="*/ 6249631 w 6249631"/>
                <a:gd name="connsiteY2" fmla="*/ 6079239 h 6778171"/>
                <a:gd name="connsiteX3" fmla="*/ 6227147 w 6249631"/>
                <a:gd name="connsiteY3" fmla="*/ 6096052 h 6778171"/>
                <a:gd name="connsiteX4" fmla="*/ 3994041 w 6249631"/>
                <a:gd name="connsiteY4" fmla="*/ 6778171 h 6778171"/>
                <a:gd name="connsiteX5" fmla="*/ 0 w 6249631"/>
                <a:gd name="connsiteY5" fmla="*/ 2784130 h 6778171"/>
                <a:gd name="connsiteX6" fmla="*/ 912045 w 6249631"/>
                <a:gd name="connsiteY6" fmla="*/ 243549 h 67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9631" h="6778171">
                  <a:moveTo>
                    <a:pt x="1133398" y="0"/>
                  </a:moveTo>
                  <a:lnTo>
                    <a:pt x="6249631" y="0"/>
                  </a:lnTo>
                  <a:lnTo>
                    <a:pt x="6249631" y="6079239"/>
                  </a:lnTo>
                  <a:lnTo>
                    <a:pt x="6227147" y="6096052"/>
                  </a:lnTo>
                  <a:cubicBezTo>
                    <a:pt x="5589694" y="6526707"/>
                    <a:pt x="4821234" y="6778171"/>
                    <a:pt x="3994041" y="6778171"/>
                  </a:cubicBezTo>
                  <a:cubicBezTo>
                    <a:pt x="1788193" y="6778171"/>
                    <a:pt x="0" y="4989978"/>
                    <a:pt x="0" y="2784130"/>
                  </a:cubicBezTo>
                  <a:cubicBezTo>
                    <a:pt x="0" y="1819072"/>
                    <a:pt x="342272" y="933955"/>
                    <a:pt x="912045" y="243549"/>
                  </a:cubicBezTo>
                  <a:close/>
                </a:path>
              </a:pathLst>
            </a:custGeom>
            <a:solidFill>
              <a:srgbClr val="F0F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 sz="1799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D9CB59-0278-69D3-1B88-9D97D9D9BF6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6596886" y="1"/>
              <a:ext cx="5595114" cy="6115087"/>
            </a:xfrm>
            <a:custGeom>
              <a:avLst/>
              <a:gdLst>
                <a:gd name="connsiteX0" fmla="*/ 1504880 w 5595114"/>
                <a:gd name="connsiteY0" fmla="*/ 0 h 6115087"/>
                <a:gd name="connsiteX1" fmla="*/ 5157035 w 5595114"/>
                <a:gd name="connsiteY1" fmla="*/ 0 h 6115087"/>
                <a:gd name="connsiteX2" fmla="*/ 5193327 w 5595114"/>
                <a:gd name="connsiteY2" fmla="*/ 22048 h 6115087"/>
                <a:gd name="connsiteX3" fmla="*/ 5449755 w 5595114"/>
                <a:gd name="connsiteY3" fmla="*/ 213802 h 6115087"/>
                <a:gd name="connsiteX4" fmla="*/ 5595114 w 5595114"/>
                <a:gd name="connsiteY4" fmla="*/ 345913 h 6115087"/>
                <a:gd name="connsiteX5" fmla="*/ 5595114 w 5595114"/>
                <a:gd name="connsiteY5" fmla="*/ 5222347 h 6115087"/>
                <a:gd name="connsiteX6" fmla="*/ 5449755 w 5595114"/>
                <a:gd name="connsiteY6" fmla="*/ 5354459 h 6115087"/>
                <a:gd name="connsiteX7" fmla="*/ 3330957 w 5595114"/>
                <a:gd name="connsiteY7" fmla="*/ 6115087 h 6115087"/>
                <a:gd name="connsiteX8" fmla="*/ 0 w 5595114"/>
                <a:gd name="connsiteY8" fmla="*/ 2784130 h 6115087"/>
                <a:gd name="connsiteX9" fmla="*/ 1468588 w 5595114"/>
                <a:gd name="connsiteY9" fmla="*/ 22048 h 6115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95114" h="6115087">
                  <a:moveTo>
                    <a:pt x="1504880" y="0"/>
                  </a:moveTo>
                  <a:lnTo>
                    <a:pt x="5157035" y="0"/>
                  </a:lnTo>
                  <a:lnTo>
                    <a:pt x="5193327" y="22048"/>
                  </a:lnTo>
                  <a:cubicBezTo>
                    <a:pt x="5281931" y="81908"/>
                    <a:pt x="5367500" y="145919"/>
                    <a:pt x="5449755" y="213802"/>
                  </a:cubicBezTo>
                  <a:lnTo>
                    <a:pt x="5595114" y="345913"/>
                  </a:lnTo>
                  <a:lnTo>
                    <a:pt x="5595114" y="5222347"/>
                  </a:lnTo>
                  <a:lnTo>
                    <a:pt x="5449755" y="5354459"/>
                  </a:lnTo>
                  <a:cubicBezTo>
                    <a:pt x="4873969" y="5829639"/>
                    <a:pt x="4135798" y="6115087"/>
                    <a:pt x="3330957" y="6115087"/>
                  </a:cubicBezTo>
                  <a:cubicBezTo>
                    <a:pt x="1491320" y="6115087"/>
                    <a:pt x="0" y="4623767"/>
                    <a:pt x="0" y="2784130"/>
                  </a:cubicBezTo>
                  <a:cubicBezTo>
                    <a:pt x="0" y="1634357"/>
                    <a:pt x="582547" y="620645"/>
                    <a:pt x="1468588" y="22048"/>
                  </a:cubicBezTo>
                  <a:close/>
                </a:path>
              </a:pathLst>
            </a:custGeom>
            <a:solidFill>
              <a:srgbClr val="DADAD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799">
                <a:solidFill>
                  <a:srgbClr val="DADADA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EF44984-8F7A-8C11-AE43-676924BE717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7172234" y="28520"/>
              <a:ext cx="5019767" cy="5511220"/>
            </a:xfrm>
            <a:custGeom>
              <a:avLst/>
              <a:gdLst>
                <a:gd name="connsiteX0" fmla="*/ 2755610 w 5019767"/>
                <a:gd name="connsiteY0" fmla="*/ 0 h 5511220"/>
                <a:gd name="connsiteX1" fmla="*/ 4881972 w 5019767"/>
                <a:gd name="connsiteY1" fmla="*/ 1002786 h 5511220"/>
                <a:gd name="connsiteX2" fmla="*/ 5019767 w 5019767"/>
                <a:gd name="connsiteY2" fmla="*/ 1187056 h 5511220"/>
                <a:gd name="connsiteX3" fmla="*/ 5019767 w 5019767"/>
                <a:gd name="connsiteY3" fmla="*/ 4324164 h 5511220"/>
                <a:gd name="connsiteX4" fmla="*/ 4881972 w 5019767"/>
                <a:gd name="connsiteY4" fmla="*/ 4508434 h 5511220"/>
                <a:gd name="connsiteX5" fmla="*/ 2755610 w 5019767"/>
                <a:gd name="connsiteY5" fmla="*/ 5511220 h 5511220"/>
                <a:gd name="connsiteX6" fmla="*/ 0 w 5019767"/>
                <a:gd name="connsiteY6" fmla="*/ 2755610 h 5511220"/>
                <a:gd name="connsiteX7" fmla="*/ 2755610 w 5019767"/>
                <a:gd name="connsiteY7" fmla="*/ 0 h 5511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19767" h="5511220">
                  <a:moveTo>
                    <a:pt x="2755610" y="0"/>
                  </a:moveTo>
                  <a:cubicBezTo>
                    <a:pt x="3611668" y="0"/>
                    <a:pt x="4376553" y="390360"/>
                    <a:pt x="4881972" y="1002786"/>
                  </a:cubicBezTo>
                  <a:lnTo>
                    <a:pt x="5019767" y="1187056"/>
                  </a:lnTo>
                  <a:lnTo>
                    <a:pt x="5019767" y="4324164"/>
                  </a:lnTo>
                  <a:lnTo>
                    <a:pt x="4881972" y="4508434"/>
                  </a:lnTo>
                  <a:cubicBezTo>
                    <a:pt x="4376553" y="5120861"/>
                    <a:pt x="3611668" y="5511220"/>
                    <a:pt x="2755610" y="5511220"/>
                  </a:cubicBezTo>
                  <a:cubicBezTo>
                    <a:pt x="1233729" y="5511220"/>
                    <a:pt x="0" y="4277491"/>
                    <a:pt x="0" y="2755610"/>
                  </a:cubicBezTo>
                  <a:cubicBezTo>
                    <a:pt x="0" y="1233729"/>
                    <a:pt x="1233729" y="0"/>
                    <a:pt x="275561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799"/>
            </a:p>
          </p:txBody>
        </p:sp>
      </p:grpSp>
      <p:sp>
        <p:nvSpPr>
          <p:cNvPr id="9" name="Copyright Line">
            <a:extLst>
              <a:ext uri="{FF2B5EF4-FFF2-40B4-BE49-F238E27FC236}">
                <a16:creationId xmlns:a16="http://schemas.microsoft.com/office/drawing/2014/main" id="{D2389545-B6D7-497B-37D4-C8C4C52F8A1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88559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1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5" name="Confidential disclaimer">
            <a:extLst>
              <a:ext uri="{FF2B5EF4-FFF2-40B4-BE49-F238E27FC236}">
                <a16:creationId xmlns:a16="http://schemas.microsoft.com/office/drawing/2014/main" id="{0B3A39F8-8D7C-C8DD-497D-7F28EC8D8B6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798637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26" name="Footer Placeholder">
            <a:extLst>
              <a:ext uri="{FF2B5EF4-FFF2-40B4-BE49-F238E27FC236}">
                <a16:creationId xmlns:a16="http://schemas.microsoft.com/office/drawing/2014/main" id="{82B2F640-F33B-8BC7-0A7C-2CC5589C173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5"/>
          </p:nvPr>
        </p:nvSpPr>
        <p:spPr>
          <a:xfrm>
            <a:off x="3251196" y="6485400"/>
            <a:ext cx="3716341" cy="282957"/>
          </a:xfrm>
        </p:spPr>
        <p:txBody>
          <a:bodyPr/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25" name="Picture Placeholder">
            <a:extLst>
              <a:ext uri="{FF2B5EF4-FFF2-40B4-BE49-F238E27FC236}">
                <a16:creationId xmlns:a16="http://schemas.microsoft.com/office/drawing/2014/main" id="{278BDEAF-4B5A-EDEC-5FBB-5BDC0B1311E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2" hasCustomPrompt="1"/>
          </p:nvPr>
        </p:nvSpPr>
        <p:spPr>
          <a:xfrm>
            <a:off x="7465673" y="321957"/>
            <a:ext cx="4726329" cy="4924346"/>
          </a:xfrm>
          <a:custGeom>
            <a:avLst/>
            <a:gdLst>
              <a:gd name="connsiteX0" fmla="*/ 2462173 w 4726329"/>
              <a:gd name="connsiteY0" fmla="*/ 0 h 4924346"/>
              <a:gd name="connsiteX1" fmla="*/ 4627175 w 4726329"/>
              <a:gd name="connsiteY1" fmla="*/ 1288555 h 4924346"/>
              <a:gd name="connsiteX2" fmla="*/ 4726329 w 4726329"/>
              <a:gd name="connsiteY2" fmla="*/ 1494386 h 4924346"/>
              <a:gd name="connsiteX3" fmla="*/ 4726329 w 4726329"/>
              <a:gd name="connsiteY3" fmla="*/ 3429960 h 4924346"/>
              <a:gd name="connsiteX4" fmla="*/ 4627175 w 4726329"/>
              <a:gd name="connsiteY4" fmla="*/ 3635791 h 4924346"/>
              <a:gd name="connsiteX5" fmla="*/ 2462173 w 4726329"/>
              <a:gd name="connsiteY5" fmla="*/ 4924346 h 4924346"/>
              <a:gd name="connsiteX6" fmla="*/ 0 w 4726329"/>
              <a:gd name="connsiteY6" fmla="*/ 2462173 h 4924346"/>
              <a:gd name="connsiteX7" fmla="*/ 2462173 w 4726329"/>
              <a:gd name="connsiteY7" fmla="*/ 0 h 4924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26329" h="4924346">
                <a:moveTo>
                  <a:pt x="2462173" y="0"/>
                </a:moveTo>
                <a:cubicBezTo>
                  <a:pt x="3397050" y="0"/>
                  <a:pt x="4210233" y="521034"/>
                  <a:pt x="4627175" y="1288555"/>
                </a:cubicBezTo>
                <a:lnTo>
                  <a:pt x="4726329" y="1494386"/>
                </a:lnTo>
                <a:lnTo>
                  <a:pt x="4726329" y="3429960"/>
                </a:lnTo>
                <a:lnTo>
                  <a:pt x="4627175" y="3635791"/>
                </a:lnTo>
                <a:cubicBezTo>
                  <a:pt x="4210233" y="4403313"/>
                  <a:pt x="3397050" y="4924346"/>
                  <a:pt x="2462173" y="4924346"/>
                </a:cubicBezTo>
                <a:cubicBezTo>
                  <a:pt x="1102352" y="4924346"/>
                  <a:pt x="0" y="3821994"/>
                  <a:pt x="0" y="2462173"/>
                </a:cubicBezTo>
                <a:cubicBezTo>
                  <a:pt x="0" y="1102352"/>
                  <a:pt x="1102352" y="0"/>
                  <a:pt x="2462173" y="0"/>
                </a:cubicBezTo>
                <a:close/>
              </a:path>
            </a:pathLst>
          </a:custGeom>
          <a:solidFill>
            <a:srgbClr val="777777"/>
          </a:solidFill>
        </p:spPr>
        <p:txBody>
          <a:bodyPr wrap="square" anchor="ctr" anchorCtr="1">
            <a:noAutofit/>
          </a:bodyPr>
          <a:lstStyle>
            <a:lvl1pPr marL="0" indent="0" algn="ctr"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picture icon to add photo</a:t>
            </a:r>
          </a:p>
        </p:txBody>
      </p:sp>
      <p:sp>
        <p:nvSpPr>
          <p:cNvPr id="11" name="Date Placeholder">
            <a:extLst>
              <a:ext uri="{FF2B5EF4-FFF2-40B4-BE49-F238E27FC236}">
                <a16:creationId xmlns:a16="http://schemas.microsoft.com/office/drawing/2014/main" id="{56FDEAC7-8736-5846-42B8-66DC00FA3B9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>
          <a:xfrm>
            <a:off x="292100" y="5036707"/>
            <a:ext cx="1744664" cy="282957"/>
          </a:xfrm>
        </p:spPr>
        <p:txBody>
          <a:bodyPr/>
          <a:lstStyle>
            <a:lvl1pPr>
              <a:defRPr sz="1200">
                <a:solidFill>
                  <a:srgbClr val="555555"/>
                </a:solidFill>
              </a:defRPr>
            </a:lvl1pPr>
          </a:lstStyle>
          <a:p>
            <a:fld id="{1C2394C5-9FC7-4913-9E8E-D41BCF75875A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Title/Dept Placeholder">
            <a:extLst>
              <a:ext uri="{FF2B5EF4-FFF2-40B4-BE49-F238E27FC236}">
                <a16:creationId xmlns:a16="http://schemas.microsoft.com/office/drawing/2014/main" id="{F49547DD-E825-E7A3-C48A-64AA78C199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 hasCustomPrompt="1"/>
          </p:nvPr>
        </p:nvSpPr>
        <p:spPr>
          <a:xfrm>
            <a:off x="292100" y="4560603"/>
            <a:ext cx="6689728" cy="344384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rgbClr val="555555"/>
                </a:solidFill>
              </a:defRPr>
            </a:lvl1pPr>
            <a:lvl2pPr marL="457051" indent="0">
              <a:buNone/>
              <a:defRPr sz="1200" b="1">
                <a:solidFill>
                  <a:schemeClr val="bg1"/>
                </a:solidFill>
              </a:defRPr>
            </a:lvl2pPr>
            <a:lvl3pPr marL="914103" indent="0">
              <a:buNone/>
              <a:defRPr sz="1200" b="1">
                <a:solidFill>
                  <a:schemeClr val="bg1"/>
                </a:solidFill>
              </a:defRPr>
            </a:lvl3pPr>
            <a:lvl4pPr marL="1371154" indent="0">
              <a:buNone/>
              <a:defRPr sz="1200" b="1">
                <a:solidFill>
                  <a:schemeClr val="bg1"/>
                </a:solidFill>
              </a:defRPr>
            </a:lvl4pPr>
            <a:lvl5pPr marL="1828206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Department</a:t>
            </a:r>
          </a:p>
        </p:txBody>
      </p:sp>
      <p:sp>
        <p:nvSpPr>
          <p:cNvPr id="2" name="Presenter Name Placeholder">
            <a:extLst>
              <a:ext uri="{FF2B5EF4-FFF2-40B4-BE49-F238E27FC236}">
                <a16:creationId xmlns:a16="http://schemas.microsoft.com/office/drawing/2014/main" id="{5A598B2A-BB91-C356-7BCC-18D04DA85A8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292100" y="4192468"/>
            <a:ext cx="6689728" cy="344384"/>
          </a:xfrm>
        </p:spPr>
        <p:txBody>
          <a:bodyPr t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rgbClr val="555555"/>
                </a:solidFill>
              </a:defRPr>
            </a:lvl1pPr>
            <a:lvl2pPr marL="457051" indent="0">
              <a:buNone/>
              <a:defRPr sz="1200" b="1">
                <a:solidFill>
                  <a:schemeClr val="bg1"/>
                </a:solidFill>
              </a:defRPr>
            </a:lvl2pPr>
            <a:lvl3pPr marL="914103" indent="0">
              <a:buNone/>
              <a:defRPr sz="1200" b="1">
                <a:solidFill>
                  <a:schemeClr val="bg1"/>
                </a:solidFill>
              </a:defRPr>
            </a:lvl3pPr>
            <a:lvl4pPr marL="1371154" indent="0">
              <a:buNone/>
              <a:defRPr sz="1200" b="1">
                <a:solidFill>
                  <a:schemeClr val="bg1"/>
                </a:solidFill>
              </a:defRPr>
            </a:lvl4pPr>
            <a:lvl5pPr marL="1828206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8" name="Subtitle Placeholder">
            <a:extLst>
              <a:ext uri="{FF2B5EF4-FFF2-40B4-BE49-F238E27FC236}">
                <a16:creationId xmlns:a16="http://schemas.microsoft.com/office/drawing/2014/main" id="{23B6A8FC-C3C4-F7DA-BF00-D56866D5808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292101" y="3114709"/>
            <a:ext cx="6689729" cy="837883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999">
                <a:solidFill>
                  <a:srgbClr val="555555"/>
                </a:solidFill>
              </a:defRPr>
            </a:lvl1pPr>
            <a:lvl2pPr marL="457051" indent="0" algn="ctr">
              <a:buNone/>
              <a:defRPr sz="1999"/>
            </a:lvl2pPr>
            <a:lvl3pPr marL="914103" indent="0" algn="ctr">
              <a:buNone/>
              <a:defRPr sz="1799"/>
            </a:lvl3pPr>
            <a:lvl4pPr marL="1371154" indent="0" algn="ctr">
              <a:buNone/>
              <a:defRPr sz="1599"/>
            </a:lvl4pPr>
            <a:lvl5pPr marL="1828206" indent="0" algn="ctr">
              <a:buNone/>
              <a:defRPr sz="1599"/>
            </a:lvl5pPr>
            <a:lvl6pPr marL="2285257" indent="0" algn="ctr">
              <a:buNone/>
              <a:defRPr sz="1599"/>
            </a:lvl6pPr>
            <a:lvl7pPr marL="2742308" indent="0" algn="ctr">
              <a:buNone/>
              <a:defRPr sz="1599"/>
            </a:lvl7pPr>
            <a:lvl8pPr marL="3199360" indent="0" algn="ctr">
              <a:buNone/>
              <a:defRPr sz="1599"/>
            </a:lvl8pPr>
            <a:lvl9pPr marL="3656411" indent="0" algn="ctr">
              <a:buNone/>
              <a:defRPr sz="159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Title Placeholder">
            <a:extLst>
              <a:ext uri="{FF2B5EF4-FFF2-40B4-BE49-F238E27FC236}">
                <a16:creationId xmlns:a16="http://schemas.microsoft.com/office/drawing/2014/main" id="{615225DC-38B1-15E3-05E6-88F5A6B976C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292101" y="654819"/>
            <a:ext cx="6689729" cy="23876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399">
                <a:solidFill>
                  <a:srgbClr val="555555"/>
                </a:solidFill>
              </a:defRPr>
            </a:lvl1pPr>
          </a:lstStyle>
          <a:p>
            <a:r>
              <a:rPr lang="en-US"/>
              <a:t>Insert your presentation title here maximum of three lines</a:t>
            </a:r>
          </a:p>
        </p:txBody>
      </p:sp>
      <p:pic>
        <p:nvPicPr>
          <p:cNvPr id="7" name="NielsenIQ GFK lockup">
            <a:extLst>
              <a:ext uri="{FF2B5EF4-FFF2-40B4-BE49-F238E27FC236}">
                <a16:creationId xmlns:a16="http://schemas.microsoft.com/office/drawing/2014/main" id="{0FDFD67B-3477-8375-7F26-D08E6067C99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6123" y="5539741"/>
            <a:ext cx="3377876" cy="753595"/>
          </a:xfrm>
          <a:prstGeom prst="rect">
            <a:avLst/>
          </a:prstGeom>
        </p:spPr>
      </p:pic>
      <p:pic>
        <p:nvPicPr>
          <p:cNvPr id="14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C8F8171E-1658-79B9-9EAC-E88E789EA287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559" y="5563212"/>
            <a:ext cx="2155411" cy="743616"/>
          </a:xfrm>
          <a:prstGeom prst="rect">
            <a:avLst/>
          </a:prstGeom>
        </p:spPr>
      </p:pic>
      <p:sp>
        <p:nvSpPr>
          <p:cNvPr id="22" name="Nielsen wordmark" hidden="1">
            <a:extLst>
              <a:ext uri="{FF2B5EF4-FFF2-40B4-BE49-F238E27FC236}">
                <a16:creationId xmlns:a16="http://schemas.microsoft.com/office/drawing/2014/main" id="{D75B41C8-8FEA-463D-AB87-6F4962F7D5E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295275" y="5686381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accent1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sz="1799"/>
          </a:p>
        </p:txBody>
      </p:sp>
    </p:spTree>
    <p:extLst>
      <p:ext uri="{BB962C8B-B14F-4D97-AF65-F5344CB8AC3E}">
        <p14:creationId xmlns:p14="http://schemas.microsoft.com/office/powerpoint/2010/main" val="426930283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hoto Circ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tatic Light Bkgd">
            <a:extLst>
              <a:ext uri="{FF2B5EF4-FFF2-40B4-BE49-F238E27FC236}">
                <a16:creationId xmlns:a16="http://schemas.microsoft.com/office/drawing/2014/main" id="{EE705342-7994-AFF3-15FD-F6FDEC9AE6B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9"/>
          </a:p>
        </p:txBody>
      </p:sp>
      <p:grpSp>
        <p:nvGrpSpPr>
          <p:cNvPr id="4" name="Photo Accent Circles">
            <a:extLst>
              <a:ext uri="{FF2B5EF4-FFF2-40B4-BE49-F238E27FC236}">
                <a16:creationId xmlns:a16="http://schemas.microsoft.com/office/drawing/2014/main" id="{142AC587-6F39-6154-A37A-868A63F4F005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5942371" y="1"/>
            <a:ext cx="6249631" cy="6778171"/>
            <a:chOff x="5942370" y="1"/>
            <a:chExt cx="6249631" cy="6778171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41DBC157-DD06-141E-B188-1EB8D24163C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5942370" y="1"/>
              <a:ext cx="6249631" cy="6778171"/>
            </a:xfrm>
            <a:custGeom>
              <a:avLst/>
              <a:gdLst>
                <a:gd name="connsiteX0" fmla="*/ 1133398 w 6249631"/>
                <a:gd name="connsiteY0" fmla="*/ 0 h 6778171"/>
                <a:gd name="connsiteX1" fmla="*/ 6249631 w 6249631"/>
                <a:gd name="connsiteY1" fmla="*/ 0 h 6778171"/>
                <a:gd name="connsiteX2" fmla="*/ 6249631 w 6249631"/>
                <a:gd name="connsiteY2" fmla="*/ 6079239 h 6778171"/>
                <a:gd name="connsiteX3" fmla="*/ 6227147 w 6249631"/>
                <a:gd name="connsiteY3" fmla="*/ 6096052 h 6778171"/>
                <a:gd name="connsiteX4" fmla="*/ 3994041 w 6249631"/>
                <a:gd name="connsiteY4" fmla="*/ 6778171 h 6778171"/>
                <a:gd name="connsiteX5" fmla="*/ 0 w 6249631"/>
                <a:gd name="connsiteY5" fmla="*/ 2784130 h 6778171"/>
                <a:gd name="connsiteX6" fmla="*/ 912045 w 6249631"/>
                <a:gd name="connsiteY6" fmla="*/ 243549 h 67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9631" h="6778171">
                  <a:moveTo>
                    <a:pt x="1133398" y="0"/>
                  </a:moveTo>
                  <a:lnTo>
                    <a:pt x="6249631" y="0"/>
                  </a:lnTo>
                  <a:lnTo>
                    <a:pt x="6249631" y="6079239"/>
                  </a:lnTo>
                  <a:lnTo>
                    <a:pt x="6227147" y="6096052"/>
                  </a:lnTo>
                  <a:cubicBezTo>
                    <a:pt x="5589694" y="6526707"/>
                    <a:pt x="4821234" y="6778171"/>
                    <a:pt x="3994041" y="6778171"/>
                  </a:cubicBezTo>
                  <a:cubicBezTo>
                    <a:pt x="1788193" y="6778171"/>
                    <a:pt x="0" y="4989978"/>
                    <a:pt x="0" y="2784130"/>
                  </a:cubicBezTo>
                  <a:cubicBezTo>
                    <a:pt x="0" y="1819072"/>
                    <a:pt x="342272" y="933955"/>
                    <a:pt x="912045" y="243549"/>
                  </a:cubicBezTo>
                  <a:close/>
                </a:path>
              </a:pathLst>
            </a:custGeom>
            <a:solidFill>
              <a:srgbClr val="0A52E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 sz="1799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D9CB59-0278-69D3-1B88-9D97D9D9BF6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6596886" y="1"/>
              <a:ext cx="5595114" cy="6115087"/>
            </a:xfrm>
            <a:custGeom>
              <a:avLst/>
              <a:gdLst>
                <a:gd name="connsiteX0" fmla="*/ 1504880 w 5595114"/>
                <a:gd name="connsiteY0" fmla="*/ 0 h 6115087"/>
                <a:gd name="connsiteX1" fmla="*/ 5157035 w 5595114"/>
                <a:gd name="connsiteY1" fmla="*/ 0 h 6115087"/>
                <a:gd name="connsiteX2" fmla="*/ 5193327 w 5595114"/>
                <a:gd name="connsiteY2" fmla="*/ 22048 h 6115087"/>
                <a:gd name="connsiteX3" fmla="*/ 5449755 w 5595114"/>
                <a:gd name="connsiteY3" fmla="*/ 213802 h 6115087"/>
                <a:gd name="connsiteX4" fmla="*/ 5595114 w 5595114"/>
                <a:gd name="connsiteY4" fmla="*/ 345913 h 6115087"/>
                <a:gd name="connsiteX5" fmla="*/ 5595114 w 5595114"/>
                <a:gd name="connsiteY5" fmla="*/ 5222347 h 6115087"/>
                <a:gd name="connsiteX6" fmla="*/ 5449755 w 5595114"/>
                <a:gd name="connsiteY6" fmla="*/ 5354459 h 6115087"/>
                <a:gd name="connsiteX7" fmla="*/ 3330957 w 5595114"/>
                <a:gd name="connsiteY7" fmla="*/ 6115087 h 6115087"/>
                <a:gd name="connsiteX8" fmla="*/ 0 w 5595114"/>
                <a:gd name="connsiteY8" fmla="*/ 2784130 h 6115087"/>
                <a:gd name="connsiteX9" fmla="*/ 1468588 w 5595114"/>
                <a:gd name="connsiteY9" fmla="*/ 22048 h 6115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95114" h="6115087">
                  <a:moveTo>
                    <a:pt x="1504880" y="0"/>
                  </a:moveTo>
                  <a:lnTo>
                    <a:pt x="5157035" y="0"/>
                  </a:lnTo>
                  <a:lnTo>
                    <a:pt x="5193327" y="22048"/>
                  </a:lnTo>
                  <a:cubicBezTo>
                    <a:pt x="5281931" y="81908"/>
                    <a:pt x="5367500" y="145919"/>
                    <a:pt x="5449755" y="213802"/>
                  </a:cubicBezTo>
                  <a:lnTo>
                    <a:pt x="5595114" y="345913"/>
                  </a:lnTo>
                  <a:lnTo>
                    <a:pt x="5595114" y="5222347"/>
                  </a:lnTo>
                  <a:lnTo>
                    <a:pt x="5449755" y="5354459"/>
                  </a:lnTo>
                  <a:cubicBezTo>
                    <a:pt x="4873969" y="5829639"/>
                    <a:pt x="4135798" y="6115087"/>
                    <a:pt x="3330957" y="6115087"/>
                  </a:cubicBezTo>
                  <a:cubicBezTo>
                    <a:pt x="1491320" y="6115087"/>
                    <a:pt x="0" y="4623767"/>
                    <a:pt x="0" y="2784130"/>
                  </a:cubicBezTo>
                  <a:cubicBezTo>
                    <a:pt x="0" y="1634357"/>
                    <a:pt x="582547" y="620645"/>
                    <a:pt x="1468588" y="22048"/>
                  </a:cubicBezTo>
                  <a:close/>
                </a:path>
              </a:pathLst>
            </a:custGeom>
            <a:solidFill>
              <a:srgbClr val="0946C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799">
                <a:solidFill>
                  <a:srgbClr val="DADADA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EF44984-8F7A-8C11-AE43-676924BE717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7172234" y="28520"/>
              <a:ext cx="5019767" cy="5511220"/>
            </a:xfrm>
            <a:custGeom>
              <a:avLst/>
              <a:gdLst>
                <a:gd name="connsiteX0" fmla="*/ 2755610 w 5019767"/>
                <a:gd name="connsiteY0" fmla="*/ 0 h 5511220"/>
                <a:gd name="connsiteX1" fmla="*/ 4881972 w 5019767"/>
                <a:gd name="connsiteY1" fmla="*/ 1002786 h 5511220"/>
                <a:gd name="connsiteX2" fmla="*/ 5019767 w 5019767"/>
                <a:gd name="connsiteY2" fmla="*/ 1187056 h 5511220"/>
                <a:gd name="connsiteX3" fmla="*/ 5019767 w 5019767"/>
                <a:gd name="connsiteY3" fmla="*/ 4324164 h 5511220"/>
                <a:gd name="connsiteX4" fmla="*/ 4881972 w 5019767"/>
                <a:gd name="connsiteY4" fmla="*/ 4508434 h 5511220"/>
                <a:gd name="connsiteX5" fmla="*/ 2755610 w 5019767"/>
                <a:gd name="connsiteY5" fmla="*/ 5511220 h 5511220"/>
                <a:gd name="connsiteX6" fmla="*/ 0 w 5019767"/>
                <a:gd name="connsiteY6" fmla="*/ 2755610 h 5511220"/>
                <a:gd name="connsiteX7" fmla="*/ 2755610 w 5019767"/>
                <a:gd name="connsiteY7" fmla="*/ 0 h 5511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19767" h="5511220">
                  <a:moveTo>
                    <a:pt x="2755610" y="0"/>
                  </a:moveTo>
                  <a:cubicBezTo>
                    <a:pt x="3611668" y="0"/>
                    <a:pt x="4376553" y="390360"/>
                    <a:pt x="4881972" y="1002786"/>
                  </a:cubicBezTo>
                  <a:lnTo>
                    <a:pt x="5019767" y="1187056"/>
                  </a:lnTo>
                  <a:lnTo>
                    <a:pt x="5019767" y="4324164"/>
                  </a:lnTo>
                  <a:lnTo>
                    <a:pt x="4881972" y="4508434"/>
                  </a:lnTo>
                  <a:cubicBezTo>
                    <a:pt x="4376553" y="5120861"/>
                    <a:pt x="3611668" y="5511220"/>
                    <a:pt x="2755610" y="5511220"/>
                  </a:cubicBezTo>
                  <a:cubicBezTo>
                    <a:pt x="1233729" y="5511220"/>
                    <a:pt x="0" y="4277491"/>
                    <a:pt x="0" y="2755610"/>
                  </a:cubicBezTo>
                  <a:cubicBezTo>
                    <a:pt x="0" y="1233729"/>
                    <a:pt x="1233729" y="0"/>
                    <a:pt x="2755610" y="0"/>
                  </a:cubicBezTo>
                  <a:close/>
                </a:path>
              </a:pathLst>
            </a:custGeom>
            <a:solidFill>
              <a:srgbClr val="073BA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799"/>
            </a:p>
          </p:txBody>
        </p:sp>
      </p:grpSp>
      <p:sp>
        <p:nvSpPr>
          <p:cNvPr id="9" name="Copyright Line">
            <a:extLst>
              <a:ext uri="{FF2B5EF4-FFF2-40B4-BE49-F238E27FC236}">
                <a16:creationId xmlns:a16="http://schemas.microsoft.com/office/drawing/2014/main" id="{D2389545-B6D7-497B-37D4-C8C4C52F8A1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88559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1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10" name="Confidential disclaimer">
            <a:extLst>
              <a:ext uri="{FF2B5EF4-FFF2-40B4-BE49-F238E27FC236}">
                <a16:creationId xmlns:a16="http://schemas.microsoft.com/office/drawing/2014/main" id="{8C70182C-829B-A5E4-6775-1B5FA533227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798637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30FBF3F0-9A58-D48C-BF4F-1611549E289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5" name="Picture Placeholder">
            <a:extLst>
              <a:ext uri="{FF2B5EF4-FFF2-40B4-BE49-F238E27FC236}">
                <a16:creationId xmlns:a16="http://schemas.microsoft.com/office/drawing/2014/main" id="{278BDEAF-4B5A-EDEC-5FBB-5BDC0B1311E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2" hasCustomPrompt="1"/>
          </p:nvPr>
        </p:nvSpPr>
        <p:spPr>
          <a:xfrm>
            <a:off x="7465673" y="321957"/>
            <a:ext cx="4726329" cy="4924346"/>
          </a:xfrm>
          <a:custGeom>
            <a:avLst/>
            <a:gdLst>
              <a:gd name="connsiteX0" fmla="*/ 2462173 w 4726329"/>
              <a:gd name="connsiteY0" fmla="*/ 0 h 4924346"/>
              <a:gd name="connsiteX1" fmla="*/ 4627175 w 4726329"/>
              <a:gd name="connsiteY1" fmla="*/ 1288555 h 4924346"/>
              <a:gd name="connsiteX2" fmla="*/ 4726329 w 4726329"/>
              <a:gd name="connsiteY2" fmla="*/ 1494386 h 4924346"/>
              <a:gd name="connsiteX3" fmla="*/ 4726329 w 4726329"/>
              <a:gd name="connsiteY3" fmla="*/ 3429960 h 4924346"/>
              <a:gd name="connsiteX4" fmla="*/ 4627175 w 4726329"/>
              <a:gd name="connsiteY4" fmla="*/ 3635791 h 4924346"/>
              <a:gd name="connsiteX5" fmla="*/ 2462173 w 4726329"/>
              <a:gd name="connsiteY5" fmla="*/ 4924346 h 4924346"/>
              <a:gd name="connsiteX6" fmla="*/ 0 w 4726329"/>
              <a:gd name="connsiteY6" fmla="*/ 2462173 h 4924346"/>
              <a:gd name="connsiteX7" fmla="*/ 2462173 w 4726329"/>
              <a:gd name="connsiteY7" fmla="*/ 0 h 4924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26329" h="4924346">
                <a:moveTo>
                  <a:pt x="2462173" y="0"/>
                </a:moveTo>
                <a:cubicBezTo>
                  <a:pt x="3397050" y="0"/>
                  <a:pt x="4210233" y="521034"/>
                  <a:pt x="4627175" y="1288555"/>
                </a:cubicBezTo>
                <a:lnTo>
                  <a:pt x="4726329" y="1494386"/>
                </a:lnTo>
                <a:lnTo>
                  <a:pt x="4726329" y="3429960"/>
                </a:lnTo>
                <a:lnTo>
                  <a:pt x="4627175" y="3635791"/>
                </a:lnTo>
                <a:cubicBezTo>
                  <a:pt x="4210233" y="4403313"/>
                  <a:pt x="3397050" y="4924346"/>
                  <a:pt x="2462173" y="4924346"/>
                </a:cubicBezTo>
                <a:cubicBezTo>
                  <a:pt x="1102352" y="4924346"/>
                  <a:pt x="0" y="3821994"/>
                  <a:pt x="0" y="2462173"/>
                </a:cubicBezTo>
                <a:cubicBezTo>
                  <a:pt x="0" y="1102352"/>
                  <a:pt x="1102352" y="0"/>
                  <a:pt x="2462173" y="0"/>
                </a:cubicBezTo>
                <a:close/>
              </a:path>
            </a:pathLst>
          </a:custGeom>
          <a:solidFill>
            <a:srgbClr val="777777"/>
          </a:solidFill>
        </p:spPr>
        <p:txBody>
          <a:bodyPr wrap="square" anchor="ctr" anchorCtr="1">
            <a:noAutofit/>
          </a:bodyPr>
          <a:lstStyle>
            <a:lvl1pPr marL="0" indent="0" algn="ctr"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picture icon to add photo</a:t>
            </a:r>
          </a:p>
        </p:txBody>
      </p:sp>
      <p:sp>
        <p:nvSpPr>
          <p:cNvPr id="11" name="Date Placeholder">
            <a:extLst>
              <a:ext uri="{FF2B5EF4-FFF2-40B4-BE49-F238E27FC236}">
                <a16:creationId xmlns:a16="http://schemas.microsoft.com/office/drawing/2014/main" id="{56FDEAC7-8736-5846-42B8-66DC00FA3B9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>
          <a:xfrm>
            <a:off x="292100" y="5036707"/>
            <a:ext cx="1744664" cy="282957"/>
          </a:xfrm>
        </p:spPr>
        <p:txBody>
          <a:bodyPr/>
          <a:lstStyle>
            <a:lvl1pPr>
              <a:defRPr sz="1200">
                <a:solidFill>
                  <a:srgbClr val="FFFFFF"/>
                </a:solidFill>
              </a:defRPr>
            </a:lvl1pPr>
          </a:lstStyle>
          <a:p>
            <a:fld id="{C75F7465-666F-4675-891F-E92434DCB819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Title/Dept Placeholder">
            <a:extLst>
              <a:ext uri="{FF2B5EF4-FFF2-40B4-BE49-F238E27FC236}">
                <a16:creationId xmlns:a16="http://schemas.microsoft.com/office/drawing/2014/main" id="{F49547DD-E825-E7A3-C48A-64AA78C199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 hasCustomPrompt="1"/>
          </p:nvPr>
        </p:nvSpPr>
        <p:spPr>
          <a:xfrm>
            <a:off x="292100" y="4560603"/>
            <a:ext cx="6689728" cy="344384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rgbClr val="FFFFFF"/>
                </a:solidFill>
              </a:defRPr>
            </a:lvl1pPr>
            <a:lvl2pPr marL="457051" indent="0">
              <a:buNone/>
              <a:defRPr sz="1200" b="1">
                <a:solidFill>
                  <a:schemeClr val="bg1"/>
                </a:solidFill>
              </a:defRPr>
            </a:lvl2pPr>
            <a:lvl3pPr marL="914103" indent="0">
              <a:buNone/>
              <a:defRPr sz="1200" b="1">
                <a:solidFill>
                  <a:schemeClr val="bg1"/>
                </a:solidFill>
              </a:defRPr>
            </a:lvl3pPr>
            <a:lvl4pPr marL="1371154" indent="0">
              <a:buNone/>
              <a:defRPr sz="1200" b="1">
                <a:solidFill>
                  <a:schemeClr val="bg1"/>
                </a:solidFill>
              </a:defRPr>
            </a:lvl4pPr>
            <a:lvl5pPr marL="1828206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Department</a:t>
            </a:r>
          </a:p>
        </p:txBody>
      </p:sp>
      <p:sp>
        <p:nvSpPr>
          <p:cNvPr id="2" name="Presenter Name Placeholder">
            <a:extLst>
              <a:ext uri="{FF2B5EF4-FFF2-40B4-BE49-F238E27FC236}">
                <a16:creationId xmlns:a16="http://schemas.microsoft.com/office/drawing/2014/main" id="{5A598B2A-BB91-C356-7BCC-18D04DA85A8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292100" y="4192468"/>
            <a:ext cx="6689728" cy="344384"/>
          </a:xfrm>
        </p:spPr>
        <p:txBody>
          <a:bodyPr t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rgbClr val="FFFFFF"/>
                </a:solidFill>
              </a:defRPr>
            </a:lvl1pPr>
            <a:lvl2pPr marL="457051" indent="0">
              <a:buNone/>
              <a:defRPr sz="1200" b="1">
                <a:solidFill>
                  <a:schemeClr val="bg1"/>
                </a:solidFill>
              </a:defRPr>
            </a:lvl2pPr>
            <a:lvl3pPr marL="914103" indent="0">
              <a:buNone/>
              <a:defRPr sz="1200" b="1">
                <a:solidFill>
                  <a:schemeClr val="bg1"/>
                </a:solidFill>
              </a:defRPr>
            </a:lvl3pPr>
            <a:lvl4pPr marL="1371154" indent="0">
              <a:buNone/>
              <a:defRPr sz="1200" b="1">
                <a:solidFill>
                  <a:schemeClr val="bg1"/>
                </a:solidFill>
              </a:defRPr>
            </a:lvl4pPr>
            <a:lvl5pPr marL="1828206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8" name="Subtitle Placeholder">
            <a:extLst>
              <a:ext uri="{FF2B5EF4-FFF2-40B4-BE49-F238E27FC236}">
                <a16:creationId xmlns:a16="http://schemas.microsoft.com/office/drawing/2014/main" id="{23B6A8FC-C3C4-F7DA-BF00-D56866D5808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292101" y="3114709"/>
            <a:ext cx="6689729" cy="837883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999">
                <a:solidFill>
                  <a:srgbClr val="FFFFFF"/>
                </a:solidFill>
              </a:defRPr>
            </a:lvl1pPr>
            <a:lvl2pPr marL="457051" indent="0" algn="ctr">
              <a:buNone/>
              <a:defRPr sz="1999"/>
            </a:lvl2pPr>
            <a:lvl3pPr marL="914103" indent="0" algn="ctr">
              <a:buNone/>
              <a:defRPr sz="1799"/>
            </a:lvl3pPr>
            <a:lvl4pPr marL="1371154" indent="0" algn="ctr">
              <a:buNone/>
              <a:defRPr sz="1599"/>
            </a:lvl4pPr>
            <a:lvl5pPr marL="1828206" indent="0" algn="ctr">
              <a:buNone/>
              <a:defRPr sz="1599"/>
            </a:lvl5pPr>
            <a:lvl6pPr marL="2285257" indent="0" algn="ctr">
              <a:buNone/>
              <a:defRPr sz="1599"/>
            </a:lvl6pPr>
            <a:lvl7pPr marL="2742308" indent="0" algn="ctr">
              <a:buNone/>
              <a:defRPr sz="1599"/>
            </a:lvl7pPr>
            <a:lvl8pPr marL="3199360" indent="0" algn="ctr">
              <a:buNone/>
              <a:defRPr sz="1599"/>
            </a:lvl8pPr>
            <a:lvl9pPr marL="3656411" indent="0" algn="ctr">
              <a:buNone/>
              <a:defRPr sz="159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Title Placeholder">
            <a:extLst>
              <a:ext uri="{FF2B5EF4-FFF2-40B4-BE49-F238E27FC236}">
                <a16:creationId xmlns:a16="http://schemas.microsoft.com/office/drawing/2014/main" id="{615225DC-38B1-15E3-05E6-88F5A6B976C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292101" y="1214225"/>
            <a:ext cx="6689729" cy="1828193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399">
                <a:solidFill>
                  <a:srgbClr val="FFFFFF"/>
                </a:solidFill>
              </a:defRPr>
            </a:lvl1pPr>
          </a:lstStyle>
          <a:p>
            <a:r>
              <a:rPr lang="en-US"/>
              <a:t>Insert your presentation title here maximum of three lines</a:t>
            </a:r>
          </a:p>
        </p:txBody>
      </p:sp>
      <p:pic>
        <p:nvPicPr>
          <p:cNvPr id="7" name="NielsenIQ GFK lockup">
            <a:extLst>
              <a:ext uri="{FF2B5EF4-FFF2-40B4-BE49-F238E27FC236}">
                <a16:creationId xmlns:a16="http://schemas.microsoft.com/office/drawing/2014/main" id="{38C64FBC-CEA2-AB8D-1C98-40BE4309F854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86123" y="5539741"/>
            <a:ext cx="3377876" cy="753595"/>
          </a:xfrm>
          <a:prstGeom prst="rect">
            <a:avLst/>
          </a:prstGeom>
        </p:spPr>
      </p:pic>
      <p:pic>
        <p:nvPicPr>
          <p:cNvPr id="14" name="NielsenIQ logo+wordmark" hidden="1">
            <a:extLst>
              <a:ext uri="{FF2B5EF4-FFF2-40B4-BE49-F238E27FC236}">
                <a16:creationId xmlns:a16="http://schemas.microsoft.com/office/drawing/2014/main" id="{4592FCA5-867A-BB8D-E995-7A4C9EC3E96A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8559" y="5563212"/>
            <a:ext cx="2155408" cy="743616"/>
          </a:xfrm>
          <a:prstGeom prst="rect">
            <a:avLst/>
          </a:prstGeom>
        </p:spPr>
      </p:pic>
      <p:sp>
        <p:nvSpPr>
          <p:cNvPr id="24" name="Nielsen wordmark" hidden="1">
            <a:extLst>
              <a:ext uri="{FF2B5EF4-FFF2-40B4-BE49-F238E27FC236}">
                <a16:creationId xmlns:a16="http://schemas.microsoft.com/office/drawing/2014/main" id="{8E329D7C-9D9C-5C6C-56E6-95CB0519B11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95275" y="5686381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tx2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sz="1799"/>
          </a:p>
        </p:txBody>
      </p:sp>
    </p:spTree>
    <p:extLst>
      <p:ext uri="{BB962C8B-B14F-4D97-AF65-F5344CB8AC3E}">
        <p14:creationId xmlns:p14="http://schemas.microsoft.com/office/powerpoint/2010/main" val="385289576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hoto Circl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tatic Light Bkgd">
            <a:extLst>
              <a:ext uri="{FF2B5EF4-FFF2-40B4-BE49-F238E27FC236}">
                <a16:creationId xmlns:a16="http://schemas.microsoft.com/office/drawing/2014/main" id="{EE705342-7994-AFF3-15FD-F6FDEC9AE6B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60A4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9"/>
          </a:p>
        </p:txBody>
      </p:sp>
      <p:grpSp>
        <p:nvGrpSpPr>
          <p:cNvPr id="4" name="Photo Accent Circles">
            <a:extLst>
              <a:ext uri="{FF2B5EF4-FFF2-40B4-BE49-F238E27FC236}">
                <a16:creationId xmlns:a16="http://schemas.microsoft.com/office/drawing/2014/main" id="{142AC587-6F39-6154-A37A-868A63F4F005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5942371" y="1"/>
            <a:ext cx="6249631" cy="6778171"/>
            <a:chOff x="5942370" y="1"/>
            <a:chExt cx="6249631" cy="6778171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41DBC157-DD06-141E-B188-1EB8D24163C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5942370" y="1"/>
              <a:ext cx="6249631" cy="6778171"/>
            </a:xfrm>
            <a:custGeom>
              <a:avLst/>
              <a:gdLst>
                <a:gd name="connsiteX0" fmla="*/ 1133398 w 6249631"/>
                <a:gd name="connsiteY0" fmla="*/ 0 h 6778171"/>
                <a:gd name="connsiteX1" fmla="*/ 6249631 w 6249631"/>
                <a:gd name="connsiteY1" fmla="*/ 0 h 6778171"/>
                <a:gd name="connsiteX2" fmla="*/ 6249631 w 6249631"/>
                <a:gd name="connsiteY2" fmla="*/ 6079239 h 6778171"/>
                <a:gd name="connsiteX3" fmla="*/ 6227147 w 6249631"/>
                <a:gd name="connsiteY3" fmla="*/ 6096052 h 6778171"/>
                <a:gd name="connsiteX4" fmla="*/ 3994041 w 6249631"/>
                <a:gd name="connsiteY4" fmla="*/ 6778171 h 6778171"/>
                <a:gd name="connsiteX5" fmla="*/ 0 w 6249631"/>
                <a:gd name="connsiteY5" fmla="*/ 2784130 h 6778171"/>
                <a:gd name="connsiteX6" fmla="*/ 912045 w 6249631"/>
                <a:gd name="connsiteY6" fmla="*/ 243549 h 67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9631" h="6778171">
                  <a:moveTo>
                    <a:pt x="1133398" y="0"/>
                  </a:moveTo>
                  <a:lnTo>
                    <a:pt x="6249631" y="0"/>
                  </a:lnTo>
                  <a:lnTo>
                    <a:pt x="6249631" y="6079239"/>
                  </a:lnTo>
                  <a:lnTo>
                    <a:pt x="6227147" y="6096052"/>
                  </a:lnTo>
                  <a:cubicBezTo>
                    <a:pt x="5589694" y="6526707"/>
                    <a:pt x="4821234" y="6778171"/>
                    <a:pt x="3994041" y="6778171"/>
                  </a:cubicBezTo>
                  <a:cubicBezTo>
                    <a:pt x="1788193" y="6778171"/>
                    <a:pt x="0" y="4989978"/>
                    <a:pt x="0" y="2784130"/>
                  </a:cubicBezTo>
                  <a:cubicBezTo>
                    <a:pt x="0" y="1819072"/>
                    <a:pt x="342272" y="933955"/>
                    <a:pt x="912045" y="243549"/>
                  </a:cubicBezTo>
                  <a:close/>
                </a:path>
              </a:pathLst>
            </a:custGeom>
            <a:solidFill>
              <a:srgbClr val="06318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 sz="1799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D9CB59-0278-69D3-1B88-9D97D9D9BF6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6596886" y="1"/>
              <a:ext cx="5595114" cy="6115087"/>
            </a:xfrm>
            <a:custGeom>
              <a:avLst/>
              <a:gdLst>
                <a:gd name="connsiteX0" fmla="*/ 1504880 w 5595114"/>
                <a:gd name="connsiteY0" fmla="*/ 0 h 6115087"/>
                <a:gd name="connsiteX1" fmla="*/ 5157035 w 5595114"/>
                <a:gd name="connsiteY1" fmla="*/ 0 h 6115087"/>
                <a:gd name="connsiteX2" fmla="*/ 5193327 w 5595114"/>
                <a:gd name="connsiteY2" fmla="*/ 22048 h 6115087"/>
                <a:gd name="connsiteX3" fmla="*/ 5449755 w 5595114"/>
                <a:gd name="connsiteY3" fmla="*/ 213802 h 6115087"/>
                <a:gd name="connsiteX4" fmla="*/ 5595114 w 5595114"/>
                <a:gd name="connsiteY4" fmla="*/ 345913 h 6115087"/>
                <a:gd name="connsiteX5" fmla="*/ 5595114 w 5595114"/>
                <a:gd name="connsiteY5" fmla="*/ 5222347 h 6115087"/>
                <a:gd name="connsiteX6" fmla="*/ 5449755 w 5595114"/>
                <a:gd name="connsiteY6" fmla="*/ 5354459 h 6115087"/>
                <a:gd name="connsiteX7" fmla="*/ 3330957 w 5595114"/>
                <a:gd name="connsiteY7" fmla="*/ 6115087 h 6115087"/>
                <a:gd name="connsiteX8" fmla="*/ 0 w 5595114"/>
                <a:gd name="connsiteY8" fmla="*/ 2784130 h 6115087"/>
                <a:gd name="connsiteX9" fmla="*/ 1468588 w 5595114"/>
                <a:gd name="connsiteY9" fmla="*/ 22048 h 6115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95114" h="6115087">
                  <a:moveTo>
                    <a:pt x="1504880" y="0"/>
                  </a:moveTo>
                  <a:lnTo>
                    <a:pt x="5157035" y="0"/>
                  </a:lnTo>
                  <a:lnTo>
                    <a:pt x="5193327" y="22048"/>
                  </a:lnTo>
                  <a:cubicBezTo>
                    <a:pt x="5281931" y="81908"/>
                    <a:pt x="5367500" y="145919"/>
                    <a:pt x="5449755" y="213802"/>
                  </a:cubicBezTo>
                  <a:lnTo>
                    <a:pt x="5595114" y="345913"/>
                  </a:lnTo>
                  <a:lnTo>
                    <a:pt x="5595114" y="5222347"/>
                  </a:lnTo>
                  <a:lnTo>
                    <a:pt x="5449755" y="5354459"/>
                  </a:lnTo>
                  <a:cubicBezTo>
                    <a:pt x="4873969" y="5829639"/>
                    <a:pt x="4135798" y="6115087"/>
                    <a:pt x="3330957" y="6115087"/>
                  </a:cubicBezTo>
                  <a:cubicBezTo>
                    <a:pt x="1491320" y="6115087"/>
                    <a:pt x="0" y="4623767"/>
                    <a:pt x="0" y="2784130"/>
                  </a:cubicBezTo>
                  <a:cubicBezTo>
                    <a:pt x="0" y="1634357"/>
                    <a:pt x="582547" y="620645"/>
                    <a:pt x="1468588" y="22048"/>
                  </a:cubicBezTo>
                  <a:close/>
                </a:path>
              </a:pathLst>
            </a:custGeom>
            <a:solidFill>
              <a:srgbClr val="0949D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799">
                <a:solidFill>
                  <a:srgbClr val="DADADA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EF44984-8F7A-8C11-AE43-676924BE717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7172234" y="28520"/>
              <a:ext cx="5019767" cy="5511220"/>
            </a:xfrm>
            <a:custGeom>
              <a:avLst/>
              <a:gdLst>
                <a:gd name="connsiteX0" fmla="*/ 2755610 w 5019767"/>
                <a:gd name="connsiteY0" fmla="*/ 0 h 5511220"/>
                <a:gd name="connsiteX1" fmla="*/ 4881972 w 5019767"/>
                <a:gd name="connsiteY1" fmla="*/ 1002786 h 5511220"/>
                <a:gd name="connsiteX2" fmla="*/ 5019767 w 5019767"/>
                <a:gd name="connsiteY2" fmla="*/ 1187056 h 5511220"/>
                <a:gd name="connsiteX3" fmla="*/ 5019767 w 5019767"/>
                <a:gd name="connsiteY3" fmla="*/ 4324164 h 5511220"/>
                <a:gd name="connsiteX4" fmla="*/ 4881972 w 5019767"/>
                <a:gd name="connsiteY4" fmla="*/ 4508434 h 5511220"/>
                <a:gd name="connsiteX5" fmla="*/ 2755610 w 5019767"/>
                <a:gd name="connsiteY5" fmla="*/ 5511220 h 5511220"/>
                <a:gd name="connsiteX6" fmla="*/ 0 w 5019767"/>
                <a:gd name="connsiteY6" fmla="*/ 2755610 h 5511220"/>
                <a:gd name="connsiteX7" fmla="*/ 2755610 w 5019767"/>
                <a:gd name="connsiteY7" fmla="*/ 0 h 5511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19767" h="5511220">
                  <a:moveTo>
                    <a:pt x="2755610" y="0"/>
                  </a:moveTo>
                  <a:cubicBezTo>
                    <a:pt x="3611668" y="0"/>
                    <a:pt x="4376553" y="390360"/>
                    <a:pt x="4881972" y="1002786"/>
                  </a:cubicBezTo>
                  <a:lnTo>
                    <a:pt x="5019767" y="1187056"/>
                  </a:lnTo>
                  <a:lnTo>
                    <a:pt x="5019767" y="4324164"/>
                  </a:lnTo>
                  <a:lnTo>
                    <a:pt x="4881972" y="4508434"/>
                  </a:lnTo>
                  <a:cubicBezTo>
                    <a:pt x="4376553" y="5120861"/>
                    <a:pt x="3611668" y="5511220"/>
                    <a:pt x="2755610" y="5511220"/>
                  </a:cubicBezTo>
                  <a:cubicBezTo>
                    <a:pt x="1233729" y="5511220"/>
                    <a:pt x="0" y="4277491"/>
                    <a:pt x="0" y="2755610"/>
                  </a:cubicBezTo>
                  <a:cubicBezTo>
                    <a:pt x="0" y="1233729"/>
                    <a:pt x="1233729" y="0"/>
                    <a:pt x="275561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799"/>
            </a:p>
          </p:txBody>
        </p:sp>
      </p:grpSp>
      <p:sp>
        <p:nvSpPr>
          <p:cNvPr id="9" name="Copyright Line">
            <a:extLst>
              <a:ext uri="{FF2B5EF4-FFF2-40B4-BE49-F238E27FC236}">
                <a16:creationId xmlns:a16="http://schemas.microsoft.com/office/drawing/2014/main" id="{D2389545-B6D7-497B-37D4-C8C4C52F8A1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88559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1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7" name="Confidential disclaimer">
            <a:extLst>
              <a:ext uri="{FF2B5EF4-FFF2-40B4-BE49-F238E27FC236}">
                <a16:creationId xmlns:a16="http://schemas.microsoft.com/office/drawing/2014/main" id="{7F366BE8-8DFF-9E64-8372-4E4C126B56A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798637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8E33C4BA-B3E3-D8C7-C496-E55C90D029E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3"/>
          </p:nvPr>
        </p:nvSpPr>
        <p:spPr>
          <a:xfrm>
            <a:off x="3251200" y="6485400"/>
            <a:ext cx="3716336" cy="282957"/>
          </a:xfrm>
          <a:solidFill>
            <a:schemeClr val="tx2"/>
          </a:solidFill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25" name="Picture Placeholder">
            <a:extLst>
              <a:ext uri="{FF2B5EF4-FFF2-40B4-BE49-F238E27FC236}">
                <a16:creationId xmlns:a16="http://schemas.microsoft.com/office/drawing/2014/main" id="{278BDEAF-4B5A-EDEC-5FBB-5BDC0B1311E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2" hasCustomPrompt="1"/>
          </p:nvPr>
        </p:nvSpPr>
        <p:spPr>
          <a:xfrm>
            <a:off x="7465673" y="321957"/>
            <a:ext cx="4726329" cy="4924346"/>
          </a:xfrm>
          <a:custGeom>
            <a:avLst/>
            <a:gdLst>
              <a:gd name="connsiteX0" fmla="*/ 2462173 w 4726329"/>
              <a:gd name="connsiteY0" fmla="*/ 0 h 4924346"/>
              <a:gd name="connsiteX1" fmla="*/ 4627175 w 4726329"/>
              <a:gd name="connsiteY1" fmla="*/ 1288555 h 4924346"/>
              <a:gd name="connsiteX2" fmla="*/ 4726329 w 4726329"/>
              <a:gd name="connsiteY2" fmla="*/ 1494386 h 4924346"/>
              <a:gd name="connsiteX3" fmla="*/ 4726329 w 4726329"/>
              <a:gd name="connsiteY3" fmla="*/ 3429960 h 4924346"/>
              <a:gd name="connsiteX4" fmla="*/ 4627175 w 4726329"/>
              <a:gd name="connsiteY4" fmla="*/ 3635791 h 4924346"/>
              <a:gd name="connsiteX5" fmla="*/ 2462173 w 4726329"/>
              <a:gd name="connsiteY5" fmla="*/ 4924346 h 4924346"/>
              <a:gd name="connsiteX6" fmla="*/ 0 w 4726329"/>
              <a:gd name="connsiteY6" fmla="*/ 2462173 h 4924346"/>
              <a:gd name="connsiteX7" fmla="*/ 2462173 w 4726329"/>
              <a:gd name="connsiteY7" fmla="*/ 0 h 4924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26329" h="4924346">
                <a:moveTo>
                  <a:pt x="2462173" y="0"/>
                </a:moveTo>
                <a:cubicBezTo>
                  <a:pt x="3397050" y="0"/>
                  <a:pt x="4210233" y="521034"/>
                  <a:pt x="4627175" y="1288555"/>
                </a:cubicBezTo>
                <a:lnTo>
                  <a:pt x="4726329" y="1494386"/>
                </a:lnTo>
                <a:lnTo>
                  <a:pt x="4726329" y="3429960"/>
                </a:lnTo>
                <a:lnTo>
                  <a:pt x="4627175" y="3635791"/>
                </a:lnTo>
                <a:cubicBezTo>
                  <a:pt x="4210233" y="4403313"/>
                  <a:pt x="3397050" y="4924346"/>
                  <a:pt x="2462173" y="4924346"/>
                </a:cubicBezTo>
                <a:cubicBezTo>
                  <a:pt x="1102352" y="4924346"/>
                  <a:pt x="0" y="3821994"/>
                  <a:pt x="0" y="2462173"/>
                </a:cubicBezTo>
                <a:cubicBezTo>
                  <a:pt x="0" y="1102352"/>
                  <a:pt x="1102352" y="0"/>
                  <a:pt x="2462173" y="0"/>
                </a:cubicBezTo>
                <a:close/>
              </a:path>
            </a:pathLst>
          </a:custGeom>
          <a:solidFill>
            <a:srgbClr val="777777"/>
          </a:solidFill>
        </p:spPr>
        <p:txBody>
          <a:bodyPr wrap="square" anchor="ctr" anchorCtr="1">
            <a:noAutofit/>
          </a:bodyPr>
          <a:lstStyle>
            <a:lvl1pPr marL="0" indent="0" algn="ctr"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picture icon to add photo</a:t>
            </a:r>
          </a:p>
        </p:txBody>
      </p:sp>
      <p:sp>
        <p:nvSpPr>
          <p:cNvPr id="11" name="Date Placeholder">
            <a:extLst>
              <a:ext uri="{FF2B5EF4-FFF2-40B4-BE49-F238E27FC236}">
                <a16:creationId xmlns:a16="http://schemas.microsoft.com/office/drawing/2014/main" id="{56FDEAC7-8736-5846-42B8-66DC00FA3B9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>
          <a:xfrm>
            <a:off x="292100" y="5036707"/>
            <a:ext cx="1744664" cy="282957"/>
          </a:xfrm>
        </p:spPr>
        <p:txBody>
          <a:bodyPr/>
          <a:lstStyle>
            <a:lvl1pPr>
              <a:defRPr sz="1200">
                <a:solidFill>
                  <a:srgbClr val="FFFFFF"/>
                </a:solidFill>
              </a:defRPr>
            </a:lvl1pPr>
          </a:lstStyle>
          <a:p>
            <a:fld id="{C75F7465-666F-4675-891F-E92434DCB819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Title/Dept Placeholder">
            <a:extLst>
              <a:ext uri="{FF2B5EF4-FFF2-40B4-BE49-F238E27FC236}">
                <a16:creationId xmlns:a16="http://schemas.microsoft.com/office/drawing/2014/main" id="{F49547DD-E825-E7A3-C48A-64AA78C199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 hasCustomPrompt="1"/>
          </p:nvPr>
        </p:nvSpPr>
        <p:spPr>
          <a:xfrm>
            <a:off x="292100" y="4560603"/>
            <a:ext cx="6689728" cy="344384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rgbClr val="FFFFFF"/>
                </a:solidFill>
              </a:defRPr>
            </a:lvl1pPr>
            <a:lvl2pPr marL="457051" indent="0">
              <a:buNone/>
              <a:defRPr sz="1200" b="1">
                <a:solidFill>
                  <a:schemeClr val="bg1"/>
                </a:solidFill>
              </a:defRPr>
            </a:lvl2pPr>
            <a:lvl3pPr marL="914103" indent="0">
              <a:buNone/>
              <a:defRPr sz="1200" b="1">
                <a:solidFill>
                  <a:schemeClr val="bg1"/>
                </a:solidFill>
              </a:defRPr>
            </a:lvl3pPr>
            <a:lvl4pPr marL="1371154" indent="0">
              <a:buNone/>
              <a:defRPr sz="1200" b="1">
                <a:solidFill>
                  <a:schemeClr val="bg1"/>
                </a:solidFill>
              </a:defRPr>
            </a:lvl4pPr>
            <a:lvl5pPr marL="1828206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Department</a:t>
            </a:r>
          </a:p>
        </p:txBody>
      </p:sp>
      <p:sp>
        <p:nvSpPr>
          <p:cNvPr id="2" name="Presenter Name Placeholder">
            <a:extLst>
              <a:ext uri="{FF2B5EF4-FFF2-40B4-BE49-F238E27FC236}">
                <a16:creationId xmlns:a16="http://schemas.microsoft.com/office/drawing/2014/main" id="{5A598B2A-BB91-C356-7BCC-18D04DA85A8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292100" y="4192468"/>
            <a:ext cx="6689728" cy="344384"/>
          </a:xfrm>
        </p:spPr>
        <p:txBody>
          <a:bodyPr t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rgbClr val="FFFFFF"/>
                </a:solidFill>
              </a:defRPr>
            </a:lvl1pPr>
            <a:lvl2pPr marL="457051" indent="0">
              <a:buNone/>
              <a:defRPr sz="1200" b="1">
                <a:solidFill>
                  <a:schemeClr val="bg1"/>
                </a:solidFill>
              </a:defRPr>
            </a:lvl2pPr>
            <a:lvl3pPr marL="914103" indent="0">
              <a:buNone/>
              <a:defRPr sz="1200" b="1">
                <a:solidFill>
                  <a:schemeClr val="bg1"/>
                </a:solidFill>
              </a:defRPr>
            </a:lvl3pPr>
            <a:lvl4pPr marL="1371154" indent="0">
              <a:buNone/>
              <a:defRPr sz="1200" b="1">
                <a:solidFill>
                  <a:schemeClr val="bg1"/>
                </a:solidFill>
              </a:defRPr>
            </a:lvl4pPr>
            <a:lvl5pPr marL="1828206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8" name="Subtitle Placeholder">
            <a:extLst>
              <a:ext uri="{FF2B5EF4-FFF2-40B4-BE49-F238E27FC236}">
                <a16:creationId xmlns:a16="http://schemas.microsoft.com/office/drawing/2014/main" id="{23B6A8FC-C3C4-F7DA-BF00-D56866D5808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292101" y="3114709"/>
            <a:ext cx="6689729" cy="837883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999">
                <a:solidFill>
                  <a:srgbClr val="FFFFFF"/>
                </a:solidFill>
              </a:defRPr>
            </a:lvl1pPr>
            <a:lvl2pPr marL="457051" indent="0" algn="ctr">
              <a:buNone/>
              <a:defRPr sz="1999"/>
            </a:lvl2pPr>
            <a:lvl3pPr marL="914103" indent="0" algn="ctr">
              <a:buNone/>
              <a:defRPr sz="1799"/>
            </a:lvl3pPr>
            <a:lvl4pPr marL="1371154" indent="0" algn="ctr">
              <a:buNone/>
              <a:defRPr sz="1599"/>
            </a:lvl4pPr>
            <a:lvl5pPr marL="1828206" indent="0" algn="ctr">
              <a:buNone/>
              <a:defRPr sz="1599"/>
            </a:lvl5pPr>
            <a:lvl6pPr marL="2285257" indent="0" algn="ctr">
              <a:buNone/>
              <a:defRPr sz="1599"/>
            </a:lvl6pPr>
            <a:lvl7pPr marL="2742308" indent="0" algn="ctr">
              <a:buNone/>
              <a:defRPr sz="1599"/>
            </a:lvl7pPr>
            <a:lvl8pPr marL="3199360" indent="0" algn="ctr">
              <a:buNone/>
              <a:defRPr sz="1599"/>
            </a:lvl8pPr>
            <a:lvl9pPr marL="3656411" indent="0" algn="ctr">
              <a:buNone/>
              <a:defRPr sz="159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Title Placeholder">
            <a:extLst>
              <a:ext uri="{FF2B5EF4-FFF2-40B4-BE49-F238E27FC236}">
                <a16:creationId xmlns:a16="http://schemas.microsoft.com/office/drawing/2014/main" id="{615225DC-38B1-15E3-05E6-88F5A6B976C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292101" y="654819"/>
            <a:ext cx="6689729" cy="23876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399">
                <a:solidFill>
                  <a:srgbClr val="FFFFFF"/>
                </a:solidFill>
              </a:defRPr>
            </a:lvl1pPr>
          </a:lstStyle>
          <a:p>
            <a:r>
              <a:rPr lang="en-US"/>
              <a:t>Insert your presentation title here maximum of three lines</a:t>
            </a:r>
          </a:p>
        </p:txBody>
      </p:sp>
      <p:pic>
        <p:nvPicPr>
          <p:cNvPr id="10" name="NielsenIQ GFK lockup">
            <a:extLst>
              <a:ext uri="{FF2B5EF4-FFF2-40B4-BE49-F238E27FC236}">
                <a16:creationId xmlns:a16="http://schemas.microsoft.com/office/drawing/2014/main" id="{5AD45FDA-A06C-6A25-4D77-005D36A8D623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86123" y="5539741"/>
            <a:ext cx="3377876" cy="753595"/>
          </a:xfrm>
          <a:prstGeom prst="rect">
            <a:avLst/>
          </a:prstGeom>
        </p:spPr>
      </p:pic>
      <p:pic>
        <p:nvPicPr>
          <p:cNvPr id="14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4592FCA5-867A-BB8D-E995-7A4C9EC3E96A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559" y="5563212"/>
            <a:ext cx="2155411" cy="743616"/>
          </a:xfrm>
          <a:prstGeom prst="rect">
            <a:avLst/>
          </a:prstGeom>
        </p:spPr>
      </p:pic>
      <p:sp>
        <p:nvSpPr>
          <p:cNvPr id="22" name="Nielsen wordmark" hidden="1">
            <a:extLst>
              <a:ext uri="{FF2B5EF4-FFF2-40B4-BE49-F238E27FC236}">
                <a16:creationId xmlns:a16="http://schemas.microsoft.com/office/drawing/2014/main" id="{EA927BD7-665B-50AF-0BB4-89B1734188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95275" y="5686381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accent1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sz="1799"/>
          </a:p>
        </p:txBody>
      </p:sp>
    </p:spTree>
    <p:extLst>
      <p:ext uri="{BB962C8B-B14F-4D97-AF65-F5344CB8AC3E}">
        <p14:creationId xmlns:p14="http://schemas.microsoft.com/office/powerpoint/2010/main" val="357074233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llustration Background">
            <a:extLst>
              <a:ext uri="{FF2B5EF4-FFF2-40B4-BE49-F238E27FC236}">
                <a16:creationId xmlns:a16="http://schemas.microsoft.com/office/drawing/2014/main" id="{DB788935-E7B2-2CAC-0048-B92417139B6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69" y="0"/>
            <a:ext cx="12187065" cy="6858000"/>
          </a:xfrm>
          <a:prstGeom prst="rect">
            <a:avLst/>
          </a:prstGeom>
        </p:spPr>
      </p:pic>
      <p:sp>
        <p:nvSpPr>
          <p:cNvPr id="5" name="Confidential disclaimer">
            <a:extLst>
              <a:ext uri="{FF2B5EF4-FFF2-40B4-BE49-F238E27FC236}">
                <a16:creationId xmlns:a16="http://schemas.microsoft.com/office/drawing/2014/main" id="{CD47C08F-F59E-5783-DCC8-C91095C566C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798637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7" name="Copyright Line">
            <a:extLst>
              <a:ext uri="{FF2B5EF4-FFF2-40B4-BE49-F238E27FC236}">
                <a16:creationId xmlns:a16="http://schemas.microsoft.com/office/drawing/2014/main" id="{94679E81-620B-431C-44E4-1FAE9486A5E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88559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1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4D4D5DC7-A70B-2666-E654-41F700D18D0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3"/>
          </p:nvPr>
        </p:nvSpPr>
        <p:spPr>
          <a:xfrm>
            <a:off x="3251200" y="6485400"/>
            <a:ext cx="3716336" cy="282957"/>
          </a:xfrm>
          <a:noFill/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27" name="Date Placeholder">
            <a:extLst>
              <a:ext uri="{FF2B5EF4-FFF2-40B4-BE49-F238E27FC236}">
                <a16:creationId xmlns:a16="http://schemas.microsoft.com/office/drawing/2014/main" id="{959D1E47-A59F-7F2A-1103-CE2E01F9C34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>
          <a:xfrm>
            <a:off x="292100" y="5036707"/>
            <a:ext cx="1744664" cy="282957"/>
          </a:xfrm>
        </p:spPr>
        <p:txBody>
          <a:bodyPr/>
          <a:lstStyle>
            <a:lvl1pPr>
              <a:defRPr sz="1200">
                <a:solidFill>
                  <a:srgbClr val="FFFFFF"/>
                </a:solidFill>
              </a:defRPr>
            </a:lvl1pPr>
          </a:lstStyle>
          <a:p>
            <a:fld id="{C75F7465-666F-4675-891F-E92434DCB819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Title/Dept Placeholder">
            <a:extLst>
              <a:ext uri="{FF2B5EF4-FFF2-40B4-BE49-F238E27FC236}">
                <a16:creationId xmlns:a16="http://schemas.microsoft.com/office/drawing/2014/main" id="{DADB3285-032F-C5EA-E4E6-C62E075FF1F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 hasCustomPrompt="1"/>
          </p:nvPr>
        </p:nvSpPr>
        <p:spPr>
          <a:xfrm>
            <a:off x="288557" y="4560603"/>
            <a:ext cx="8642083" cy="344384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rgbClr val="FFFFFF"/>
                </a:solidFill>
              </a:defRPr>
            </a:lvl1pPr>
            <a:lvl2pPr marL="457051" indent="0">
              <a:buNone/>
              <a:defRPr sz="1200" b="1">
                <a:solidFill>
                  <a:schemeClr val="bg1"/>
                </a:solidFill>
              </a:defRPr>
            </a:lvl2pPr>
            <a:lvl3pPr marL="914103" indent="0">
              <a:buNone/>
              <a:defRPr sz="1200" b="1">
                <a:solidFill>
                  <a:schemeClr val="bg1"/>
                </a:solidFill>
              </a:defRPr>
            </a:lvl3pPr>
            <a:lvl4pPr marL="1371154" indent="0">
              <a:buNone/>
              <a:defRPr sz="1200" b="1">
                <a:solidFill>
                  <a:schemeClr val="bg1"/>
                </a:solidFill>
              </a:defRPr>
            </a:lvl4pPr>
            <a:lvl5pPr marL="1828206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Department</a:t>
            </a:r>
          </a:p>
        </p:txBody>
      </p:sp>
      <p:sp>
        <p:nvSpPr>
          <p:cNvPr id="2" name="Presenter Name Placeholder">
            <a:extLst>
              <a:ext uri="{FF2B5EF4-FFF2-40B4-BE49-F238E27FC236}">
                <a16:creationId xmlns:a16="http://schemas.microsoft.com/office/drawing/2014/main" id="{3417592A-6067-984F-549E-3833CDB76A5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288557" y="4192468"/>
            <a:ext cx="8642083" cy="344384"/>
          </a:xfrm>
        </p:spPr>
        <p:txBody>
          <a:bodyPr t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rgbClr val="FFFFFF"/>
                </a:solidFill>
              </a:defRPr>
            </a:lvl1pPr>
            <a:lvl2pPr marL="457051" indent="0">
              <a:buNone/>
              <a:defRPr sz="1200" b="1">
                <a:solidFill>
                  <a:schemeClr val="bg1"/>
                </a:solidFill>
              </a:defRPr>
            </a:lvl2pPr>
            <a:lvl3pPr marL="914103" indent="0">
              <a:buNone/>
              <a:defRPr sz="1200" b="1">
                <a:solidFill>
                  <a:schemeClr val="bg1"/>
                </a:solidFill>
              </a:defRPr>
            </a:lvl3pPr>
            <a:lvl4pPr marL="1371154" indent="0">
              <a:buNone/>
              <a:defRPr sz="1200" b="1">
                <a:solidFill>
                  <a:schemeClr val="bg1"/>
                </a:solidFill>
              </a:defRPr>
            </a:lvl4pPr>
            <a:lvl5pPr marL="1828206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17" name="Subtitle Placeholder">
            <a:extLst>
              <a:ext uri="{FF2B5EF4-FFF2-40B4-BE49-F238E27FC236}">
                <a16:creationId xmlns:a16="http://schemas.microsoft.com/office/drawing/2014/main" id="{A4501D72-EE3C-0DA6-BA4B-C1D78BA85AE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288557" y="3114709"/>
            <a:ext cx="8642083" cy="837883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399">
                <a:solidFill>
                  <a:srgbClr val="FFFFFF"/>
                </a:solidFill>
              </a:defRPr>
            </a:lvl1pPr>
            <a:lvl2pPr marL="457051" indent="0" algn="ctr">
              <a:buNone/>
              <a:defRPr sz="1999"/>
            </a:lvl2pPr>
            <a:lvl3pPr marL="914103" indent="0" algn="ctr">
              <a:buNone/>
              <a:defRPr sz="1799"/>
            </a:lvl3pPr>
            <a:lvl4pPr marL="1371154" indent="0" algn="ctr">
              <a:buNone/>
              <a:defRPr sz="1599"/>
            </a:lvl4pPr>
            <a:lvl5pPr marL="1828206" indent="0" algn="ctr">
              <a:buNone/>
              <a:defRPr sz="1599"/>
            </a:lvl5pPr>
            <a:lvl6pPr marL="2285257" indent="0" algn="ctr">
              <a:buNone/>
              <a:defRPr sz="1599"/>
            </a:lvl6pPr>
            <a:lvl7pPr marL="2742308" indent="0" algn="ctr">
              <a:buNone/>
              <a:defRPr sz="1599"/>
            </a:lvl7pPr>
            <a:lvl8pPr marL="3199360" indent="0" algn="ctr">
              <a:buNone/>
              <a:defRPr sz="1599"/>
            </a:lvl8pPr>
            <a:lvl9pPr marL="3656411" indent="0" algn="ctr">
              <a:buNone/>
              <a:defRPr sz="159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6" name="Title Placeholder">
            <a:extLst>
              <a:ext uri="{FF2B5EF4-FFF2-40B4-BE49-F238E27FC236}">
                <a16:creationId xmlns:a16="http://schemas.microsoft.com/office/drawing/2014/main" id="{7987C027-455E-4C45-138D-8334F13BBE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288557" y="635035"/>
            <a:ext cx="8642083" cy="23876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5398">
                <a:solidFill>
                  <a:srgbClr val="FFFFFF"/>
                </a:solidFill>
              </a:defRPr>
            </a:lvl1pPr>
          </a:lstStyle>
          <a:p>
            <a:r>
              <a:rPr lang="en-US"/>
              <a:t>Insert your presentation title here maximum of three lines</a:t>
            </a:r>
          </a:p>
        </p:txBody>
      </p:sp>
      <p:pic>
        <p:nvPicPr>
          <p:cNvPr id="6" name="NielsenIQ GFK lockup">
            <a:extLst>
              <a:ext uri="{FF2B5EF4-FFF2-40B4-BE49-F238E27FC236}">
                <a16:creationId xmlns:a16="http://schemas.microsoft.com/office/drawing/2014/main" id="{1527D24A-5EB5-2412-09AA-2A0D682A2D88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286123" y="5539741"/>
            <a:ext cx="3377876" cy="753595"/>
          </a:xfrm>
          <a:prstGeom prst="rect">
            <a:avLst/>
          </a:prstGeom>
        </p:spPr>
      </p:pic>
      <p:pic>
        <p:nvPicPr>
          <p:cNvPr id="18" name="NielsenIQ logo+wordmark" hidden="1">
            <a:extLst>
              <a:ext uri="{FF2B5EF4-FFF2-40B4-BE49-F238E27FC236}">
                <a16:creationId xmlns:a16="http://schemas.microsoft.com/office/drawing/2014/main" id="{041ECC27-E626-2866-047D-40D91692A39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8559" y="5563212"/>
            <a:ext cx="2155408" cy="743616"/>
          </a:xfrm>
          <a:prstGeom prst="rect">
            <a:avLst/>
          </a:prstGeom>
        </p:spPr>
      </p:pic>
      <p:sp>
        <p:nvSpPr>
          <p:cNvPr id="8" name="Nielsen wordmark" hidden="1">
            <a:extLst>
              <a:ext uri="{FF2B5EF4-FFF2-40B4-BE49-F238E27FC236}">
                <a16:creationId xmlns:a16="http://schemas.microsoft.com/office/drawing/2014/main" id="{4BFD1796-2F8B-4ED9-936A-10DB34E78CA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95275" y="5686381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bg1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sz="1799"/>
          </a:p>
        </p:txBody>
      </p:sp>
    </p:spTree>
    <p:extLst>
      <p:ext uri="{BB962C8B-B14F-4D97-AF65-F5344CB8AC3E}">
        <p14:creationId xmlns:p14="http://schemas.microsoft.com/office/powerpoint/2010/main" val="256222699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Full-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Off-slide Instructions">
            <a:extLst>
              <a:ext uri="{FF2B5EF4-FFF2-40B4-BE49-F238E27FC236}">
                <a16:creationId xmlns:a16="http://schemas.microsoft.com/office/drawing/2014/main" id="{271856CE-9F0A-4AD8-67ED-834B35F367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2338614" y="0"/>
            <a:ext cx="2812487" cy="2373888"/>
          </a:xfrm>
          <a:prstGeom prst="bracketPair">
            <a:avLst>
              <a:gd name="adj" fmla="val 4083"/>
            </a:avLst>
          </a:prstGeom>
          <a:solidFill>
            <a:srgbClr val="FFFF00">
              <a:alpha val="80000"/>
            </a:srgbClr>
          </a:solidFill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spAutoFit/>
          </a:bodyPr>
          <a:lstStyle/>
          <a:p>
            <a:pPr marL="0" indent="0" algn="l" defTabSz="914103" rtl="0" eaLnBrk="1" latinLnBrk="0" hangingPunct="1">
              <a:spcAft>
                <a:spcPts val="400"/>
              </a:spcAft>
              <a:buFont typeface="+mj-lt"/>
              <a:buNone/>
            </a:pPr>
            <a:r>
              <a:rPr lang="en-US" sz="1200" b="1" kern="12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If logo, copyright line, footer, etc. are missing:</a:t>
            </a:r>
          </a:p>
          <a:p>
            <a:pPr marL="177742" lvl="0" indent="-177742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Go to </a:t>
            </a:r>
            <a:r>
              <a:rPr lang="en-US" sz="800" b="1">
                <a:solidFill>
                  <a:srgbClr val="000000"/>
                </a:solidFill>
              </a:rPr>
              <a:t>View &gt; Slide Master</a:t>
            </a:r>
          </a:p>
          <a:p>
            <a:pPr marL="177742" lvl="0" indent="-177742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Copy logo and footer elements from Layout Master</a:t>
            </a:r>
          </a:p>
          <a:p>
            <a:pPr marL="177742" lvl="0" indent="-177742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Close Master View</a:t>
            </a:r>
          </a:p>
          <a:p>
            <a:pPr marL="177742" lvl="0" indent="-177742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Paste on slide</a:t>
            </a:r>
            <a:endParaRPr lang="en-US" sz="1200" b="1">
              <a:solidFill>
                <a:srgbClr val="000000"/>
              </a:solidFill>
            </a:endParaRPr>
          </a:p>
          <a:p>
            <a:pPr>
              <a:spcAft>
                <a:spcPts val="400"/>
              </a:spcAft>
            </a:pPr>
            <a:endParaRPr lang="en-US" sz="1200" b="1">
              <a:solidFill>
                <a:srgbClr val="000000"/>
              </a:solidFill>
            </a:endParaRPr>
          </a:p>
          <a:p>
            <a:pPr>
              <a:spcAft>
                <a:spcPts val="400"/>
              </a:spcAft>
            </a:pPr>
            <a:r>
              <a:rPr lang="en-US" sz="1200" b="1">
                <a:solidFill>
                  <a:srgbClr val="000000"/>
                </a:solidFill>
              </a:rPr>
              <a:t>To replace existing image:</a:t>
            </a:r>
          </a:p>
          <a:p>
            <a:pPr marL="174569" indent="-174569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Right-click image placeholder</a:t>
            </a:r>
          </a:p>
          <a:p>
            <a:pPr marL="174569" indent="-174569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Select </a:t>
            </a:r>
            <a:r>
              <a:rPr lang="en-US" sz="800" b="1">
                <a:solidFill>
                  <a:srgbClr val="000000"/>
                </a:solidFill>
              </a:rPr>
              <a:t>Change Picture</a:t>
            </a:r>
          </a:p>
          <a:p>
            <a:pPr marL="174569" indent="-174569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Select</a:t>
            </a:r>
            <a:r>
              <a:rPr lang="en-US" sz="800" b="1">
                <a:solidFill>
                  <a:srgbClr val="000000"/>
                </a:solidFill>
              </a:rPr>
              <a:t> desired </a:t>
            </a:r>
            <a:r>
              <a:rPr lang="en-US" sz="800">
                <a:solidFill>
                  <a:srgbClr val="000000"/>
                </a:solidFill>
              </a:rPr>
              <a:t>image file (.jpg, .</a:t>
            </a:r>
            <a:r>
              <a:rPr lang="en-US" sz="800" err="1">
                <a:solidFill>
                  <a:srgbClr val="000000"/>
                </a:solidFill>
              </a:rPr>
              <a:t>png</a:t>
            </a:r>
            <a:r>
              <a:rPr lang="en-US" sz="800">
                <a:solidFill>
                  <a:srgbClr val="000000"/>
                </a:solidFill>
              </a:rPr>
              <a:t>, .gif)</a:t>
            </a:r>
          </a:p>
          <a:p>
            <a:pPr marL="174569" indent="-174569">
              <a:spcAft>
                <a:spcPts val="400"/>
              </a:spcAft>
              <a:buFont typeface="+mj-lt"/>
              <a:buAutoNum type="arabicPeriod"/>
            </a:pPr>
            <a:endParaRPr lang="en-US" sz="800">
              <a:solidFill>
                <a:srgbClr val="000000"/>
              </a:solidFill>
            </a:endParaRPr>
          </a:p>
        </p:txBody>
      </p:sp>
      <p:sp>
        <p:nvSpPr>
          <p:cNvPr id="21" name="Picture Placeholder">
            <a:extLst>
              <a:ext uri="{FF2B5EF4-FFF2-40B4-BE49-F238E27FC236}">
                <a16:creationId xmlns:a16="http://schemas.microsoft.com/office/drawing/2014/main" id="{52F19A97-1265-FCED-7EE6-B54C73691BB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solidFill>
            <a:schemeClr val="tx1">
              <a:lumMod val="60000"/>
              <a:lumOff val="40000"/>
            </a:schemeClr>
          </a:solidFill>
        </p:spPr>
        <p:txBody>
          <a:bodyPr lIns="9144000" tIns="91440" rIns="0" anchor="t">
            <a:normAutofit/>
          </a:bodyPr>
          <a:lstStyle>
            <a:lvl1pPr marL="228526" indent="-228526" algn="l">
              <a:buFont typeface="Arial" panose="020B0604020202020204" pitchFamily="34" charset="0"/>
              <a:buNone/>
              <a:defRPr sz="1400" b="1">
                <a:solidFill>
                  <a:srgbClr val="FFFF00"/>
                </a:solidFill>
              </a:defRPr>
            </a:lvl1pPr>
          </a:lstStyle>
          <a:p>
            <a:r>
              <a:rPr lang="en-US"/>
              <a:t>To add image: </a:t>
            </a:r>
            <a:br>
              <a:rPr lang="en-US"/>
            </a:br>
            <a:r>
              <a:rPr lang="en-US"/>
              <a:t>1. Select image placeholder</a:t>
            </a:r>
            <a:br>
              <a:rPr lang="en-US"/>
            </a:br>
            <a:r>
              <a:rPr lang="en-US"/>
              <a:t>2. Drag/drop file or copy/paste image into slide (.jpg, .gif, .</a:t>
            </a:r>
            <a:r>
              <a:rPr lang="en-US" err="1"/>
              <a:t>png</a:t>
            </a:r>
            <a:r>
              <a:rPr lang="en-US"/>
              <a:t>)</a:t>
            </a:r>
            <a:br>
              <a:rPr lang="en-US"/>
            </a:br>
            <a:r>
              <a:rPr lang="en-US"/>
              <a:t>3. Right-click image and “Send to back”</a:t>
            </a:r>
          </a:p>
        </p:txBody>
      </p:sp>
      <p:sp>
        <p:nvSpPr>
          <p:cNvPr id="5" name="Confidential disclaimer">
            <a:extLst>
              <a:ext uri="{FF2B5EF4-FFF2-40B4-BE49-F238E27FC236}">
                <a16:creationId xmlns:a16="http://schemas.microsoft.com/office/drawing/2014/main" id="{5608DDC1-C01E-6D4A-6FBF-3A04BB3F9975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798637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7" name="Copyright Line">
            <a:extLst>
              <a:ext uri="{FF2B5EF4-FFF2-40B4-BE49-F238E27FC236}">
                <a16:creationId xmlns:a16="http://schemas.microsoft.com/office/drawing/2014/main" id="{94679E81-620B-431C-44E4-1FAE9486A5E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88559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1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EC7B7A51-3AAD-04A0-499C-1BDCF93D6A3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3"/>
          </p:nvPr>
        </p:nvSpPr>
        <p:spPr>
          <a:xfrm>
            <a:off x="3251200" y="6485400"/>
            <a:ext cx="3716336" cy="282957"/>
          </a:xfrm>
          <a:noFill/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22" name="Date Placeholder">
            <a:extLst>
              <a:ext uri="{FF2B5EF4-FFF2-40B4-BE49-F238E27FC236}">
                <a16:creationId xmlns:a16="http://schemas.microsoft.com/office/drawing/2014/main" id="{2FF3E537-3200-2E95-28C8-4005E0D0E4D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>
          <a:xfrm>
            <a:off x="292100" y="5036707"/>
            <a:ext cx="1744664" cy="282957"/>
          </a:xfrm>
        </p:spPr>
        <p:txBody>
          <a:bodyPr/>
          <a:lstStyle>
            <a:lvl1pPr>
              <a:defRPr sz="1200">
                <a:solidFill>
                  <a:srgbClr val="FFFFFF"/>
                </a:solidFill>
              </a:defRPr>
            </a:lvl1pPr>
          </a:lstStyle>
          <a:p>
            <a:fld id="{C75F7465-666F-4675-891F-E92434DCB819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Title/Dept Placeholder">
            <a:extLst>
              <a:ext uri="{FF2B5EF4-FFF2-40B4-BE49-F238E27FC236}">
                <a16:creationId xmlns:a16="http://schemas.microsoft.com/office/drawing/2014/main" id="{DADB3285-032F-C5EA-E4E6-C62E075FF1F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 hasCustomPrompt="1"/>
          </p:nvPr>
        </p:nvSpPr>
        <p:spPr>
          <a:xfrm>
            <a:off x="288557" y="4560603"/>
            <a:ext cx="8642083" cy="344384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rgbClr val="FFFFFF"/>
                </a:solidFill>
              </a:defRPr>
            </a:lvl1pPr>
            <a:lvl2pPr marL="457051" indent="0">
              <a:buNone/>
              <a:defRPr sz="1200" b="1">
                <a:solidFill>
                  <a:schemeClr val="bg1"/>
                </a:solidFill>
              </a:defRPr>
            </a:lvl2pPr>
            <a:lvl3pPr marL="914103" indent="0">
              <a:buNone/>
              <a:defRPr sz="1200" b="1">
                <a:solidFill>
                  <a:schemeClr val="bg1"/>
                </a:solidFill>
              </a:defRPr>
            </a:lvl3pPr>
            <a:lvl4pPr marL="1371154" indent="0">
              <a:buNone/>
              <a:defRPr sz="1200" b="1">
                <a:solidFill>
                  <a:schemeClr val="bg1"/>
                </a:solidFill>
              </a:defRPr>
            </a:lvl4pPr>
            <a:lvl5pPr marL="1828206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Department</a:t>
            </a:r>
          </a:p>
        </p:txBody>
      </p:sp>
      <p:sp>
        <p:nvSpPr>
          <p:cNvPr id="2" name="Presenter Name Placeholder">
            <a:extLst>
              <a:ext uri="{FF2B5EF4-FFF2-40B4-BE49-F238E27FC236}">
                <a16:creationId xmlns:a16="http://schemas.microsoft.com/office/drawing/2014/main" id="{3417592A-6067-984F-549E-3833CDB76A5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288557" y="4192468"/>
            <a:ext cx="8642083" cy="344384"/>
          </a:xfrm>
        </p:spPr>
        <p:txBody>
          <a:bodyPr t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rgbClr val="FFFFFF"/>
                </a:solidFill>
              </a:defRPr>
            </a:lvl1pPr>
            <a:lvl2pPr marL="457051" indent="0">
              <a:buNone/>
              <a:defRPr sz="1200" b="1">
                <a:solidFill>
                  <a:schemeClr val="bg1"/>
                </a:solidFill>
              </a:defRPr>
            </a:lvl2pPr>
            <a:lvl3pPr marL="914103" indent="0">
              <a:buNone/>
              <a:defRPr sz="1200" b="1">
                <a:solidFill>
                  <a:schemeClr val="bg1"/>
                </a:solidFill>
              </a:defRPr>
            </a:lvl3pPr>
            <a:lvl4pPr marL="1371154" indent="0">
              <a:buNone/>
              <a:defRPr sz="1200" b="1">
                <a:solidFill>
                  <a:schemeClr val="bg1"/>
                </a:solidFill>
              </a:defRPr>
            </a:lvl4pPr>
            <a:lvl5pPr marL="1828206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17" name="Subtitle Placeholder">
            <a:extLst>
              <a:ext uri="{FF2B5EF4-FFF2-40B4-BE49-F238E27FC236}">
                <a16:creationId xmlns:a16="http://schemas.microsoft.com/office/drawing/2014/main" id="{A4501D72-EE3C-0DA6-BA4B-C1D78BA85AE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288557" y="3114709"/>
            <a:ext cx="8642083" cy="837883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399">
                <a:solidFill>
                  <a:srgbClr val="FFFFFF"/>
                </a:solidFill>
              </a:defRPr>
            </a:lvl1pPr>
            <a:lvl2pPr marL="457051" indent="0" algn="ctr">
              <a:buNone/>
              <a:defRPr sz="1999"/>
            </a:lvl2pPr>
            <a:lvl3pPr marL="914103" indent="0" algn="ctr">
              <a:buNone/>
              <a:defRPr sz="1799"/>
            </a:lvl3pPr>
            <a:lvl4pPr marL="1371154" indent="0" algn="ctr">
              <a:buNone/>
              <a:defRPr sz="1599"/>
            </a:lvl4pPr>
            <a:lvl5pPr marL="1828206" indent="0" algn="ctr">
              <a:buNone/>
              <a:defRPr sz="1599"/>
            </a:lvl5pPr>
            <a:lvl6pPr marL="2285257" indent="0" algn="ctr">
              <a:buNone/>
              <a:defRPr sz="1599"/>
            </a:lvl6pPr>
            <a:lvl7pPr marL="2742308" indent="0" algn="ctr">
              <a:buNone/>
              <a:defRPr sz="1599"/>
            </a:lvl7pPr>
            <a:lvl8pPr marL="3199360" indent="0" algn="ctr">
              <a:buNone/>
              <a:defRPr sz="1599"/>
            </a:lvl8pPr>
            <a:lvl9pPr marL="3656411" indent="0" algn="ctr">
              <a:buNone/>
              <a:defRPr sz="159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6" name="Title Placeholder">
            <a:extLst>
              <a:ext uri="{FF2B5EF4-FFF2-40B4-BE49-F238E27FC236}">
                <a16:creationId xmlns:a16="http://schemas.microsoft.com/office/drawing/2014/main" id="{7987C027-455E-4C45-138D-8334F13BBE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288557" y="635035"/>
            <a:ext cx="8642083" cy="23876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5398">
                <a:solidFill>
                  <a:srgbClr val="FFFFFF"/>
                </a:solidFill>
              </a:defRPr>
            </a:lvl1pPr>
          </a:lstStyle>
          <a:p>
            <a:r>
              <a:rPr lang="en-US"/>
              <a:t>Insert your presentation title here maximum of three lines</a:t>
            </a:r>
          </a:p>
        </p:txBody>
      </p:sp>
      <p:pic>
        <p:nvPicPr>
          <p:cNvPr id="6" name="NielsenIQ GFK lockup">
            <a:extLst>
              <a:ext uri="{FF2B5EF4-FFF2-40B4-BE49-F238E27FC236}">
                <a16:creationId xmlns:a16="http://schemas.microsoft.com/office/drawing/2014/main" id="{5418E13B-8AFF-E657-70EF-BADD9F33A38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86123" y="5539741"/>
            <a:ext cx="3377876" cy="753595"/>
          </a:xfrm>
          <a:prstGeom prst="rect">
            <a:avLst/>
          </a:prstGeom>
        </p:spPr>
      </p:pic>
      <p:pic>
        <p:nvPicPr>
          <p:cNvPr id="18" name="NielsenIQ logo+wordmark" hidden="1">
            <a:extLst>
              <a:ext uri="{FF2B5EF4-FFF2-40B4-BE49-F238E27FC236}">
                <a16:creationId xmlns:a16="http://schemas.microsoft.com/office/drawing/2014/main" id="{041ECC27-E626-2866-047D-40D91692A39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8559" y="5563212"/>
            <a:ext cx="2155408" cy="743616"/>
          </a:xfrm>
          <a:prstGeom prst="rect">
            <a:avLst/>
          </a:prstGeom>
        </p:spPr>
      </p:pic>
      <p:sp>
        <p:nvSpPr>
          <p:cNvPr id="38" name="Nielsen wordmark" hidden="1">
            <a:extLst>
              <a:ext uri="{FF2B5EF4-FFF2-40B4-BE49-F238E27FC236}">
                <a16:creationId xmlns:a16="http://schemas.microsoft.com/office/drawing/2014/main" id="{6D5C1F9E-5298-0893-F83B-8DC3C0EC17D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95275" y="5686381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bg1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sz="1799"/>
          </a:p>
        </p:txBody>
      </p:sp>
    </p:spTree>
    <p:extLst>
      <p:ext uri="{BB962C8B-B14F-4D97-AF65-F5344CB8AC3E}">
        <p14:creationId xmlns:p14="http://schemas.microsoft.com/office/powerpoint/2010/main" val="548998362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FD1F3F95-8F1D-9A9D-41FB-B771E151224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/>
          <a:p>
            <a:fld id="{3E04DF46-C0DC-4ADC-9A6F-918CC4703A43}" type="slidenum">
              <a:rPr lang="en-GB" smtClean="0"/>
              <a:t>‹#›</a:t>
            </a:fld>
            <a:endParaRPr lang="en-GB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9F5B23B2-FEF2-DCC0-334E-3B80B3A03AE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35847737-8381-A612-E054-E1C098244CD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96FE6D9B-E395-4A22-A7DB-AC096A22C7CA}" type="datetime1">
              <a:rPr lang="en-GB" smtClean="0"/>
              <a:t>12/02/2026</a:t>
            </a:fld>
            <a:endParaRPr lang="en-GB"/>
          </a:p>
        </p:txBody>
      </p:sp>
      <p:sp>
        <p:nvSpPr>
          <p:cNvPr id="13" name="Source Placeholder">
            <a:extLst>
              <a:ext uri="{FF2B5EF4-FFF2-40B4-BE49-F238E27FC236}">
                <a16:creationId xmlns:a16="http://schemas.microsoft.com/office/drawing/2014/main" id="{81E36804-955F-07A1-88DF-9B603E5E262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1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395" lvl="0" indent="-171395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3" name="Content Placeholder">
            <a:extLst>
              <a:ext uri="{FF2B5EF4-FFF2-40B4-BE49-F238E27FC236}">
                <a16:creationId xmlns:a16="http://schemas.microsoft.com/office/drawing/2014/main" id="{04974C89-D6D3-D29A-E142-BB21F4F82BF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Subtitle Placeholder">
            <a:extLst>
              <a:ext uri="{FF2B5EF4-FFF2-40B4-BE49-F238E27FC236}">
                <a16:creationId xmlns:a16="http://schemas.microsoft.com/office/drawing/2014/main" id="{D7CEFD0E-11F5-45EC-2759-A609F998C67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3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395" marR="0" lvl="0" indent="-171395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11" name="Title Placeholder">
            <a:extLst>
              <a:ext uri="{FF2B5EF4-FFF2-40B4-BE49-F238E27FC236}">
                <a16:creationId xmlns:a16="http://schemas.microsoft.com/office/drawing/2014/main" id="{063DF22F-A0F5-4EAA-7380-343ABC31C9B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your slide title in Arial Bold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811537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tatic Light Bkgd">
            <a:extLst>
              <a:ext uri="{FF2B5EF4-FFF2-40B4-BE49-F238E27FC236}">
                <a16:creationId xmlns:a16="http://schemas.microsoft.com/office/drawing/2014/main" id="{D1093FDC-ACBE-C97A-79EC-30B506F3513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9"/>
          </a:p>
        </p:txBody>
      </p:sp>
      <p:cxnSp>
        <p:nvCxnSpPr>
          <p:cNvPr id="10" name="Base Rule">
            <a:extLst>
              <a:ext uri="{FF2B5EF4-FFF2-40B4-BE49-F238E27FC236}">
                <a16:creationId xmlns:a16="http://schemas.microsoft.com/office/drawing/2014/main" id="{BF009615-489A-5DA8-222F-36CEB46D77B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292101" y="6395755"/>
            <a:ext cx="1160780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B92DD1CF-7FD4-0FD2-8A65-D0E8F92598D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/>
          <a:p>
            <a:fld id="{3E04DF46-C0DC-4ADC-9A6F-918CC4703A4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Copyright Line">
            <a:extLst>
              <a:ext uri="{FF2B5EF4-FFF2-40B4-BE49-F238E27FC236}">
                <a16:creationId xmlns:a16="http://schemas.microsoft.com/office/drawing/2014/main" id="{D18F1FC4-106D-3BF8-BC65-D648A021FC0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10" y="6526849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>
                <a:solidFill>
                  <a:srgbClr val="BBBBBB"/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rgbClr val="BBBBBB"/>
                </a:solidFill>
              </a:rPr>
              <a:pPr marL="0" marR="0" indent="0" algn="l" defTabSz="9141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>
                <a:solidFill>
                  <a:srgbClr val="BBBBBB"/>
                </a:solidFill>
              </a:rPr>
              <a:t> Nielsen Consumer LLC. All Rights Reserved.</a:t>
            </a:r>
          </a:p>
        </p:txBody>
      </p:sp>
      <p:sp>
        <p:nvSpPr>
          <p:cNvPr id="9" name="Confidential disclaimer">
            <a:extLst>
              <a:ext uri="{FF2B5EF4-FFF2-40B4-BE49-F238E27FC236}">
                <a16:creationId xmlns:a16="http://schemas.microsoft.com/office/drawing/2014/main" id="{60EB3927-CDFF-ACD9-F0B3-0FEB504E449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24" name="Footer Placeholder">
            <a:extLst>
              <a:ext uri="{FF2B5EF4-FFF2-40B4-BE49-F238E27FC236}">
                <a16:creationId xmlns:a16="http://schemas.microsoft.com/office/drawing/2014/main" id="{0F37A136-F043-61EC-31AE-F924E1D07F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3" name="Date Placeholder">
            <a:extLst>
              <a:ext uri="{FF2B5EF4-FFF2-40B4-BE49-F238E27FC236}">
                <a16:creationId xmlns:a16="http://schemas.microsoft.com/office/drawing/2014/main" id="{F83B0E1B-C679-1FAD-01A8-07BEC0BB80C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F42DF71F-30BE-44BA-A536-D8EF81D0364C}" type="datetime1">
              <a:rPr lang="en-GB" smtClean="0"/>
              <a:pPr/>
              <a:t>12/02/2026</a:t>
            </a:fld>
            <a:endParaRPr lang="en-GB"/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811C7246-8A71-F257-DB0D-3E1F23CE69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/>
          </p:nvPr>
        </p:nvSpPr>
        <p:spPr>
          <a:xfrm>
            <a:off x="292101" y="3945964"/>
            <a:ext cx="7121979" cy="1500188"/>
          </a:xfrm>
        </p:spPr>
        <p:txBody>
          <a:bodyPr>
            <a:noAutofit/>
          </a:bodyPr>
          <a:lstStyle>
            <a:lvl1pPr marL="0" indent="0">
              <a:buNone/>
              <a:defRPr sz="1999">
                <a:solidFill>
                  <a:srgbClr val="555555"/>
                </a:solidFill>
              </a:defRPr>
            </a:lvl1pPr>
            <a:lvl2pPr marL="457051" indent="0">
              <a:buNone/>
              <a:defRPr sz="1999">
                <a:solidFill>
                  <a:schemeClr val="tx1">
                    <a:tint val="82000"/>
                  </a:schemeClr>
                </a:solidFill>
              </a:defRPr>
            </a:lvl2pPr>
            <a:lvl3pPr marL="914103" indent="0">
              <a:buNone/>
              <a:defRPr sz="1799">
                <a:solidFill>
                  <a:schemeClr val="tx1">
                    <a:tint val="82000"/>
                  </a:schemeClr>
                </a:solidFill>
              </a:defRPr>
            </a:lvl3pPr>
            <a:lvl4pPr marL="1371154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4pPr>
            <a:lvl5pPr marL="1828206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5pPr>
            <a:lvl6pPr marL="2285257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6pPr>
            <a:lvl7pPr marL="2742308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7pPr>
            <a:lvl8pPr marL="3199360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8pPr>
            <a:lvl9pPr marL="3656411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D9E3A23B-F3DB-B7EF-DCB8-D944C23E6D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1" y="1219202"/>
            <a:ext cx="7121979" cy="2401886"/>
          </a:xfrm>
        </p:spPr>
        <p:txBody>
          <a:bodyPr anchor="b">
            <a:noAutofit/>
          </a:bodyPr>
          <a:lstStyle>
            <a:lvl1pPr>
              <a:defRPr sz="4399">
                <a:solidFill>
                  <a:srgbClr val="555555"/>
                </a:solidFill>
              </a:defRPr>
            </a:lvl1pPr>
          </a:lstStyle>
          <a:p>
            <a:r>
              <a:rPr lang="en-US"/>
              <a:t>Insert your section header title here maximum of three lines</a:t>
            </a:r>
            <a:endParaRPr lang="en-GB"/>
          </a:p>
        </p:txBody>
      </p:sp>
      <p:pic>
        <p:nvPicPr>
          <p:cNvPr id="4" name="NIQ GFK Lockup">
            <a:extLst>
              <a:ext uri="{FF2B5EF4-FFF2-40B4-BE49-F238E27FC236}">
                <a16:creationId xmlns:a16="http://schemas.microsoft.com/office/drawing/2014/main" id="{7DAD8AF9-6DCC-3308-0439-101A1738A84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2627" y="6462285"/>
            <a:ext cx="906224" cy="329184"/>
          </a:xfrm>
          <a:prstGeom prst="rect">
            <a:avLst/>
          </a:prstGeom>
        </p:spPr>
      </p:pic>
      <p:pic>
        <p:nvPicPr>
          <p:cNvPr id="26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B813BB00-9632-73B0-6654-E6FB69F66A0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132" y="6495155"/>
            <a:ext cx="781433" cy="269593"/>
          </a:xfrm>
          <a:prstGeom prst="rect">
            <a:avLst/>
          </a:prstGeom>
        </p:spPr>
      </p:pic>
      <p:pic>
        <p:nvPicPr>
          <p:cNvPr id="5" name="NIQ Logo" hidden="1">
            <a:extLst>
              <a:ext uri="{FF2B5EF4-FFF2-40B4-BE49-F238E27FC236}">
                <a16:creationId xmlns:a16="http://schemas.microsoft.com/office/drawing/2014/main" id="{3FE5C232-E7B5-5DDF-A7C7-8FF7A557AEE9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2101" y="6495100"/>
            <a:ext cx="645459" cy="274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389026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tatic Blue Bkgd">
            <a:extLst>
              <a:ext uri="{FF2B5EF4-FFF2-40B4-BE49-F238E27FC236}">
                <a16:creationId xmlns:a16="http://schemas.microsoft.com/office/drawing/2014/main" id="{D1093FDC-ACBE-C97A-79EC-30B506F3513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D6D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9"/>
          </a:p>
        </p:txBody>
      </p:sp>
      <p:cxnSp>
        <p:nvCxnSpPr>
          <p:cNvPr id="10" name="Base Rule">
            <a:extLst>
              <a:ext uri="{FF2B5EF4-FFF2-40B4-BE49-F238E27FC236}">
                <a16:creationId xmlns:a16="http://schemas.microsoft.com/office/drawing/2014/main" id="{BF009615-489A-5DA8-222F-36CEB46D77B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292101" y="6395755"/>
            <a:ext cx="11607801" cy="0"/>
          </a:xfrm>
          <a:prstGeom prst="line">
            <a:avLst/>
          </a:prstGeom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4E97C96-6264-45A7-BD31-3F850D5B404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3E04DF46-C0DC-4ADC-9A6F-918CC4703A4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Copyright Line">
            <a:extLst>
              <a:ext uri="{FF2B5EF4-FFF2-40B4-BE49-F238E27FC236}">
                <a16:creationId xmlns:a16="http://schemas.microsoft.com/office/drawing/2014/main" id="{D18F1FC4-106D-3BF8-BC65-D648A021FC0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10" y="6526849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>
                <a:solidFill>
                  <a:srgbClr val="BBBBBB"/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rgbClr val="BBBBBB"/>
                </a:solidFill>
              </a:rPr>
              <a:pPr marL="0" marR="0" indent="0" algn="l" defTabSz="9141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>
                <a:solidFill>
                  <a:srgbClr val="BBBBBB"/>
                </a:solidFill>
              </a:rPr>
              <a:t> Nielsen Consumer LLC. All Rights Reserved.</a:t>
            </a:r>
          </a:p>
        </p:txBody>
      </p:sp>
      <p:sp>
        <p:nvSpPr>
          <p:cNvPr id="11" name="Confidential disclaimer">
            <a:extLst>
              <a:ext uri="{FF2B5EF4-FFF2-40B4-BE49-F238E27FC236}">
                <a16:creationId xmlns:a16="http://schemas.microsoft.com/office/drawing/2014/main" id="{6DA018A3-AFD9-D355-AE28-82676195255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9E3F8F0F-7B47-2BB9-7F93-A25C99023E1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solidFill>
            <a:schemeClr val="accent1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51D28747-A5DD-1E44-1383-00C1095A0E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DE0BD3D1-6E87-4D3B-832D-3A9C60D16F09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811C7246-8A71-F257-DB0D-3E1F23CE69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/>
          </p:nvPr>
        </p:nvSpPr>
        <p:spPr>
          <a:xfrm>
            <a:off x="292101" y="3945964"/>
            <a:ext cx="7121979" cy="1500188"/>
          </a:xfrm>
        </p:spPr>
        <p:txBody>
          <a:bodyPr>
            <a:noAutofit/>
          </a:bodyPr>
          <a:lstStyle>
            <a:lvl1pPr marL="0" indent="0">
              <a:buNone/>
              <a:defRPr sz="1999">
                <a:solidFill>
                  <a:srgbClr val="FFFFFF"/>
                </a:solidFill>
              </a:defRPr>
            </a:lvl1pPr>
            <a:lvl2pPr marL="457051" indent="0">
              <a:buNone/>
              <a:defRPr sz="1999">
                <a:solidFill>
                  <a:schemeClr val="tx1">
                    <a:tint val="82000"/>
                  </a:schemeClr>
                </a:solidFill>
              </a:defRPr>
            </a:lvl2pPr>
            <a:lvl3pPr marL="914103" indent="0">
              <a:buNone/>
              <a:defRPr sz="1799">
                <a:solidFill>
                  <a:schemeClr val="tx1">
                    <a:tint val="82000"/>
                  </a:schemeClr>
                </a:solidFill>
              </a:defRPr>
            </a:lvl3pPr>
            <a:lvl4pPr marL="1371154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4pPr>
            <a:lvl5pPr marL="1828206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5pPr>
            <a:lvl6pPr marL="2285257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6pPr>
            <a:lvl7pPr marL="2742308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7pPr>
            <a:lvl8pPr marL="3199360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8pPr>
            <a:lvl9pPr marL="3656411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D9E3A23B-F3DB-B7EF-DCB8-D944C23E6D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1" y="1219202"/>
            <a:ext cx="7121979" cy="2401886"/>
          </a:xfrm>
        </p:spPr>
        <p:txBody>
          <a:bodyPr anchor="b">
            <a:noAutofit/>
          </a:bodyPr>
          <a:lstStyle>
            <a:lvl1pPr>
              <a:defRPr sz="4399">
                <a:solidFill>
                  <a:srgbClr val="FFFFFF"/>
                </a:solidFill>
              </a:defRPr>
            </a:lvl1pPr>
          </a:lstStyle>
          <a:p>
            <a:r>
              <a:rPr lang="en-US"/>
              <a:t>Insert your section header title here maximum of three lines</a:t>
            </a:r>
            <a:endParaRPr lang="en-GB"/>
          </a:p>
        </p:txBody>
      </p:sp>
      <p:pic>
        <p:nvPicPr>
          <p:cNvPr id="14" name="NIQ GFK Lockup">
            <a:extLst>
              <a:ext uri="{FF2B5EF4-FFF2-40B4-BE49-F238E27FC236}">
                <a16:creationId xmlns:a16="http://schemas.microsoft.com/office/drawing/2014/main" id="{EAEBAA35-FD7E-BA1F-342A-81B244F88CF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 rotWithShape="1">
          <a:blip r:embed="rId2"/>
          <a:srcRect l="23" r="23"/>
          <a:stretch/>
        </p:blipFill>
        <p:spPr>
          <a:xfrm>
            <a:off x="302627" y="6462285"/>
            <a:ext cx="906224" cy="329184"/>
          </a:xfrm>
          <a:prstGeom prst="rect">
            <a:avLst/>
          </a:prstGeom>
        </p:spPr>
      </p:pic>
      <p:pic>
        <p:nvPicPr>
          <p:cNvPr id="25" name="NielsenIQ logo+wordmark" hidden="1">
            <a:extLst>
              <a:ext uri="{FF2B5EF4-FFF2-40B4-BE49-F238E27FC236}">
                <a16:creationId xmlns:a16="http://schemas.microsoft.com/office/drawing/2014/main" id="{598FBCD8-A3EE-4A06-6724-A1F5D702756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0133" y="6495155"/>
            <a:ext cx="781428" cy="269593"/>
          </a:xfrm>
          <a:prstGeom prst="rect">
            <a:avLst/>
          </a:prstGeom>
        </p:spPr>
      </p:pic>
      <p:pic>
        <p:nvPicPr>
          <p:cNvPr id="22" name="NIQ Logo" hidden="1">
            <a:extLst>
              <a:ext uri="{FF2B5EF4-FFF2-40B4-BE49-F238E27FC236}">
                <a16:creationId xmlns:a16="http://schemas.microsoft.com/office/drawing/2014/main" id="{C3AC3518-07F7-E20B-4D4C-9D6C3D043778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2101" y="6495100"/>
            <a:ext cx="645459" cy="274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63619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tatic Dark Bkgd">
            <a:extLst>
              <a:ext uri="{FF2B5EF4-FFF2-40B4-BE49-F238E27FC236}">
                <a16:creationId xmlns:a16="http://schemas.microsoft.com/office/drawing/2014/main" id="{D1093FDC-ACBE-C97A-79EC-30B506F3513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60A4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9"/>
          </a:p>
        </p:txBody>
      </p:sp>
      <p:cxnSp>
        <p:nvCxnSpPr>
          <p:cNvPr id="10" name="Base Rule">
            <a:extLst>
              <a:ext uri="{FF2B5EF4-FFF2-40B4-BE49-F238E27FC236}">
                <a16:creationId xmlns:a16="http://schemas.microsoft.com/office/drawing/2014/main" id="{BF009615-489A-5DA8-222F-36CEB46D77B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292101" y="6395755"/>
            <a:ext cx="11607801" cy="0"/>
          </a:xfrm>
          <a:prstGeom prst="line">
            <a:avLst/>
          </a:prstGeom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4E97C96-6264-45A7-BD31-3F850D5B404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3E04DF46-C0DC-4ADC-9A6F-918CC4703A4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Copyright Line">
            <a:extLst>
              <a:ext uri="{FF2B5EF4-FFF2-40B4-BE49-F238E27FC236}">
                <a16:creationId xmlns:a16="http://schemas.microsoft.com/office/drawing/2014/main" id="{D18F1FC4-106D-3BF8-BC65-D648A021FC0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10" y="6526849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>
                <a:solidFill>
                  <a:srgbClr val="BBBBBB"/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rgbClr val="BBBBBB"/>
                </a:solidFill>
              </a:rPr>
              <a:pPr marL="0" marR="0" indent="0" algn="l" defTabSz="9141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>
                <a:solidFill>
                  <a:srgbClr val="BBBBBB"/>
                </a:solidFill>
              </a:rPr>
              <a:t> Nielsen Consumer LLC. All Rights Reserved.</a:t>
            </a:r>
          </a:p>
        </p:txBody>
      </p:sp>
      <p:sp>
        <p:nvSpPr>
          <p:cNvPr id="11" name="Confidential disclaimer">
            <a:extLst>
              <a:ext uri="{FF2B5EF4-FFF2-40B4-BE49-F238E27FC236}">
                <a16:creationId xmlns:a16="http://schemas.microsoft.com/office/drawing/2014/main" id="{E92240A2-16A2-92E0-CB79-8A8DDCBFE3B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9E3F8F0F-7B47-2BB9-7F93-A25C99023E1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solidFill>
            <a:schemeClr val="tx2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51D28747-A5DD-1E44-1383-00C1095A0E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3E59825-7B6A-49C3-B207-8F8E163BC2C4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811C7246-8A71-F257-DB0D-3E1F23CE69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/>
          </p:nvPr>
        </p:nvSpPr>
        <p:spPr>
          <a:xfrm>
            <a:off x="292101" y="3945964"/>
            <a:ext cx="7121979" cy="1500188"/>
          </a:xfrm>
        </p:spPr>
        <p:txBody>
          <a:bodyPr>
            <a:noAutofit/>
          </a:bodyPr>
          <a:lstStyle>
            <a:lvl1pPr marL="0" indent="0">
              <a:buNone/>
              <a:defRPr sz="1999">
                <a:solidFill>
                  <a:srgbClr val="FFFFFF"/>
                </a:solidFill>
              </a:defRPr>
            </a:lvl1pPr>
            <a:lvl2pPr marL="457051" indent="0">
              <a:buNone/>
              <a:defRPr sz="1999">
                <a:solidFill>
                  <a:schemeClr val="tx1">
                    <a:tint val="82000"/>
                  </a:schemeClr>
                </a:solidFill>
              </a:defRPr>
            </a:lvl2pPr>
            <a:lvl3pPr marL="914103" indent="0">
              <a:buNone/>
              <a:defRPr sz="1799">
                <a:solidFill>
                  <a:schemeClr val="tx1">
                    <a:tint val="82000"/>
                  </a:schemeClr>
                </a:solidFill>
              </a:defRPr>
            </a:lvl3pPr>
            <a:lvl4pPr marL="1371154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4pPr>
            <a:lvl5pPr marL="1828206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5pPr>
            <a:lvl6pPr marL="2285257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6pPr>
            <a:lvl7pPr marL="2742308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7pPr>
            <a:lvl8pPr marL="3199360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8pPr>
            <a:lvl9pPr marL="3656411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D9E3A23B-F3DB-B7EF-DCB8-D944C23E6D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1" y="1219202"/>
            <a:ext cx="7121979" cy="2401886"/>
          </a:xfrm>
        </p:spPr>
        <p:txBody>
          <a:bodyPr anchor="b">
            <a:noAutofit/>
          </a:bodyPr>
          <a:lstStyle>
            <a:lvl1pPr>
              <a:defRPr sz="4399">
                <a:solidFill>
                  <a:srgbClr val="FFFFFF"/>
                </a:solidFill>
              </a:defRPr>
            </a:lvl1pPr>
          </a:lstStyle>
          <a:p>
            <a:r>
              <a:rPr lang="en-US"/>
              <a:t>Insert your section header title here maximum of three lines</a:t>
            </a:r>
            <a:endParaRPr lang="en-GB"/>
          </a:p>
        </p:txBody>
      </p:sp>
      <p:pic>
        <p:nvPicPr>
          <p:cNvPr id="9" name="NIQ GFK Lockup">
            <a:extLst>
              <a:ext uri="{FF2B5EF4-FFF2-40B4-BE49-F238E27FC236}">
                <a16:creationId xmlns:a16="http://schemas.microsoft.com/office/drawing/2014/main" id="{F72C93F2-029A-F706-FCA1-C00C6620AA84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/>
          <a:srcRect l="23" r="23"/>
          <a:stretch/>
        </p:blipFill>
        <p:spPr>
          <a:xfrm>
            <a:off x="302627" y="6462285"/>
            <a:ext cx="906224" cy="329184"/>
          </a:xfrm>
          <a:prstGeom prst="rect">
            <a:avLst/>
          </a:prstGeom>
        </p:spPr>
      </p:pic>
      <p:pic>
        <p:nvPicPr>
          <p:cNvPr id="24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30EA2721-2669-7CC1-263F-E48ACB34B73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132" y="6495155"/>
            <a:ext cx="781433" cy="269593"/>
          </a:xfrm>
          <a:prstGeom prst="rect">
            <a:avLst/>
          </a:prstGeom>
        </p:spPr>
      </p:pic>
      <p:pic>
        <p:nvPicPr>
          <p:cNvPr id="22" name="NIQ Logo" hidden="1">
            <a:extLst>
              <a:ext uri="{FF2B5EF4-FFF2-40B4-BE49-F238E27FC236}">
                <a16:creationId xmlns:a16="http://schemas.microsoft.com/office/drawing/2014/main" id="{C2F586F8-1BDB-2AFF-F8FE-C01DC3808778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2101" y="6495100"/>
            <a:ext cx="645459" cy="274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47624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Sideba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tatic Light Bkgd">
            <a:extLst>
              <a:ext uri="{FF2B5EF4-FFF2-40B4-BE49-F238E27FC236}">
                <a16:creationId xmlns:a16="http://schemas.microsoft.com/office/drawing/2014/main" id="{D1093FDC-ACBE-C97A-79EC-30B506F3513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9"/>
          </a:p>
        </p:txBody>
      </p:sp>
      <p:sp>
        <p:nvSpPr>
          <p:cNvPr id="11" name="Block Bkgd">
            <a:extLst>
              <a:ext uri="{FF2B5EF4-FFF2-40B4-BE49-F238E27FC236}">
                <a16:creationId xmlns:a16="http://schemas.microsoft.com/office/drawing/2014/main" id="{61051253-1566-C6AD-277E-C41693FE3B9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" y="0"/>
            <a:ext cx="400291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799" err="1"/>
          </a:p>
        </p:txBody>
      </p:sp>
      <p:cxnSp>
        <p:nvCxnSpPr>
          <p:cNvPr id="16" name="Base Rule">
            <a:extLst>
              <a:ext uri="{FF2B5EF4-FFF2-40B4-BE49-F238E27FC236}">
                <a16:creationId xmlns:a16="http://schemas.microsoft.com/office/drawing/2014/main" id="{A76E5B64-AFD0-1002-8187-608F612A25A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4237039" y="6395755"/>
            <a:ext cx="7662863" cy="0"/>
          </a:xfrm>
          <a:prstGeom prst="line">
            <a:avLst/>
          </a:prstGeom>
          <a:ln w="12700">
            <a:solidFill>
              <a:srgbClr val="5555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lide Number Placeholder">
            <a:extLst>
              <a:ext uri="{FF2B5EF4-FFF2-40B4-BE49-F238E27FC236}">
                <a16:creationId xmlns:a16="http://schemas.microsoft.com/office/drawing/2014/main" id="{6FB508FF-12E5-30CD-260F-1D79AD32367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8" y="6485400"/>
            <a:ext cx="404321" cy="282957"/>
          </a:xfrm>
        </p:spPr>
        <p:txBody>
          <a:bodyPr/>
          <a:lstStyle/>
          <a:p>
            <a:fld id="{3E04DF46-C0DC-4ADC-9A6F-918CC4703A4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Copyright Line">
            <a:extLst>
              <a:ext uri="{FF2B5EF4-FFF2-40B4-BE49-F238E27FC236}">
                <a16:creationId xmlns:a16="http://schemas.microsoft.com/office/drawing/2014/main" id="{148E64DD-C38D-F907-E20C-F3A4311DD32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10" y="6526851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>
                <a:solidFill>
                  <a:schemeClr val="tx1">
                    <a:lumMod val="40000"/>
                    <a:lumOff val="60000"/>
                  </a:schemeClr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pPr marL="0" marR="0" indent="0" algn="l" defTabSz="9141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>
                <a:solidFill>
                  <a:schemeClr val="tx1">
                    <a:lumMod val="40000"/>
                    <a:lumOff val="60000"/>
                  </a:schemeClr>
                </a:solidFill>
              </a:rPr>
              <a:t> Nielsen Consumer LLC. All Rights Reserved.</a:t>
            </a:r>
          </a:p>
        </p:txBody>
      </p:sp>
      <p:sp>
        <p:nvSpPr>
          <p:cNvPr id="14" name="Confidential disclaimer">
            <a:extLst>
              <a:ext uri="{FF2B5EF4-FFF2-40B4-BE49-F238E27FC236}">
                <a16:creationId xmlns:a16="http://schemas.microsoft.com/office/drawing/2014/main" id="{8190ED14-46E2-2B63-6E09-DC52ACE59C3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26" name="Footer Placeholder">
            <a:extLst>
              <a:ext uri="{FF2B5EF4-FFF2-40B4-BE49-F238E27FC236}">
                <a16:creationId xmlns:a16="http://schemas.microsoft.com/office/drawing/2014/main" id="{E183FCE9-1380-C908-3210-D1CC81C316C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4237039" y="6485400"/>
            <a:ext cx="3056524" cy="282957"/>
          </a:xfrm>
        </p:spPr>
        <p:txBody>
          <a:bodyPr/>
          <a:lstStyle/>
          <a:p>
            <a:endParaRPr lang="en-GB"/>
          </a:p>
        </p:txBody>
      </p:sp>
      <p:sp>
        <p:nvSpPr>
          <p:cNvPr id="10" name="Source Placeholder">
            <a:extLst>
              <a:ext uri="{FF2B5EF4-FFF2-40B4-BE49-F238E27FC236}">
                <a16:creationId xmlns:a16="http://schemas.microsoft.com/office/drawing/2014/main" id="{77FED749-9C39-81DD-7428-E91EAF740A9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4237036" y="6108701"/>
            <a:ext cx="7662864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395" lvl="0" indent="-171395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13" name="Content Placeholder">
            <a:extLst>
              <a:ext uri="{FF2B5EF4-FFF2-40B4-BE49-F238E27FC236}">
                <a16:creationId xmlns:a16="http://schemas.microsoft.com/office/drawing/2014/main" id="{4EA26CDB-5FFD-8E65-BB9F-B583607F097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5"/>
          </p:nvPr>
        </p:nvSpPr>
        <p:spPr>
          <a:xfrm>
            <a:off x="4237038" y="1219200"/>
            <a:ext cx="7662863" cy="4457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811C7246-8A71-F257-DB0D-3E1F23CE69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1" y="3945964"/>
            <a:ext cx="3409043" cy="1500188"/>
          </a:xfrm>
        </p:spPr>
        <p:txBody>
          <a:bodyPr>
            <a:noAutofit/>
          </a:bodyPr>
          <a:lstStyle>
            <a:lvl1pPr marL="0" indent="0">
              <a:buNone/>
              <a:defRPr sz="1999">
                <a:solidFill>
                  <a:schemeClr val="tx1"/>
                </a:solidFill>
              </a:defRPr>
            </a:lvl1pPr>
            <a:lvl2pPr marL="457051" indent="0">
              <a:buNone/>
              <a:defRPr sz="1999">
                <a:solidFill>
                  <a:schemeClr val="tx1">
                    <a:tint val="82000"/>
                  </a:schemeClr>
                </a:solidFill>
              </a:defRPr>
            </a:lvl2pPr>
            <a:lvl3pPr marL="914103" indent="0">
              <a:buNone/>
              <a:defRPr sz="1799">
                <a:solidFill>
                  <a:schemeClr val="tx1">
                    <a:tint val="82000"/>
                  </a:schemeClr>
                </a:solidFill>
              </a:defRPr>
            </a:lvl3pPr>
            <a:lvl4pPr marL="1371154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4pPr>
            <a:lvl5pPr marL="1828206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5pPr>
            <a:lvl6pPr marL="2285257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6pPr>
            <a:lvl7pPr marL="2742308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7pPr>
            <a:lvl8pPr marL="3199360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8pPr>
            <a:lvl9pPr marL="3656411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add section subtitle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D9E3A23B-F3DB-B7EF-DCB8-D944C23E6D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1" y="1219202"/>
            <a:ext cx="3409043" cy="2401886"/>
          </a:xfrm>
        </p:spPr>
        <p:txBody>
          <a:bodyPr anchor="b">
            <a:noAutofit/>
          </a:bodyPr>
          <a:lstStyle>
            <a:lvl1pPr>
              <a:defRPr sz="4399">
                <a:solidFill>
                  <a:schemeClr val="tx1"/>
                </a:solidFill>
              </a:defRPr>
            </a:lvl1pPr>
          </a:lstStyle>
          <a:p>
            <a:r>
              <a:rPr lang="en-US"/>
              <a:t>Section header</a:t>
            </a:r>
            <a:endParaRPr lang="en-GB"/>
          </a:p>
        </p:txBody>
      </p:sp>
      <p:pic>
        <p:nvPicPr>
          <p:cNvPr id="4" name="NIQ GFK Lockup">
            <a:extLst>
              <a:ext uri="{FF2B5EF4-FFF2-40B4-BE49-F238E27FC236}">
                <a16:creationId xmlns:a16="http://schemas.microsoft.com/office/drawing/2014/main" id="{EA4F8456-F302-1F9F-CB79-F96F7FF403B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2627" y="6462285"/>
            <a:ext cx="906224" cy="329184"/>
          </a:xfrm>
          <a:prstGeom prst="rect">
            <a:avLst/>
          </a:prstGeom>
        </p:spPr>
      </p:pic>
      <p:pic>
        <p:nvPicPr>
          <p:cNvPr id="5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E5214B10-6ABB-0EB3-4E33-9E9E477DD15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132" y="6495155"/>
            <a:ext cx="781433" cy="269593"/>
          </a:xfrm>
          <a:prstGeom prst="rect">
            <a:avLst/>
          </a:prstGeom>
        </p:spPr>
      </p:pic>
      <p:pic>
        <p:nvPicPr>
          <p:cNvPr id="6" name="NIQ Logo" hidden="1">
            <a:extLst>
              <a:ext uri="{FF2B5EF4-FFF2-40B4-BE49-F238E27FC236}">
                <a16:creationId xmlns:a16="http://schemas.microsoft.com/office/drawing/2014/main" id="{A9B1FD76-BF8D-8EEE-6EC7-E0AC284E58CD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2101" y="6495100"/>
            <a:ext cx="645459" cy="274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8921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big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25EC39D-88B9-67E2-DD98-DA61BF97259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0" y="0"/>
            <a:ext cx="10704512" cy="6858000"/>
          </a:xfrm>
          <a:custGeom>
            <a:avLst/>
            <a:gdLst>
              <a:gd name="connsiteX0" fmla="*/ 0 w 10632504"/>
              <a:gd name="connsiteY0" fmla="*/ 0 h 6858000"/>
              <a:gd name="connsiteX1" fmla="*/ 10632504 w 10632504"/>
              <a:gd name="connsiteY1" fmla="*/ 0 h 6858000"/>
              <a:gd name="connsiteX2" fmla="*/ 10632504 w 10632504"/>
              <a:gd name="connsiteY2" fmla="*/ 6858000 h 6858000"/>
              <a:gd name="connsiteX3" fmla="*/ 0 w 1063250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632504" h="6858000">
                <a:moveTo>
                  <a:pt x="0" y="0"/>
                </a:moveTo>
                <a:lnTo>
                  <a:pt x="10632504" y="0"/>
                </a:lnTo>
                <a:lnTo>
                  <a:pt x="106325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285" name="Source">
            <a:extLst>
              <a:ext uri="{FF2B5EF4-FFF2-40B4-BE49-F238E27FC236}">
                <a16:creationId xmlns:a16="http://schemas.microsoft.com/office/drawing/2014/main" id="{4FD5BD59-3BB3-4388-9EA8-4404672D38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87488" y="6525360"/>
            <a:ext cx="864096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sp>
        <p:nvSpPr>
          <p:cNvPr id="280" name="Title">
            <a:extLst>
              <a:ext uri="{FF2B5EF4-FFF2-40B4-BE49-F238E27FC236}">
                <a16:creationId xmlns:a16="http://schemas.microsoft.com/office/drawing/2014/main" id="{9F73BC7C-461B-4374-A3A1-113AB5807B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2699" y="2060848"/>
            <a:ext cx="3454514" cy="3455987"/>
          </a:xfrm>
          <a:custGeom>
            <a:avLst/>
            <a:gdLst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517775 w 3022600"/>
              <a:gd name="connsiteY2" fmla="*/ 2520950 h 3024187"/>
              <a:gd name="connsiteX3" fmla="*/ 0 w 3022600"/>
              <a:gd name="connsiteY3" fmla="*/ 3024187 h 3024187"/>
              <a:gd name="connsiteX0" fmla="*/ 0 w 2882900"/>
              <a:gd name="connsiteY0" fmla="*/ 0 h 3024187"/>
              <a:gd name="connsiteX1" fmla="*/ 2882900 w 2882900"/>
              <a:gd name="connsiteY1" fmla="*/ 0 h 3024187"/>
              <a:gd name="connsiteX2" fmla="*/ 2517775 w 2882900"/>
              <a:gd name="connsiteY2" fmla="*/ 2520950 h 3024187"/>
              <a:gd name="connsiteX3" fmla="*/ 0 w 2882900"/>
              <a:gd name="connsiteY3" fmla="*/ 3024187 h 3024187"/>
              <a:gd name="connsiteX4" fmla="*/ 0 w 2882900"/>
              <a:gd name="connsiteY4" fmla="*/ 0 h 3024187"/>
              <a:gd name="connsiteX0" fmla="*/ 0 w 2882900"/>
              <a:gd name="connsiteY0" fmla="*/ 0 h 3455987"/>
              <a:gd name="connsiteX1" fmla="*/ 2882900 w 2882900"/>
              <a:gd name="connsiteY1" fmla="*/ 0 h 3455987"/>
              <a:gd name="connsiteX2" fmla="*/ 2517775 w 2882900"/>
              <a:gd name="connsiteY2" fmla="*/ 2520950 h 3455987"/>
              <a:gd name="connsiteX3" fmla="*/ 0 w 2882900"/>
              <a:gd name="connsiteY3" fmla="*/ 3455987 h 3455987"/>
              <a:gd name="connsiteX4" fmla="*/ 0 w 2882900"/>
              <a:gd name="connsiteY4" fmla="*/ 0 h 3455987"/>
              <a:gd name="connsiteX0" fmla="*/ 0 w 2882900"/>
              <a:gd name="connsiteY0" fmla="*/ 0 h 3455987"/>
              <a:gd name="connsiteX1" fmla="*/ 2882900 w 2882900"/>
              <a:gd name="connsiteY1" fmla="*/ 0 h 3455987"/>
              <a:gd name="connsiteX2" fmla="*/ 2411790 w 2882900"/>
              <a:gd name="connsiteY2" fmla="*/ 2330450 h 3455987"/>
              <a:gd name="connsiteX3" fmla="*/ 0 w 2882900"/>
              <a:gd name="connsiteY3" fmla="*/ 3455987 h 3455987"/>
              <a:gd name="connsiteX4" fmla="*/ 0 w 2882900"/>
              <a:gd name="connsiteY4" fmla="*/ 0 h 3455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2900" h="3455987">
                <a:moveTo>
                  <a:pt x="0" y="0"/>
                </a:moveTo>
                <a:lnTo>
                  <a:pt x="2882900" y="0"/>
                </a:lnTo>
                <a:lnTo>
                  <a:pt x="2411790" y="2330450"/>
                </a:lnTo>
                <a:lnTo>
                  <a:pt x="0" y="345598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324000" tIns="288000" rIns="288000">
            <a:noAutofit/>
          </a:bodyPr>
          <a:lstStyle>
            <a:lvl1pPr marL="355600" indent="-355600"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GB"/>
              <a:t>1	Insert Chapter title here in max. 3 lines</a:t>
            </a:r>
          </a:p>
        </p:txBody>
      </p:sp>
      <p:sp>
        <p:nvSpPr>
          <p:cNvPr id="281" name="Subtitle 2">
            <a:extLst>
              <a:ext uri="{FF2B5EF4-FFF2-40B4-BE49-F238E27FC236}">
                <a16:creationId xmlns:a16="http://schemas.microsoft.com/office/drawing/2014/main" id="{C62B0A6C-F8C8-4CAE-980D-DAAE4106DEF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911424" y="3572844"/>
            <a:ext cx="3024336" cy="792260"/>
          </a:xfrm>
          <a:prstGeom prst="rect">
            <a:avLst/>
          </a:prstGeom>
          <a:noFill/>
          <a:ln w="0">
            <a:noFill/>
          </a:ln>
        </p:spPr>
        <p:txBody>
          <a:bodyPr lIns="32400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EC74CDF-EF49-0042-0B47-6CDF8DBCA5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45ACA46C-1C7F-4332-8D39-59B2E14A9C96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EB2C21F-6161-81E4-AB9C-4903B384B7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47BFFF-821F-4545-49EA-12E46EAA08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6763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Blue Sideba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tatic Light Bkgd">
            <a:extLst>
              <a:ext uri="{FF2B5EF4-FFF2-40B4-BE49-F238E27FC236}">
                <a16:creationId xmlns:a16="http://schemas.microsoft.com/office/drawing/2014/main" id="{D1093FDC-ACBE-C97A-79EC-30B506F3513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9"/>
          </a:p>
        </p:txBody>
      </p:sp>
      <p:sp>
        <p:nvSpPr>
          <p:cNvPr id="11" name="Block Bkgd">
            <a:extLst>
              <a:ext uri="{FF2B5EF4-FFF2-40B4-BE49-F238E27FC236}">
                <a16:creationId xmlns:a16="http://schemas.microsoft.com/office/drawing/2014/main" id="{61051253-1566-C6AD-277E-C41693FE3B9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" y="0"/>
            <a:ext cx="400291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799" err="1"/>
          </a:p>
        </p:txBody>
      </p:sp>
      <p:cxnSp>
        <p:nvCxnSpPr>
          <p:cNvPr id="16" name="Base Rule">
            <a:extLst>
              <a:ext uri="{FF2B5EF4-FFF2-40B4-BE49-F238E27FC236}">
                <a16:creationId xmlns:a16="http://schemas.microsoft.com/office/drawing/2014/main" id="{A76E5B64-AFD0-1002-8187-608F612A25A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4237039" y="6395755"/>
            <a:ext cx="7662863" cy="0"/>
          </a:xfrm>
          <a:prstGeom prst="line">
            <a:avLst/>
          </a:prstGeom>
          <a:ln w="12700">
            <a:solidFill>
              <a:srgbClr val="5555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lide Number Placeholder">
            <a:extLst>
              <a:ext uri="{FF2B5EF4-FFF2-40B4-BE49-F238E27FC236}">
                <a16:creationId xmlns:a16="http://schemas.microsoft.com/office/drawing/2014/main" id="{6FB508FF-12E5-30CD-260F-1D79AD32367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/>
          <a:p>
            <a:fld id="{3E04DF46-C0DC-4ADC-9A6F-918CC4703A4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Copyright Line">
            <a:extLst>
              <a:ext uri="{FF2B5EF4-FFF2-40B4-BE49-F238E27FC236}">
                <a16:creationId xmlns:a16="http://schemas.microsoft.com/office/drawing/2014/main" id="{785C4202-84F8-8C2C-1D92-57E97078C48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10" y="6526851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>
                <a:solidFill>
                  <a:schemeClr val="tx1">
                    <a:lumMod val="40000"/>
                    <a:lumOff val="60000"/>
                  </a:schemeClr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pPr marL="0" marR="0" indent="0" algn="l" defTabSz="9141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>
                <a:solidFill>
                  <a:schemeClr val="tx1">
                    <a:lumMod val="40000"/>
                    <a:lumOff val="60000"/>
                  </a:schemeClr>
                </a:solidFill>
              </a:rPr>
              <a:t> Nielsen Consumer LLC. All Rights Reserved.</a:t>
            </a:r>
          </a:p>
        </p:txBody>
      </p:sp>
      <p:sp>
        <p:nvSpPr>
          <p:cNvPr id="13" name="Confidential disclaimer">
            <a:extLst>
              <a:ext uri="{FF2B5EF4-FFF2-40B4-BE49-F238E27FC236}">
                <a16:creationId xmlns:a16="http://schemas.microsoft.com/office/drawing/2014/main" id="{E096164C-17A9-3CC9-A52F-D0B4EEA62BD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26" name="Footer Placeholder">
            <a:extLst>
              <a:ext uri="{FF2B5EF4-FFF2-40B4-BE49-F238E27FC236}">
                <a16:creationId xmlns:a16="http://schemas.microsoft.com/office/drawing/2014/main" id="{E183FCE9-1380-C908-3210-D1CC81C316C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4237039" y="6485400"/>
            <a:ext cx="3056523" cy="282957"/>
          </a:xfrm>
        </p:spPr>
        <p:txBody>
          <a:bodyPr/>
          <a:lstStyle/>
          <a:p>
            <a:endParaRPr lang="en-GB"/>
          </a:p>
        </p:txBody>
      </p:sp>
      <p:sp>
        <p:nvSpPr>
          <p:cNvPr id="4" name="Source Placeholder">
            <a:extLst>
              <a:ext uri="{FF2B5EF4-FFF2-40B4-BE49-F238E27FC236}">
                <a16:creationId xmlns:a16="http://schemas.microsoft.com/office/drawing/2014/main" id="{7336FA02-79CA-726F-511F-D79250B8761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4237036" y="6108701"/>
            <a:ext cx="7662864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395" lvl="0" indent="-171395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10" name="Content Placeholder">
            <a:extLst>
              <a:ext uri="{FF2B5EF4-FFF2-40B4-BE49-F238E27FC236}">
                <a16:creationId xmlns:a16="http://schemas.microsoft.com/office/drawing/2014/main" id="{F249C353-5497-424D-4C80-DA025B85CF0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5"/>
          </p:nvPr>
        </p:nvSpPr>
        <p:spPr>
          <a:xfrm>
            <a:off x="4237038" y="1219200"/>
            <a:ext cx="7662863" cy="4457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811C7246-8A71-F257-DB0D-3E1F23CE69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1" y="3945964"/>
            <a:ext cx="3409043" cy="1500188"/>
          </a:xfrm>
        </p:spPr>
        <p:txBody>
          <a:bodyPr>
            <a:noAutofit/>
          </a:bodyPr>
          <a:lstStyle>
            <a:lvl1pPr marL="0" indent="0">
              <a:buNone/>
              <a:defRPr sz="1999">
                <a:solidFill>
                  <a:srgbClr val="FFFFFF"/>
                </a:solidFill>
              </a:defRPr>
            </a:lvl1pPr>
            <a:lvl2pPr marL="457051" indent="0">
              <a:buNone/>
              <a:defRPr sz="1999">
                <a:solidFill>
                  <a:schemeClr val="tx1">
                    <a:tint val="82000"/>
                  </a:schemeClr>
                </a:solidFill>
              </a:defRPr>
            </a:lvl2pPr>
            <a:lvl3pPr marL="914103" indent="0">
              <a:buNone/>
              <a:defRPr sz="1799">
                <a:solidFill>
                  <a:schemeClr val="tx1">
                    <a:tint val="82000"/>
                  </a:schemeClr>
                </a:solidFill>
              </a:defRPr>
            </a:lvl3pPr>
            <a:lvl4pPr marL="1371154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4pPr>
            <a:lvl5pPr marL="1828206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5pPr>
            <a:lvl6pPr marL="2285257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6pPr>
            <a:lvl7pPr marL="2742308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7pPr>
            <a:lvl8pPr marL="3199360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8pPr>
            <a:lvl9pPr marL="3656411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add section subtitle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D9E3A23B-F3DB-B7EF-DCB8-D944C23E6D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1" y="1219202"/>
            <a:ext cx="3409043" cy="2401886"/>
          </a:xfrm>
        </p:spPr>
        <p:txBody>
          <a:bodyPr anchor="b">
            <a:noAutofit/>
          </a:bodyPr>
          <a:lstStyle>
            <a:lvl1pPr>
              <a:defRPr sz="4399">
                <a:solidFill>
                  <a:srgbClr val="FFFFFF"/>
                </a:solidFill>
              </a:defRPr>
            </a:lvl1pPr>
          </a:lstStyle>
          <a:p>
            <a:r>
              <a:rPr lang="en-US"/>
              <a:t>Section header</a:t>
            </a:r>
            <a:endParaRPr lang="en-GB"/>
          </a:p>
        </p:txBody>
      </p:sp>
      <p:pic>
        <p:nvPicPr>
          <p:cNvPr id="6" name="NIQ GFK Lockup">
            <a:extLst>
              <a:ext uri="{FF2B5EF4-FFF2-40B4-BE49-F238E27FC236}">
                <a16:creationId xmlns:a16="http://schemas.microsoft.com/office/drawing/2014/main" id="{EF6F7CF4-822A-D8B2-DFDA-1C3EAA869029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/>
          <a:srcRect l="23" r="23"/>
          <a:stretch/>
        </p:blipFill>
        <p:spPr>
          <a:xfrm>
            <a:off x="302627" y="6462285"/>
            <a:ext cx="906224" cy="329184"/>
          </a:xfrm>
          <a:prstGeom prst="rect">
            <a:avLst/>
          </a:prstGeom>
        </p:spPr>
      </p:pic>
      <p:pic>
        <p:nvPicPr>
          <p:cNvPr id="5" name="NielsenIQ logo+wordmark" hidden="1">
            <a:extLst>
              <a:ext uri="{FF2B5EF4-FFF2-40B4-BE49-F238E27FC236}">
                <a16:creationId xmlns:a16="http://schemas.microsoft.com/office/drawing/2014/main" id="{32C28E02-2118-88F0-2B78-22254A5F217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0133" y="6495155"/>
            <a:ext cx="781428" cy="269593"/>
          </a:xfrm>
          <a:prstGeom prst="rect">
            <a:avLst/>
          </a:prstGeom>
        </p:spPr>
      </p:pic>
      <p:pic>
        <p:nvPicPr>
          <p:cNvPr id="9" name="NIQ Logo" hidden="1">
            <a:extLst>
              <a:ext uri="{FF2B5EF4-FFF2-40B4-BE49-F238E27FC236}">
                <a16:creationId xmlns:a16="http://schemas.microsoft.com/office/drawing/2014/main" id="{557F1CC3-9C99-3BC3-AD92-FB8503D927CF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2101" y="6495100"/>
            <a:ext cx="645459" cy="274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79200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Dark Sideba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tatic Light Bkgd">
            <a:extLst>
              <a:ext uri="{FF2B5EF4-FFF2-40B4-BE49-F238E27FC236}">
                <a16:creationId xmlns:a16="http://schemas.microsoft.com/office/drawing/2014/main" id="{D1093FDC-ACBE-C97A-79EC-30B506F3513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9"/>
          </a:p>
        </p:txBody>
      </p:sp>
      <p:sp>
        <p:nvSpPr>
          <p:cNvPr id="11" name="Block Bkgd">
            <a:extLst>
              <a:ext uri="{FF2B5EF4-FFF2-40B4-BE49-F238E27FC236}">
                <a16:creationId xmlns:a16="http://schemas.microsoft.com/office/drawing/2014/main" id="{61051253-1566-C6AD-277E-C41693FE3B9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" y="0"/>
            <a:ext cx="4002916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799" err="1"/>
          </a:p>
        </p:txBody>
      </p:sp>
      <p:cxnSp>
        <p:nvCxnSpPr>
          <p:cNvPr id="16" name="Base Rule">
            <a:extLst>
              <a:ext uri="{FF2B5EF4-FFF2-40B4-BE49-F238E27FC236}">
                <a16:creationId xmlns:a16="http://schemas.microsoft.com/office/drawing/2014/main" id="{A76E5B64-AFD0-1002-8187-608F612A25A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4237039" y="6395755"/>
            <a:ext cx="7662863" cy="0"/>
          </a:xfrm>
          <a:prstGeom prst="line">
            <a:avLst/>
          </a:prstGeom>
          <a:ln w="12700">
            <a:solidFill>
              <a:srgbClr val="5555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lide Number Placeholder">
            <a:extLst>
              <a:ext uri="{FF2B5EF4-FFF2-40B4-BE49-F238E27FC236}">
                <a16:creationId xmlns:a16="http://schemas.microsoft.com/office/drawing/2014/main" id="{6FB508FF-12E5-30CD-260F-1D79AD32367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/>
          <a:p>
            <a:fld id="{3E04DF46-C0DC-4ADC-9A6F-918CC4703A4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Copyright Line">
            <a:extLst>
              <a:ext uri="{FF2B5EF4-FFF2-40B4-BE49-F238E27FC236}">
                <a16:creationId xmlns:a16="http://schemas.microsoft.com/office/drawing/2014/main" id="{ABBC6E03-863D-FD63-7C57-491D7ADA71A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10" y="6526851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>
                <a:solidFill>
                  <a:schemeClr val="tx1">
                    <a:lumMod val="40000"/>
                    <a:lumOff val="60000"/>
                  </a:schemeClr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pPr marL="0" marR="0" indent="0" algn="l" defTabSz="9141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>
                <a:solidFill>
                  <a:schemeClr val="tx1">
                    <a:lumMod val="40000"/>
                    <a:lumOff val="60000"/>
                  </a:schemeClr>
                </a:solidFill>
              </a:rPr>
              <a:t> Nielsen Consumer LLC. All Rights Reserved.</a:t>
            </a:r>
          </a:p>
        </p:txBody>
      </p:sp>
      <p:sp>
        <p:nvSpPr>
          <p:cNvPr id="4" name="Confidential disclaimer">
            <a:extLst>
              <a:ext uri="{FF2B5EF4-FFF2-40B4-BE49-F238E27FC236}">
                <a16:creationId xmlns:a16="http://schemas.microsoft.com/office/drawing/2014/main" id="{C0846810-8BC5-01F8-F631-25773D83754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26" name="Footer Placeholder">
            <a:extLst>
              <a:ext uri="{FF2B5EF4-FFF2-40B4-BE49-F238E27FC236}">
                <a16:creationId xmlns:a16="http://schemas.microsoft.com/office/drawing/2014/main" id="{E183FCE9-1380-C908-3210-D1CC81C316C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4237039" y="6485400"/>
            <a:ext cx="3056524" cy="282957"/>
          </a:xfrm>
        </p:spPr>
        <p:txBody>
          <a:bodyPr/>
          <a:lstStyle/>
          <a:p>
            <a:endParaRPr lang="en-GB"/>
          </a:p>
        </p:txBody>
      </p:sp>
      <p:sp>
        <p:nvSpPr>
          <p:cNvPr id="10" name="Source Placeholder">
            <a:extLst>
              <a:ext uri="{FF2B5EF4-FFF2-40B4-BE49-F238E27FC236}">
                <a16:creationId xmlns:a16="http://schemas.microsoft.com/office/drawing/2014/main" id="{77FED749-9C39-81DD-7428-E91EAF740A9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4237036" y="6108701"/>
            <a:ext cx="7662864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395" lvl="0" indent="-171395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13" name="Content Placeholder">
            <a:extLst>
              <a:ext uri="{FF2B5EF4-FFF2-40B4-BE49-F238E27FC236}">
                <a16:creationId xmlns:a16="http://schemas.microsoft.com/office/drawing/2014/main" id="{4EA26CDB-5FFD-8E65-BB9F-B583607F097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5"/>
          </p:nvPr>
        </p:nvSpPr>
        <p:spPr>
          <a:xfrm>
            <a:off x="4237038" y="1219200"/>
            <a:ext cx="7662863" cy="4457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811C7246-8A71-F257-DB0D-3E1F23CE69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1" y="3945964"/>
            <a:ext cx="3409043" cy="1500188"/>
          </a:xfrm>
        </p:spPr>
        <p:txBody>
          <a:bodyPr>
            <a:noAutofit/>
          </a:bodyPr>
          <a:lstStyle>
            <a:lvl1pPr marL="0" indent="0">
              <a:buNone/>
              <a:defRPr sz="1999">
                <a:solidFill>
                  <a:schemeClr val="bg1"/>
                </a:solidFill>
              </a:defRPr>
            </a:lvl1pPr>
            <a:lvl2pPr marL="457051" indent="0">
              <a:buNone/>
              <a:defRPr sz="1999">
                <a:solidFill>
                  <a:schemeClr val="tx1">
                    <a:tint val="82000"/>
                  </a:schemeClr>
                </a:solidFill>
              </a:defRPr>
            </a:lvl2pPr>
            <a:lvl3pPr marL="914103" indent="0">
              <a:buNone/>
              <a:defRPr sz="1799">
                <a:solidFill>
                  <a:schemeClr val="tx1">
                    <a:tint val="82000"/>
                  </a:schemeClr>
                </a:solidFill>
              </a:defRPr>
            </a:lvl3pPr>
            <a:lvl4pPr marL="1371154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4pPr>
            <a:lvl5pPr marL="1828206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5pPr>
            <a:lvl6pPr marL="2285257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6pPr>
            <a:lvl7pPr marL="2742308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7pPr>
            <a:lvl8pPr marL="3199360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8pPr>
            <a:lvl9pPr marL="3656411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add section subtitle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D9E3A23B-F3DB-B7EF-DCB8-D944C23E6D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1" y="1219202"/>
            <a:ext cx="3409043" cy="2401886"/>
          </a:xfrm>
        </p:spPr>
        <p:txBody>
          <a:bodyPr anchor="b">
            <a:noAutofit/>
          </a:bodyPr>
          <a:lstStyle>
            <a:lvl1pPr>
              <a:defRPr sz="4399">
                <a:solidFill>
                  <a:schemeClr val="bg1"/>
                </a:solidFill>
              </a:defRPr>
            </a:lvl1pPr>
          </a:lstStyle>
          <a:p>
            <a:r>
              <a:rPr lang="en-US"/>
              <a:t>Section header</a:t>
            </a:r>
            <a:endParaRPr lang="en-GB"/>
          </a:p>
        </p:txBody>
      </p:sp>
      <p:pic>
        <p:nvPicPr>
          <p:cNvPr id="8" name="NIQ GFK Lockup">
            <a:extLst>
              <a:ext uri="{FF2B5EF4-FFF2-40B4-BE49-F238E27FC236}">
                <a16:creationId xmlns:a16="http://schemas.microsoft.com/office/drawing/2014/main" id="{23E903F1-B6FB-BED6-3501-293C1130DA4F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/>
          <a:srcRect l="23" r="23"/>
          <a:stretch/>
        </p:blipFill>
        <p:spPr>
          <a:xfrm>
            <a:off x="302627" y="6462285"/>
            <a:ext cx="906224" cy="329184"/>
          </a:xfrm>
          <a:prstGeom prst="rect">
            <a:avLst/>
          </a:prstGeom>
        </p:spPr>
      </p:pic>
      <p:pic>
        <p:nvPicPr>
          <p:cNvPr id="5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E5214B10-6ABB-0EB3-4E33-9E9E477DD15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132" y="6495155"/>
            <a:ext cx="781433" cy="269593"/>
          </a:xfrm>
          <a:prstGeom prst="rect">
            <a:avLst/>
          </a:prstGeom>
        </p:spPr>
      </p:pic>
      <p:pic>
        <p:nvPicPr>
          <p:cNvPr id="6" name="NIQ Logo" hidden="1">
            <a:extLst>
              <a:ext uri="{FF2B5EF4-FFF2-40B4-BE49-F238E27FC236}">
                <a16:creationId xmlns:a16="http://schemas.microsoft.com/office/drawing/2014/main" id="{A9B1FD76-BF8D-8EEE-6EC7-E0AC284E58CD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2101" y="6495100"/>
            <a:ext cx="645459" cy="274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4151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48587361-5CC7-9C7F-BD1C-0A8CE32B90E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/>
          <a:p>
            <a:fld id="{3E04DF46-C0DC-4ADC-9A6F-918CC4703A4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889C55DD-275C-EFE2-8883-9CF82493650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Date Placeholder">
            <a:extLst>
              <a:ext uri="{FF2B5EF4-FFF2-40B4-BE49-F238E27FC236}">
                <a16:creationId xmlns:a16="http://schemas.microsoft.com/office/drawing/2014/main" id="{66F49418-AA9F-5CA7-31F1-168499F3D8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A95ACABD-257F-48AB-94D3-B913B9097175}" type="datetime1">
              <a:rPr lang="en-GB" smtClean="0"/>
              <a:t>12/02/2026</a:t>
            </a:fld>
            <a:endParaRPr lang="en-GB"/>
          </a:p>
        </p:txBody>
      </p:sp>
      <p:sp>
        <p:nvSpPr>
          <p:cNvPr id="12" name="Source Placeholder">
            <a:extLst>
              <a:ext uri="{FF2B5EF4-FFF2-40B4-BE49-F238E27FC236}">
                <a16:creationId xmlns:a16="http://schemas.microsoft.com/office/drawing/2014/main" id="{E0FBE8A5-CBE4-7896-370D-0C351238E6E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1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395" lvl="0" indent="-171395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6" name="Content 2 Placeholder">
            <a:extLst>
              <a:ext uri="{FF2B5EF4-FFF2-40B4-BE49-F238E27FC236}">
                <a16:creationId xmlns:a16="http://schemas.microsoft.com/office/drawing/2014/main" id="{F2EB2B90-CA72-0453-8C46-7140538197A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4" hasCustomPrompt="1"/>
          </p:nvPr>
        </p:nvSpPr>
        <p:spPr>
          <a:xfrm>
            <a:off x="6210300" y="2019301"/>
            <a:ext cx="5673720" cy="3657600"/>
          </a:xfrm>
        </p:spPr>
        <p:txBody>
          <a:bodyPr/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er 2 Placeholder">
            <a:extLst>
              <a:ext uri="{FF2B5EF4-FFF2-40B4-BE49-F238E27FC236}">
                <a16:creationId xmlns:a16="http://schemas.microsoft.com/office/drawing/2014/main" id="{ADF8391B-E110-2D12-ED6A-D8681E86875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" hasCustomPrompt="1"/>
          </p:nvPr>
        </p:nvSpPr>
        <p:spPr>
          <a:xfrm>
            <a:off x="6210301" y="1308101"/>
            <a:ext cx="5689599" cy="620524"/>
          </a:xfrm>
        </p:spPr>
        <p:txBody>
          <a:bodyPr anchor="b">
            <a:noAutofit/>
          </a:bodyPr>
          <a:lstStyle>
            <a:lvl1pPr marL="0" indent="0">
              <a:buNone/>
              <a:defRPr sz="1599" b="1">
                <a:solidFill>
                  <a:schemeClr val="accent1"/>
                </a:solidFill>
              </a:defRPr>
            </a:lvl1pPr>
            <a:lvl2pPr marL="457051" indent="0">
              <a:buNone/>
              <a:defRPr sz="1999" b="1"/>
            </a:lvl2pPr>
            <a:lvl3pPr marL="914103" indent="0">
              <a:buNone/>
              <a:defRPr sz="1799" b="1"/>
            </a:lvl3pPr>
            <a:lvl4pPr marL="1371154" indent="0">
              <a:buNone/>
              <a:defRPr sz="1599" b="1"/>
            </a:lvl4pPr>
            <a:lvl5pPr marL="1828206" indent="0">
              <a:buNone/>
              <a:defRPr sz="1599" b="1"/>
            </a:lvl5pPr>
            <a:lvl6pPr marL="2285257" indent="0">
              <a:buNone/>
              <a:defRPr sz="1599" b="1"/>
            </a:lvl6pPr>
            <a:lvl7pPr marL="2742308" indent="0">
              <a:buNone/>
              <a:defRPr sz="1599" b="1"/>
            </a:lvl7pPr>
            <a:lvl8pPr marL="3199360" indent="0">
              <a:buNone/>
              <a:defRPr sz="1599" b="1"/>
            </a:lvl8pPr>
            <a:lvl9pPr marL="3656411" indent="0">
              <a:buNone/>
              <a:defRPr sz="1599" b="1"/>
            </a:lvl9pPr>
          </a:lstStyle>
          <a:p>
            <a:pPr lvl="0"/>
            <a:r>
              <a:rPr lang="en-US"/>
              <a:t>Insert column header</a:t>
            </a:r>
          </a:p>
        </p:txBody>
      </p:sp>
      <p:sp>
        <p:nvSpPr>
          <p:cNvPr id="4" name="Content 1 Placeholder">
            <a:extLst>
              <a:ext uri="{FF2B5EF4-FFF2-40B4-BE49-F238E27FC236}">
                <a16:creationId xmlns:a16="http://schemas.microsoft.com/office/drawing/2014/main" id="{984C70C1-C2F6-EFE6-3AEB-EEEE97D8D82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292102" y="2019301"/>
            <a:ext cx="5673721" cy="3657600"/>
          </a:xfrm>
        </p:spPr>
        <p:txBody>
          <a:bodyPr/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Header 1 Placeholder">
            <a:extLst>
              <a:ext uri="{FF2B5EF4-FFF2-40B4-BE49-F238E27FC236}">
                <a16:creationId xmlns:a16="http://schemas.microsoft.com/office/drawing/2014/main" id="{E16F9965-5453-60FF-D1EB-3A608CF7F7B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0" y="1308101"/>
            <a:ext cx="5689599" cy="620524"/>
          </a:xfrm>
        </p:spPr>
        <p:txBody>
          <a:bodyPr anchor="b">
            <a:noAutofit/>
          </a:bodyPr>
          <a:lstStyle>
            <a:lvl1pPr marL="0" indent="0">
              <a:buNone/>
              <a:defRPr sz="1599" b="1">
                <a:solidFill>
                  <a:schemeClr val="accent1"/>
                </a:solidFill>
              </a:defRPr>
            </a:lvl1pPr>
            <a:lvl2pPr marL="457051" indent="0">
              <a:buNone/>
              <a:defRPr sz="1999" b="1"/>
            </a:lvl2pPr>
            <a:lvl3pPr marL="914103" indent="0">
              <a:buNone/>
              <a:defRPr sz="1799" b="1"/>
            </a:lvl3pPr>
            <a:lvl4pPr marL="1371154" indent="0">
              <a:buNone/>
              <a:defRPr sz="1599" b="1"/>
            </a:lvl4pPr>
            <a:lvl5pPr marL="1828206" indent="0">
              <a:buNone/>
              <a:defRPr sz="1599" b="1"/>
            </a:lvl5pPr>
            <a:lvl6pPr marL="2285257" indent="0">
              <a:buNone/>
              <a:defRPr sz="1599" b="1"/>
            </a:lvl6pPr>
            <a:lvl7pPr marL="2742308" indent="0">
              <a:buNone/>
              <a:defRPr sz="1599" b="1"/>
            </a:lvl7pPr>
            <a:lvl8pPr marL="3199360" indent="0">
              <a:buNone/>
              <a:defRPr sz="1599" b="1"/>
            </a:lvl8pPr>
            <a:lvl9pPr marL="3656411" indent="0">
              <a:buNone/>
              <a:defRPr sz="1599" b="1"/>
            </a:lvl9pPr>
          </a:lstStyle>
          <a:p>
            <a:pPr lvl="0"/>
            <a:r>
              <a:rPr lang="en-US"/>
              <a:t>Insert column header</a:t>
            </a:r>
          </a:p>
        </p:txBody>
      </p:sp>
      <p:sp>
        <p:nvSpPr>
          <p:cNvPr id="14" name="Subtitle Placeholder">
            <a:extLst>
              <a:ext uri="{FF2B5EF4-FFF2-40B4-BE49-F238E27FC236}">
                <a16:creationId xmlns:a16="http://schemas.microsoft.com/office/drawing/2014/main" id="{3C3EBBEC-21F2-1AF3-1FA2-6C8052756C7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3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395" marR="0" lvl="0" indent="-171395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13" name="Title Placeholder">
            <a:extLst>
              <a:ext uri="{FF2B5EF4-FFF2-40B4-BE49-F238E27FC236}">
                <a16:creationId xmlns:a16="http://schemas.microsoft.com/office/drawing/2014/main" id="{31A8EC3A-084E-1F49-0F96-E9263F03E1F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your slide title in Arial Bold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4001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768">
          <p15:clr>
            <a:srgbClr val="A4A3A4"/>
          </p15:clr>
        </p15:guide>
        <p15:guide id="5" pos="3912">
          <p15:clr>
            <a:srgbClr val="A4A3A4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E94EA2D6-F376-E5FB-864F-2472964B121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/>
          <a:p>
            <a:fld id="{3E04DF46-C0DC-4ADC-9A6F-918CC4703A43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4898322A-6CDF-75C0-CCAE-9F91633E2F5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">
            <a:extLst>
              <a:ext uri="{FF2B5EF4-FFF2-40B4-BE49-F238E27FC236}">
                <a16:creationId xmlns:a16="http://schemas.microsoft.com/office/drawing/2014/main" id="{339D1539-DC5B-675F-DCC6-5BBCE25FC7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B789455A-F4F5-4ADB-BA98-24336C9EA3E7}" type="datetime1">
              <a:rPr lang="en-GB" smtClean="0"/>
              <a:t>12/02/2026</a:t>
            </a:fld>
            <a:endParaRPr lang="en-GB"/>
          </a:p>
        </p:txBody>
      </p: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2EA71DC4-3628-4313-321C-9A95F89CAB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1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395" lvl="0" indent="-171395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4" name="Content 2 Placeholder">
            <a:extLst>
              <a:ext uri="{FF2B5EF4-FFF2-40B4-BE49-F238E27FC236}">
                <a16:creationId xmlns:a16="http://schemas.microsoft.com/office/drawing/2014/main" id="{5D43A841-AD92-4556-21E4-9939D57FC0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6211892" y="1638301"/>
            <a:ext cx="5688008" cy="4038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nsert conten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1 Placeholder">
            <a:extLst>
              <a:ext uri="{FF2B5EF4-FFF2-40B4-BE49-F238E27FC236}">
                <a16:creationId xmlns:a16="http://schemas.microsoft.com/office/drawing/2014/main" id="{BBF77ABD-CA9D-F0FB-47F7-ABF58A85B72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" hasCustomPrompt="1"/>
          </p:nvPr>
        </p:nvSpPr>
        <p:spPr>
          <a:xfrm>
            <a:off x="292100" y="1638301"/>
            <a:ext cx="5688011" cy="4038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nsert conten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Subtitle Placeholder">
            <a:extLst>
              <a:ext uri="{FF2B5EF4-FFF2-40B4-BE49-F238E27FC236}">
                <a16:creationId xmlns:a16="http://schemas.microsoft.com/office/drawing/2014/main" id="{4DF2806F-470A-D63D-6287-2D96392FDB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3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395" marR="0" lvl="0" indent="-171395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330527F2-4E92-075E-0582-2535F1B4C69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your slide title in Arial Bold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7637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680">
          <p15:clr>
            <a:srgbClr val="FBAE40"/>
          </p15:clr>
        </p15:guide>
        <p15:guide id="4" pos="3768">
          <p15:clr>
            <a:srgbClr val="A4A3A4"/>
          </p15:clr>
        </p15:guide>
        <p15:guide id="5" pos="3912">
          <p15:clr>
            <a:srgbClr val="A4A3A4"/>
          </p15:clr>
        </p15:guide>
        <p15:guide id="6" pos="7495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E94EA2D6-F376-E5FB-864F-2472964B121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/>
          <a:p>
            <a:fld id="{3E04DF46-C0DC-4ADC-9A6F-918CC4703A43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4898322A-6CDF-75C0-CCAE-9F91633E2F5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">
            <a:extLst>
              <a:ext uri="{FF2B5EF4-FFF2-40B4-BE49-F238E27FC236}">
                <a16:creationId xmlns:a16="http://schemas.microsoft.com/office/drawing/2014/main" id="{339D1539-DC5B-675F-DCC6-5BBCE25FC7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B789455A-F4F5-4ADB-BA98-24336C9EA3E7}" type="datetime1">
              <a:rPr lang="en-GB" smtClean="0"/>
              <a:t>12/02/2026</a:t>
            </a:fld>
            <a:endParaRPr lang="en-GB"/>
          </a:p>
        </p:txBody>
      </p: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2EA71DC4-3628-4313-321C-9A95F89CAB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1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395" lvl="0" indent="-171395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4" name="Content 2 Placeholder">
            <a:extLst>
              <a:ext uri="{FF2B5EF4-FFF2-40B4-BE49-F238E27FC236}">
                <a16:creationId xmlns:a16="http://schemas.microsoft.com/office/drawing/2014/main" id="{5D43A841-AD92-4556-21E4-9939D57FC0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6211892" y="3771900"/>
            <a:ext cx="5688008" cy="1905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nsert conten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Image/Content 2 Placeholder">
            <a:extLst>
              <a:ext uri="{FF2B5EF4-FFF2-40B4-BE49-F238E27FC236}">
                <a16:creationId xmlns:a16="http://schemas.microsoft.com/office/drawing/2014/main" id="{F551C892-6720-FE2B-D337-A46B9C4D713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6" hasCustomPrompt="1"/>
          </p:nvPr>
        </p:nvSpPr>
        <p:spPr>
          <a:xfrm>
            <a:off x="6211893" y="1638300"/>
            <a:ext cx="5688009" cy="1905000"/>
          </a:xfrm>
          <a:solidFill>
            <a:srgbClr val="F0F0F0"/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GB"/>
              <a:t>Insert content</a:t>
            </a:r>
          </a:p>
        </p:txBody>
      </p:sp>
      <p:sp>
        <p:nvSpPr>
          <p:cNvPr id="3" name="Content 1 Placeholder">
            <a:extLst>
              <a:ext uri="{FF2B5EF4-FFF2-40B4-BE49-F238E27FC236}">
                <a16:creationId xmlns:a16="http://schemas.microsoft.com/office/drawing/2014/main" id="{BBF77ABD-CA9D-F0FB-47F7-ABF58A85B72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" hasCustomPrompt="1"/>
          </p:nvPr>
        </p:nvSpPr>
        <p:spPr>
          <a:xfrm>
            <a:off x="292100" y="3771900"/>
            <a:ext cx="5688011" cy="1905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nsert conten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Image/Content 1 Placeholder">
            <a:extLst>
              <a:ext uri="{FF2B5EF4-FFF2-40B4-BE49-F238E27FC236}">
                <a16:creationId xmlns:a16="http://schemas.microsoft.com/office/drawing/2014/main" id="{A3759FC6-112A-A989-2E57-F664AD59A35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5" hasCustomPrompt="1"/>
          </p:nvPr>
        </p:nvSpPr>
        <p:spPr>
          <a:xfrm>
            <a:off x="292101" y="1638300"/>
            <a:ext cx="5688009" cy="1905000"/>
          </a:xfrm>
          <a:solidFill>
            <a:srgbClr val="F0F0F0"/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GB"/>
              <a:t>Insert content</a:t>
            </a:r>
          </a:p>
        </p:txBody>
      </p:sp>
      <p:sp>
        <p:nvSpPr>
          <p:cNvPr id="10" name="Subtitle Placeholder">
            <a:extLst>
              <a:ext uri="{FF2B5EF4-FFF2-40B4-BE49-F238E27FC236}">
                <a16:creationId xmlns:a16="http://schemas.microsoft.com/office/drawing/2014/main" id="{4DF2806F-470A-D63D-6287-2D96392FDB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3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395" marR="0" lvl="0" indent="-171395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330527F2-4E92-075E-0582-2535F1B4C69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your slide title in Arial Bold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2200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680">
          <p15:clr>
            <a:srgbClr val="FBAE40"/>
          </p15:clr>
        </p15:guide>
        <p15:guide id="4" pos="3768">
          <p15:clr>
            <a:srgbClr val="A4A3A4"/>
          </p15:clr>
        </p15:guide>
        <p15:guide id="5" pos="3912">
          <p15:clr>
            <a:srgbClr val="A4A3A4"/>
          </p15:clr>
        </p15:guide>
        <p15:guide id="6" pos="7495">
          <p15:clr>
            <a:srgbClr val="FBAE40"/>
          </p15:clr>
        </p15:guide>
        <p15:guide id="7" orient="horz" pos="2232">
          <p15:clr>
            <a:srgbClr val="A4A3A4"/>
          </p15:clr>
        </p15:guide>
        <p15:guide id="8" orient="horz" pos="2376">
          <p15:clr>
            <a:srgbClr val="A4A3A4"/>
          </p15:clr>
        </p15:guide>
        <p15:guide id="9" orient="horz" pos="2304">
          <p15:clr>
            <a:srgbClr val="A4A3A4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Half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lock Bkgd">
            <a:extLst>
              <a:ext uri="{FF2B5EF4-FFF2-40B4-BE49-F238E27FC236}">
                <a16:creationId xmlns:a16="http://schemas.microsoft.com/office/drawing/2014/main" id="{EF28BEE6-A3B9-F3EC-053D-F000E1C0334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E94EA2D6-F376-E5FB-864F-2472964B121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/>
          <a:p>
            <a:fld id="{3E04DF46-C0DC-4ADC-9A6F-918CC4703A43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Copyright Line">
            <a:extLst>
              <a:ext uri="{FF2B5EF4-FFF2-40B4-BE49-F238E27FC236}">
                <a16:creationId xmlns:a16="http://schemas.microsoft.com/office/drawing/2014/main" id="{9C89E4B4-9DF8-8FBA-0988-31F1C70E415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10" y="6536552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>
                <a:solidFill>
                  <a:srgbClr val="BBBBBB"/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rgbClr val="BBBBBB"/>
                </a:solidFill>
              </a:rPr>
              <a:pPr marL="0" marR="0" indent="0" algn="l" defTabSz="9141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>
                <a:solidFill>
                  <a:srgbClr val="BBBBBB"/>
                </a:solidFill>
              </a:rPr>
              <a:t> Nielsen Consumer LLC. All Rights Reserved.</a:t>
            </a:r>
          </a:p>
        </p:txBody>
      </p:sp>
      <p:sp>
        <p:nvSpPr>
          <p:cNvPr id="12" name="Confidential disclaimer">
            <a:extLst>
              <a:ext uri="{FF2B5EF4-FFF2-40B4-BE49-F238E27FC236}">
                <a16:creationId xmlns:a16="http://schemas.microsoft.com/office/drawing/2014/main" id="{96AB6125-A385-529E-E151-BDF1D0C7EF7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id="{E1297F61-9D45-2558-68F0-C18078DF95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3251201" y="6495103"/>
            <a:ext cx="2551111" cy="282957"/>
          </a:xfrm>
        </p:spPr>
        <p:txBody>
          <a:bodyPr/>
          <a:lstStyle/>
          <a:p>
            <a:endParaRPr lang="en-GB"/>
          </a:p>
        </p:txBody>
      </p:sp>
      <p:sp>
        <p:nvSpPr>
          <p:cNvPr id="5" name="Date Placeholder">
            <a:extLst>
              <a:ext uri="{FF2B5EF4-FFF2-40B4-BE49-F238E27FC236}">
                <a16:creationId xmlns:a16="http://schemas.microsoft.com/office/drawing/2014/main" id="{339D1539-DC5B-675F-DCC6-5BBCE25FC7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B789455A-F4F5-4ADB-BA98-24336C9EA3E7}" type="datetime1">
              <a:rPr lang="en-GB" smtClean="0"/>
              <a:t>12/02/2026</a:t>
            </a:fld>
            <a:endParaRPr lang="en-GB"/>
          </a:p>
        </p:txBody>
      </p:sp>
      <p:cxnSp>
        <p:nvCxnSpPr>
          <p:cNvPr id="17" name="Base Rule">
            <a:extLst>
              <a:ext uri="{FF2B5EF4-FFF2-40B4-BE49-F238E27FC236}">
                <a16:creationId xmlns:a16="http://schemas.microsoft.com/office/drawing/2014/main" id="{0DFE5D64-C53A-A500-F0A7-C09857B818AB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292101" y="6395755"/>
            <a:ext cx="1160780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2EA71DC4-3628-4313-321C-9A95F89CAB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1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395" lvl="0" indent="-171395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4" name="Content 2 Placeholder">
            <a:extLst>
              <a:ext uri="{FF2B5EF4-FFF2-40B4-BE49-F238E27FC236}">
                <a16:creationId xmlns:a16="http://schemas.microsoft.com/office/drawing/2014/main" id="{5D43A841-AD92-4556-21E4-9939D57FC0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6388100" y="1638301"/>
            <a:ext cx="5511800" cy="4038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nsert conten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Subtitle 2 Placeholder">
            <a:extLst>
              <a:ext uri="{FF2B5EF4-FFF2-40B4-BE49-F238E27FC236}">
                <a16:creationId xmlns:a16="http://schemas.microsoft.com/office/drawing/2014/main" id="{9B24A1DB-1E99-30C3-D014-5A6DEDB3C66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 hasCustomPrompt="1"/>
          </p:nvPr>
        </p:nvSpPr>
        <p:spPr>
          <a:xfrm>
            <a:off x="6388896" y="579495"/>
            <a:ext cx="5511005" cy="436563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395" marR="0" lvl="0" indent="-171395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11" name="Title 2 Placeholder">
            <a:extLst>
              <a:ext uri="{FF2B5EF4-FFF2-40B4-BE49-F238E27FC236}">
                <a16:creationId xmlns:a16="http://schemas.microsoft.com/office/drawing/2014/main" id="{A1808D7B-A584-646A-5554-EA7041352FF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6383895" y="274635"/>
            <a:ext cx="5514419" cy="295755"/>
          </a:xfrm>
        </p:spPr>
        <p:txBody>
          <a:bodyPr anchor="t" anchorCtr="0">
            <a:noAutofit/>
          </a:bodyPr>
          <a:lstStyle>
            <a:lvl1pPr marL="0" indent="0">
              <a:buFont typeface="Arial" panose="020B0604020202020204" pitchFamily="34" charset="0"/>
              <a:buNone/>
              <a:defRPr sz="1999" b="1"/>
            </a:lvl1pPr>
          </a:lstStyle>
          <a:p>
            <a:pPr lvl="0"/>
            <a:r>
              <a:rPr lang="en-US"/>
              <a:t>Insert your slide title in Arial Bold 20pt</a:t>
            </a:r>
          </a:p>
        </p:txBody>
      </p:sp>
      <p:sp>
        <p:nvSpPr>
          <p:cNvPr id="3" name="Content 1 Placeholder">
            <a:extLst>
              <a:ext uri="{FF2B5EF4-FFF2-40B4-BE49-F238E27FC236}">
                <a16:creationId xmlns:a16="http://schemas.microsoft.com/office/drawing/2014/main" id="{BBF77ABD-CA9D-F0FB-47F7-ABF58A85B72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" hasCustomPrompt="1"/>
          </p:nvPr>
        </p:nvSpPr>
        <p:spPr>
          <a:xfrm>
            <a:off x="292100" y="1638301"/>
            <a:ext cx="5510211" cy="4038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nsert conten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Subtitle 1 Placeholder">
            <a:extLst>
              <a:ext uri="{FF2B5EF4-FFF2-40B4-BE49-F238E27FC236}">
                <a16:creationId xmlns:a16="http://schemas.microsoft.com/office/drawing/2014/main" id="{4DF2806F-470A-D63D-6287-2D96392FDB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5511005" cy="436563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395" marR="0" lvl="0" indent="-171395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2" name="Title 1 Placeholder">
            <a:extLst>
              <a:ext uri="{FF2B5EF4-FFF2-40B4-BE49-F238E27FC236}">
                <a16:creationId xmlns:a16="http://schemas.microsoft.com/office/drawing/2014/main" id="{330527F2-4E92-075E-0582-2535F1B4C69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2" y="304801"/>
            <a:ext cx="5513623" cy="265590"/>
          </a:xfrm>
        </p:spPr>
        <p:txBody>
          <a:bodyPr/>
          <a:lstStyle/>
          <a:p>
            <a:r>
              <a:rPr lang="en-US"/>
              <a:t>Insert your slide title in Arial Bold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464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680">
          <p15:clr>
            <a:srgbClr val="FBAE40"/>
          </p15:clr>
        </p15:guide>
        <p15:guide id="4" pos="3768">
          <p15:clr>
            <a:srgbClr val="A4A3A4"/>
          </p15:clr>
        </p15:guide>
        <p15:guide id="5" pos="3912">
          <p15:clr>
            <a:srgbClr val="A4A3A4"/>
          </p15:clr>
        </p15:guide>
        <p15:guide id="6" pos="7495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Half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lock Bkgd">
            <a:extLst>
              <a:ext uri="{FF2B5EF4-FFF2-40B4-BE49-F238E27FC236}">
                <a16:creationId xmlns:a16="http://schemas.microsoft.com/office/drawing/2014/main" id="{EF28BEE6-A3B9-F3EC-053D-F000E1C0334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schemeClr val="bg1"/>
              </a:solidFill>
            </a:endParaRP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E94EA2D6-F376-E5FB-864F-2472964B121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8" y="6485400"/>
            <a:ext cx="404321" cy="28295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04DF46-C0DC-4ADC-9A6F-918CC4703A4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Copyright Line">
            <a:extLst>
              <a:ext uri="{FF2B5EF4-FFF2-40B4-BE49-F238E27FC236}">
                <a16:creationId xmlns:a16="http://schemas.microsoft.com/office/drawing/2014/main" id="{9C89E4B4-9DF8-8FBA-0988-31F1C70E415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10" y="6536552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>
                <a:solidFill>
                  <a:schemeClr val="tx1">
                    <a:lumMod val="40000"/>
                    <a:lumOff val="60000"/>
                  </a:schemeClr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pPr marL="0" marR="0" indent="0" algn="l" defTabSz="9141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>
                <a:solidFill>
                  <a:schemeClr val="tx1">
                    <a:lumMod val="40000"/>
                    <a:lumOff val="60000"/>
                  </a:schemeClr>
                </a:solidFill>
              </a:rPr>
              <a:t> Nielsen Consumer LLC. All Rights Reserved.</a:t>
            </a:r>
          </a:p>
        </p:txBody>
      </p:sp>
      <p:sp>
        <p:nvSpPr>
          <p:cNvPr id="8" name="Confidential disclaimer">
            <a:extLst>
              <a:ext uri="{FF2B5EF4-FFF2-40B4-BE49-F238E27FC236}">
                <a16:creationId xmlns:a16="http://schemas.microsoft.com/office/drawing/2014/main" id="{23E65464-19C9-DB30-2F4C-D472D2E89EB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id="{E1297F61-9D45-2558-68F0-C18078DF95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3251201" y="6485400"/>
            <a:ext cx="2551111" cy="282957"/>
          </a:xfrm>
        </p:spPr>
        <p:txBody>
          <a:bodyPr/>
          <a:lstStyle/>
          <a:p>
            <a:endParaRPr lang="en-GB"/>
          </a:p>
        </p:txBody>
      </p:sp>
      <p:sp>
        <p:nvSpPr>
          <p:cNvPr id="5" name="Date Placeholder">
            <a:extLst>
              <a:ext uri="{FF2B5EF4-FFF2-40B4-BE49-F238E27FC236}">
                <a16:creationId xmlns:a16="http://schemas.microsoft.com/office/drawing/2014/main" id="{339D1539-DC5B-675F-DCC6-5BBCE25FC7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85400"/>
            <a:ext cx="757239" cy="282957"/>
          </a:xfrm>
        </p:spPr>
        <p:txBody>
          <a:bodyPr/>
          <a:lstStyle/>
          <a:p>
            <a:fld id="{B789455A-F4F5-4ADB-BA98-24336C9EA3E7}" type="datetime1">
              <a:rPr lang="en-GB" smtClean="0"/>
              <a:t>12/02/2026</a:t>
            </a:fld>
            <a:endParaRPr lang="en-GB"/>
          </a:p>
        </p:txBody>
      </p:sp>
      <p:cxnSp>
        <p:nvCxnSpPr>
          <p:cNvPr id="17" name="Base Rule">
            <a:extLst>
              <a:ext uri="{FF2B5EF4-FFF2-40B4-BE49-F238E27FC236}">
                <a16:creationId xmlns:a16="http://schemas.microsoft.com/office/drawing/2014/main" id="{0DFE5D64-C53A-A500-F0A7-C09857B818AB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6096000" y="6395755"/>
            <a:ext cx="580390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2EA71DC4-3628-4313-321C-9A95F89CAB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1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395" lvl="0" indent="-171395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4" name="Content 2 Placeholder">
            <a:extLst>
              <a:ext uri="{FF2B5EF4-FFF2-40B4-BE49-F238E27FC236}">
                <a16:creationId xmlns:a16="http://schemas.microsoft.com/office/drawing/2014/main" id="{5D43A841-AD92-4556-21E4-9939D57FC0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6388100" y="1638301"/>
            <a:ext cx="5511800" cy="4038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onten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Subtitle 2 Placeholder">
            <a:extLst>
              <a:ext uri="{FF2B5EF4-FFF2-40B4-BE49-F238E27FC236}">
                <a16:creationId xmlns:a16="http://schemas.microsoft.com/office/drawing/2014/main" id="{9B24A1DB-1E99-30C3-D014-5A6DEDB3C66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 hasCustomPrompt="1"/>
          </p:nvPr>
        </p:nvSpPr>
        <p:spPr>
          <a:xfrm>
            <a:off x="6388896" y="579495"/>
            <a:ext cx="5511005" cy="436563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395" marR="0" lvl="0" indent="-171395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6" name="Title 2 Placeholder">
            <a:extLst>
              <a:ext uri="{FF2B5EF4-FFF2-40B4-BE49-F238E27FC236}">
                <a16:creationId xmlns:a16="http://schemas.microsoft.com/office/drawing/2014/main" id="{A36FABAF-7E80-EFD2-0E01-79E8B041B9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6383895" y="274635"/>
            <a:ext cx="5514419" cy="295755"/>
          </a:xfrm>
        </p:spPr>
        <p:txBody>
          <a:bodyPr anchor="t" anchorCtr="0">
            <a:noAutofit/>
          </a:bodyPr>
          <a:lstStyle>
            <a:lvl1pPr marL="0" indent="0"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your slide title in Arial Bold 20pt</a:t>
            </a:r>
          </a:p>
        </p:txBody>
      </p:sp>
      <p:sp>
        <p:nvSpPr>
          <p:cNvPr id="3" name="Content 1 Placeholder">
            <a:extLst>
              <a:ext uri="{FF2B5EF4-FFF2-40B4-BE49-F238E27FC236}">
                <a16:creationId xmlns:a16="http://schemas.microsoft.com/office/drawing/2014/main" id="{BBF77ABD-CA9D-F0FB-47F7-ABF58A85B72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" hasCustomPrompt="1"/>
          </p:nvPr>
        </p:nvSpPr>
        <p:spPr>
          <a:xfrm>
            <a:off x="292100" y="1638301"/>
            <a:ext cx="5510211" cy="4038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nsert conten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Subtitle 1 Placeholder">
            <a:extLst>
              <a:ext uri="{FF2B5EF4-FFF2-40B4-BE49-F238E27FC236}">
                <a16:creationId xmlns:a16="http://schemas.microsoft.com/office/drawing/2014/main" id="{4DF2806F-470A-D63D-6287-2D96392FDB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5511005" cy="436563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395" marR="0" lvl="0" indent="-171395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2" name="Title 1 Placeholder">
            <a:extLst>
              <a:ext uri="{FF2B5EF4-FFF2-40B4-BE49-F238E27FC236}">
                <a16:creationId xmlns:a16="http://schemas.microsoft.com/office/drawing/2014/main" id="{330527F2-4E92-075E-0582-2535F1B4C69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2" y="304801"/>
            <a:ext cx="5513623" cy="265590"/>
          </a:xfrm>
        </p:spPr>
        <p:txBody>
          <a:bodyPr/>
          <a:lstStyle/>
          <a:p>
            <a:r>
              <a:rPr lang="en-US"/>
              <a:t>Insert your slide title in Arial Bold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1919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680">
          <p15:clr>
            <a:srgbClr val="FBAE40"/>
          </p15:clr>
        </p15:guide>
        <p15:guide id="4" pos="3768">
          <p15:clr>
            <a:srgbClr val="A4A3A4"/>
          </p15:clr>
        </p15:guide>
        <p15:guide id="5" pos="3912">
          <p15:clr>
            <a:srgbClr val="A4A3A4"/>
          </p15:clr>
        </p15:guide>
        <p15:guide id="6" pos="7495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Half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lock Bkgd">
            <a:extLst>
              <a:ext uri="{FF2B5EF4-FFF2-40B4-BE49-F238E27FC236}">
                <a16:creationId xmlns:a16="http://schemas.microsoft.com/office/drawing/2014/main" id="{EF28BEE6-A3B9-F3EC-053D-F000E1C0334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schemeClr val="bg1"/>
              </a:solidFill>
            </a:endParaRP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E94EA2D6-F376-E5FB-864F-2472964B121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04DF46-C0DC-4ADC-9A6F-918CC4703A4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Copyright Line">
            <a:extLst>
              <a:ext uri="{FF2B5EF4-FFF2-40B4-BE49-F238E27FC236}">
                <a16:creationId xmlns:a16="http://schemas.microsoft.com/office/drawing/2014/main" id="{9C89E4B4-9DF8-8FBA-0988-31F1C70E415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10" y="6536552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>
                <a:solidFill>
                  <a:schemeClr val="tx1">
                    <a:lumMod val="40000"/>
                    <a:lumOff val="60000"/>
                  </a:schemeClr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pPr marL="0" marR="0" indent="0" algn="l" defTabSz="9141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>
                <a:solidFill>
                  <a:schemeClr val="tx1">
                    <a:lumMod val="40000"/>
                    <a:lumOff val="60000"/>
                  </a:schemeClr>
                </a:solidFill>
              </a:rPr>
              <a:t> Nielsen Consumer LLC. All Rights Reserved.</a:t>
            </a:r>
          </a:p>
        </p:txBody>
      </p:sp>
      <p:sp>
        <p:nvSpPr>
          <p:cNvPr id="8" name="Confidential disclaimer">
            <a:extLst>
              <a:ext uri="{FF2B5EF4-FFF2-40B4-BE49-F238E27FC236}">
                <a16:creationId xmlns:a16="http://schemas.microsoft.com/office/drawing/2014/main" id="{96D5C3C7-B3B0-FB86-5907-4E244DADEAE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id="{E1297F61-9D45-2558-68F0-C18078DF95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3251201" y="6485400"/>
            <a:ext cx="2551111" cy="282957"/>
          </a:xfrm>
        </p:spPr>
        <p:txBody>
          <a:bodyPr/>
          <a:lstStyle/>
          <a:p>
            <a:endParaRPr lang="en-GB"/>
          </a:p>
        </p:txBody>
      </p:sp>
      <p:sp>
        <p:nvSpPr>
          <p:cNvPr id="5" name="Date Placeholder">
            <a:extLst>
              <a:ext uri="{FF2B5EF4-FFF2-40B4-BE49-F238E27FC236}">
                <a16:creationId xmlns:a16="http://schemas.microsoft.com/office/drawing/2014/main" id="{339D1539-DC5B-675F-DCC6-5BBCE25FC7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B789455A-F4F5-4ADB-BA98-24336C9EA3E7}" type="datetime1">
              <a:rPr lang="en-GB" smtClean="0"/>
              <a:t>12/02/2026</a:t>
            </a:fld>
            <a:endParaRPr lang="en-GB"/>
          </a:p>
        </p:txBody>
      </p:sp>
      <p:cxnSp>
        <p:nvCxnSpPr>
          <p:cNvPr id="17" name="Base Rule">
            <a:extLst>
              <a:ext uri="{FF2B5EF4-FFF2-40B4-BE49-F238E27FC236}">
                <a16:creationId xmlns:a16="http://schemas.microsoft.com/office/drawing/2014/main" id="{0DFE5D64-C53A-A500-F0A7-C09857B818AB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6096000" y="6395755"/>
            <a:ext cx="580390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2EA71DC4-3628-4313-321C-9A95F89CAB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1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395" lvl="0" indent="-171395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4" name="Content 2 Placeholder">
            <a:extLst>
              <a:ext uri="{FF2B5EF4-FFF2-40B4-BE49-F238E27FC236}">
                <a16:creationId xmlns:a16="http://schemas.microsoft.com/office/drawing/2014/main" id="{5D43A841-AD92-4556-21E4-9939D57FC0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6388100" y="1638301"/>
            <a:ext cx="5511800" cy="4038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onten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Subtitle 2 Placeholder">
            <a:extLst>
              <a:ext uri="{FF2B5EF4-FFF2-40B4-BE49-F238E27FC236}">
                <a16:creationId xmlns:a16="http://schemas.microsoft.com/office/drawing/2014/main" id="{9B24A1DB-1E99-30C3-D014-5A6DEDB3C66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 hasCustomPrompt="1"/>
          </p:nvPr>
        </p:nvSpPr>
        <p:spPr>
          <a:xfrm>
            <a:off x="6388896" y="579495"/>
            <a:ext cx="5511005" cy="436563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395" marR="0" lvl="0" indent="-171395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6" name="Title 2 Placeholder">
            <a:extLst>
              <a:ext uri="{FF2B5EF4-FFF2-40B4-BE49-F238E27FC236}">
                <a16:creationId xmlns:a16="http://schemas.microsoft.com/office/drawing/2014/main" id="{2D03B6C0-C08D-EDFA-F4C8-01772C443E6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6383895" y="274635"/>
            <a:ext cx="5514419" cy="295755"/>
          </a:xfrm>
        </p:spPr>
        <p:txBody>
          <a:bodyPr anchor="t" anchorCtr="0">
            <a:noAutofit/>
          </a:bodyPr>
          <a:lstStyle>
            <a:lvl1pPr marL="0" indent="0"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your slide title in Arial Bold 20pt</a:t>
            </a:r>
          </a:p>
        </p:txBody>
      </p:sp>
      <p:sp>
        <p:nvSpPr>
          <p:cNvPr id="3" name="Content 1 Placeholder">
            <a:extLst>
              <a:ext uri="{FF2B5EF4-FFF2-40B4-BE49-F238E27FC236}">
                <a16:creationId xmlns:a16="http://schemas.microsoft.com/office/drawing/2014/main" id="{BBF77ABD-CA9D-F0FB-47F7-ABF58A85B72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" hasCustomPrompt="1"/>
          </p:nvPr>
        </p:nvSpPr>
        <p:spPr>
          <a:xfrm>
            <a:off x="292100" y="1638301"/>
            <a:ext cx="5510211" cy="4038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nsert conten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Subtitle 1 Placeholder">
            <a:extLst>
              <a:ext uri="{FF2B5EF4-FFF2-40B4-BE49-F238E27FC236}">
                <a16:creationId xmlns:a16="http://schemas.microsoft.com/office/drawing/2014/main" id="{4DF2806F-470A-D63D-6287-2D96392FDB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5511005" cy="436563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395" marR="0" lvl="0" indent="-171395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2" name="Title 1 Placeholder">
            <a:extLst>
              <a:ext uri="{FF2B5EF4-FFF2-40B4-BE49-F238E27FC236}">
                <a16:creationId xmlns:a16="http://schemas.microsoft.com/office/drawing/2014/main" id="{330527F2-4E92-075E-0582-2535F1B4C69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2" y="304801"/>
            <a:ext cx="5513623" cy="265590"/>
          </a:xfrm>
        </p:spPr>
        <p:txBody>
          <a:bodyPr/>
          <a:lstStyle/>
          <a:p>
            <a:r>
              <a:rPr lang="en-US"/>
              <a:t>Insert your slide title in Arial Bold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79779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680">
          <p15:clr>
            <a:srgbClr val="FBAE40"/>
          </p15:clr>
        </p15:guide>
        <p15:guide id="4" pos="3768">
          <p15:clr>
            <a:srgbClr val="A4A3A4"/>
          </p15:clr>
        </p15:guide>
        <p15:guide id="5" pos="3912">
          <p15:clr>
            <a:srgbClr val="A4A3A4"/>
          </p15:clr>
        </p15:guide>
        <p15:guide id="6" pos="7495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ule Block">
            <a:extLst>
              <a:ext uri="{FF2B5EF4-FFF2-40B4-BE49-F238E27FC236}">
                <a16:creationId xmlns:a16="http://schemas.microsoft.com/office/drawing/2014/main" id="{658D6E94-1F36-94B6-33A7-7C708E049D3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5802309" y="6299199"/>
            <a:ext cx="293691" cy="1861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799" err="1"/>
          </a:p>
        </p:txBody>
      </p:sp>
      <p:sp>
        <p:nvSpPr>
          <p:cNvPr id="12" name="Picture Placeholder">
            <a:extLst>
              <a:ext uri="{FF2B5EF4-FFF2-40B4-BE49-F238E27FC236}">
                <a16:creationId xmlns:a16="http://schemas.microsoft.com/office/drawing/2014/main" id="{7A78F6A2-6801-C5FD-6F85-67A9BBDEF53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7" hasCustomPrompt="1"/>
          </p:nvPr>
        </p:nvSpPr>
        <p:spPr>
          <a:xfrm>
            <a:off x="6096000" y="0"/>
            <a:ext cx="6096000" cy="6858000"/>
          </a:xfrm>
          <a:solidFill>
            <a:schemeClr val="tx1">
              <a:lumMod val="60000"/>
              <a:lumOff val="40000"/>
            </a:schemeClr>
          </a:solidFill>
        </p:spPr>
        <p:txBody>
          <a:bodyPr lIns="182880" tIns="91440" rIns="274320" anchor="t">
            <a:normAutofit/>
          </a:bodyPr>
          <a:lstStyle>
            <a:lvl1pPr marL="174569" indent="-174569" algn="l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rgbClr val="FFFF00"/>
                </a:solidFill>
              </a:defRPr>
            </a:lvl1pPr>
          </a:lstStyle>
          <a:p>
            <a:r>
              <a:rPr lang="en-US"/>
              <a:t>To add image: </a:t>
            </a:r>
            <a:br>
              <a:rPr lang="en-US"/>
            </a:br>
            <a:r>
              <a:rPr lang="en-US"/>
              <a:t>1. Select image placeholder </a:t>
            </a:r>
            <a:br>
              <a:rPr lang="en-US"/>
            </a:br>
            <a:r>
              <a:rPr lang="en-US"/>
              <a:t>2. Drag/drop file or copy/paste image into slide (.jpg, .gif, .</a:t>
            </a:r>
            <a:r>
              <a:rPr lang="en-US" err="1"/>
              <a:t>png</a:t>
            </a:r>
            <a:r>
              <a:rPr lang="en-US"/>
              <a:t>) </a:t>
            </a:r>
            <a:br>
              <a:rPr lang="en-US"/>
            </a:br>
            <a:r>
              <a:rPr lang="en-US"/>
              <a:t>3. Right-click image and “Send to back”</a:t>
            </a:r>
          </a:p>
          <a:p>
            <a:r>
              <a:rPr lang="en-GB"/>
              <a:t> 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E94EA2D6-F376-E5FB-864F-2472964B121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04DF46-C0DC-4ADC-9A6F-918CC4703A4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Copyright Line">
            <a:extLst>
              <a:ext uri="{FF2B5EF4-FFF2-40B4-BE49-F238E27FC236}">
                <a16:creationId xmlns:a16="http://schemas.microsoft.com/office/drawing/2014/main" id="{9C89E4B4-9DF8-8FBA-0988-31F1C70E415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10" y="6536552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>
                <a:solidFill>
                  <a:schemeClr val="tx1">
                    <a:lumMod val="40000"/>
                    <a:lumOff val="60000"/>
                  </a:schemeClr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pPr marL="0" marR="0" indent="0" algn="l" defTabSz="9141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>
                <a:solidFill>
                  <a:schemeClr val="tx1">
                    <a:lumMod val="40000"/>
                    <a:lumOff val="60000"/>
                  </a:schemeClr>
                </a:solidFill>
              </a:rPr>
              <a:t> Nielsen Consumer LLC. All Rights Reserved.</a:t>
            </a:r>
          </a:p>
        </p:txBody>
      </p:sp>
      <p:sp>
        <p:nvSpPr>
          <p:cNvPr id="8" name="Confidential disclaimer">
            <a:extLst>
              <a:ext uri="{FF2B5EF4-FFF2-40B4-BE49-F238E27FC236}">
                <a16:creationId xmlns:a16="http://schemas.microsoft.com/office/drawing/2014/main" id="{96D5C3C7-B3B0-FB86-5907-4E244DADEAE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id="{E1297F61-9D45-2558-68F0-C18078DF95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3251201" y="6485400"/>
            <a:ext cx="2551111" cy="282957"/>
          </a:xfrm>
        </p:spPr>
        <p:txBody>
          <a:bodyPr/>
          <a:lstStyle/>
          <a:p>
            <a:endParaRPr lang="en-GB"/>
          </a:p>
        </p:txBody>
      </p:sp>
      <p:sp>
        <p:nvSpPr>
          <p:cNvPr id="5" name="Date Placeholder">
            <a:extLst>
              <a:ext uri="{FF2B5EF4-FFF2-40B4-BE49-F238E27FC236}">
                <a16:creationId xmlns:a16="http://schemas.microsoft.com/office/drawing/2014/main" id="{339D1539-DC5B-675F-DCC6-5BBCE25FC7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B789455A-F4F5-4ADB-BA98-24336C9EA3E7}" type="datetime1">
              <a:rPr lang="en-GB" smtClean="0"/>
              <a:t>12/02/2026</a:t>
            </a:fld>
            <a:endParaRPr lang="en-GB"/>
          </a:p>
        </p:txBody>
      </p: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2EA71DC4-3628-4313-321C-9A95F89CAB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1"/>
            <a:ext cx="5510211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395" lvl="0" indent="-171395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3" name="Content 1 Placeholder">
            <a:extLst>
              <a:ext uri="{FF2B5EF4-FFF2-40B4-BE49-F238E27FC236}">
                <a16:creationId xmlns:a16="http://schemas.microsoft.com/office/drawing/2014/main" id="{BBF77ABD-CA9D-F0FB-47F7-ABF58A85B72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" hasCustomPrompt="1"/>
          </p:nvPr>
        </p:nvSpPr>
        <p:spPr>
          <a:xfrm>
            <a:off x="292100" y="1638301"/>
            <a:ext cx="5510211" cy="4038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nsert conten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Subtitle 1 Placeholder">
            <a:extLst>
              <a:ext uri="{FF2B5EF4-FFF2-40B4-BE49-F238E27FC236}">
                <a16:creationId xmlns:a16="http://schemas.microsoft.com/office/drawing/2014/main" id="{4DF2806F-470A-D63D-6287-2D96392FDB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5511005" cy="436563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395" marR="0" lvl="0" indent="-171395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2" name="Title 1 Placeholder">
            <a:extLst>
              <a:ext uri="{FF2B5EF4-FFF2-40B4-BE49-F238E27FC236}">
                <a16:creationId xmlns:a16="http://schemas.microsoft.com/office/drawing/2014/main" id="{330527F2-4E92-075E-0582-2535F1B4C69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2" y="304801"/>
            <a:ext cx="5513623" cy="265590"/>
          </a:xfrm>
        </p:spPr>
        <p:txBody>
          <a:bodyPr/>
          <a:lstStyle/>
          <a:p>
            <a:r>
              <a:rPr lang="en-US"/>
              <a:t>Insert your slide title in Arial Bold 20pt</a:t>
            </a:r>
            <a:endParaRPr lang="en-GB"/>
          </a:p>
        </p:txBody>
      </p:sp>
      <p:sp>
        <p:nvSpPr>
          <p:cNvPr id="22" name="Off-slide Instructions">
            <a:extLst>
              <a:ext uri="{FF2B5EF4-FFF2-40B4-BE49-F238E27FC236}">
                <a16:creationId xmlns:a16="http://schemas.microsoft.com/office/drawing/2014/main" id="{960CB651-6B1A-3200-5D2F-A4891428ED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2338614" y="0"/>
            <a:ext cx="2812487" cy="2373888"/>
          </a:xfrm>
          <a:prstGeom prst="bracketPair">
            <a:avLst>
              <a:gd name="adj" fmla="val 4083"/>
            </a:avLst>
          </a:prstGeom>
          <a:solidFill>
            <a:srgbClr val="FFFF00">
              <a:alpha val="80000"/>
            </a:srgbClr>
          </a:solidFill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spAutoFit/>
          </a:bodyPr>
          <a:lstStyle/>
          <a:p>
            <a:pPr marL="0" indent="0" algn="l" defTabSz="914103" rtl="0" eaLnBrk="1" latinLnBrk="0" hangingPunct="1">
              <a:spcAft>
                <a:spcPts val="400"/>
              </a:spcAft>
              <a:buFont typeface="+mj-lt"/>
              <a:buNone/>
            </a:pPr>
            <a:r>
              <a:rPr lang="en-US" sz="1200" b="1" kern="12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If copyright line, disclaimer, slide #, etc. are missing:</a:t>
            </a:r>
          </a:p>
          <a:p>
            <a:pPr marL="177742" lvl="0" indent="-177742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Go to </a:t>
            </a:r>
            <a:r>
              <a:rPr lang="en-US" sz="800" b="1">
                <a:solidFill>
                  <a:srgbClr val="000000"/>
                </a:solidFill>
              </a:rPr>
              <a:t>View &gt; Slide Master</a:t>
            </a:r>
          </a:p>
          <a:p>
            <a:pPr marL="177742" lvl="0" indent="-177742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Copy missing elements from Layout Master</a:t>
            </a:r>
          </a:p>
          <a:p>
            <a:pPr marL="177742" lvl="0" indent="-177742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Close Master View</a:t>
            </a:r>
          </a:p>
          <a:p>
            <a:pPr marL="177742" lvl="0" indent="-177742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Paste on slide</a:t>
            </a:r>
            <a:endParaRPr lang="en-US" sz="1200" b="1">
              <a:solidFill>
                <a:srgbClr val="000000"/>
              </a:solidFill>
            </a:endParaRPr>
          </a:p>
          <a:p>
            <a:pPr>
              <a:spcAft>
                <a:spcPts val="400"/>
              </a:spcAft>
            </a:pPr>
            <a:endParaRPr lang="en-US" sz="1200" b="1">
              <a:solidFill>
                <a:srgbClr val="000000"/>
              </a:solidFill>
            </a:endParaRPr>
          </a:p>
          <a:p>
            <a:pPr>
              <a:spcAft>
                <a:spcPts val="400"/>
              </a:spcAft>
            </a:pPr>
            <a:r>
              <a:rPr lang="en-US" sz="1200" b="1">
                <a:solidFill>
                  <a:srgbClr val="000000"/>
                </a:solidFill>
              </a:rPr>
              <a:t>To replace existing image:</a:t>
            </a:r>
          </a:p>
          <a:p>
            <a:pPr marL="174569" indent="-174569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Right-click image placeholder</a:t>
            </a:r>
          </a:p>
          <a:p>
            <a:pPr marL="174569" indent="-174569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Select </a:t>
            </a:r>
            <a:r>
              <a:rPr lang="en-US" sz="800" b="1">
                <a:solidFill>
                  <a:srgbClr val="000000"/>
                </a:solidFill>
              </a:rPr>
              <a:t>Change Picture</a:t>
            </a:r>
          </a:p>
          <a:p>
            <a:pPr marL="174569" indent="-174569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Select</a:t>
            </a:r>
            <a:r>
              <a:rPr lang="en-US" sz="800" b="1">
                <a:solidFill>
                  <a:srgbClr val="000000"/>
                </a:solidFill>
              </a:rPr>
              <a:t> desired </a:t>
            </a:r>
            <a:r>
              <a:rPr lang="en-US" sz="800">
                <a:solidFill>
                  <a:srgbClr val="000000"/>
                </a:solidFill>
              </a:rPr>
              <a:t>image file (.jpg, .</a:t>
            </a:r>
            <a:r>
              <a:rPr lang="en-US" sz="800" err="1">
                <a:solidFill>
                  <a:srgbClr val="000000"/>
                </a:solidFill>
              </a:rPr>
              <a:t>png</a:t>
            </a:r>
            <a:r>
              <a:rPr lang="en-US" sz="800">
                <a:solidFill>
                  <a:srgbClr val="000000"/>
                </a:solidFill>
              </a:rPr>
              <a:t>, .gif)</a:t>
            </a:r>
          </a:p>
          <a:p>
            <a:pPr marL="174569" indent="-174569">
              <a:spcAft>
                <a:spcPts val="400"/>
              </a:spcAft>
              <a:buFont typeface="+mj-lt"/>
              <a:buAutoNum type="arabicPeriod"/>
            </a:pPr>
            <a:endParaRPr lang="en-US" sz="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3579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680">
          <p15:clr>
            <a:srgbClr val="FBAE40"/>
          </p15:clr>
        </p15:guide>
        <p15:guide id="4" pos="3768">
          <p15:clr>
            <a:srgbClr val="A4A3A4"/>
          </p15:clr>
        </p15:guide>
        <p15:guide id="5" pos="3912">
          <p15:clr>
            <a:srgbClr val="A4A3A4"/>
          </p15:clr>
        </p15:guide>
        <p15:guide id="6" pos="7495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334999CC-B0E8-932E-3334-1667B3798F0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/>
          <a:p>
            <a:fld id="{3E04DF46-C0DC-4ADC-9A6F-918CC4703A43}" type="slidenum">
              <a:rPr lang="en-GB" smtClean="0"/>
              <a:t>‹#›</a:t>
            </a:fld>
            <a:endParaRPr lang="en-GB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CFA438E1-E88D-115E-D3AC-C02C6E11C4B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Date Placeholder">
            <a:extLst>
              <a:ext uri="{FF2B5EF4-FFF2-40B4-BE49-F238E27FC236}">
                <a16:creationId xmlns:a16="http://schemas.microsoft.com/office/drawing/2014/main" id="{A9C7E5F4-8ACB-AE44-BEFF-CFE9E0596F3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1B0DF2C9-7B70-4009-B83E-42FD28295E6A}" type="datetime1">
              <a:rPr lang="en-GB" smtClean="0"/>
              <a:t>12/02/2026</a:t>
            </a:fld>
            <a:endParaRPr lang="en-GB"/>
          </a:p>
        </p:txBody>
      </p:sp>
      <p:sp>
        <p:nvSpPr>
          <p:cNvPr id="12" name="Source Placeholder">
            <a:extLst>
              <a:ext uri="{FF2B5EF4-FFF2-40B4-BE49-F238E27FC236}">
                <a16:creationId xmlns:a16="http://schemas.microsoft.com/office/drawing/2014/main" id="{C3339F06-F87A-3EB3-4646-D4F9A9AC27A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6" hasCustomPrompt="1"/>
          </p:nvPr>
        </p:nvSpPr>
        <p:spPr>
          <a:xfrm>
            <a:off x="292100" y="6108701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395" lvl="0" indent="-171395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11" name="Content 3 Placeholder">
            <a:extLst>
              <a:ext uri="{FF2B5EF4-FFF2-40B4-BE49-F238E27FC236}">
                <a16:creationId xmlns:a16="http://schemas.microsoft.com/office/drawing/2014/main" id="{F0ADA552-6794-0F4D-013E-A6DA97DBFF4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5" hasCustomPrompt="1"/>
          </p:nvPr>
        </p:nvSpPr>
        <p:spPr>
          <a:xfrm>
            <a:off x="8199441" y="2019301"/>
            <a:ext cx="3700459" cy="36576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Header 3 Placeholder">
            <a:extLst>
              <a:ext uri="{FF2B5EF4-FFF2-40B4-BE49-F238E27FC236}">
                <a16:creationId xmlns:a16="http://schemas.microsoft.com/office/drawing/2014/main" id="{2E94C2A3-89CF-36E6-BD07-E465D92FB48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8199442" y="1308101"/>
            <a:ext cx="3710815" cy="620524"/>
          </a:xfrm>
        </p:spPr>
        <p:txBody>
          <a:bodyPr anchor="b">
            <a:noAutofit/>
          </a:bodyPr>
          <a:lstStyle>
            <a:lvl1pPr marL="0" indent="0">
              <a:buNone/>
              <a:defRPr sz="1599" b="1">
                <a:solidFill>
                  <a:schemeClr val="accent1"/>
                </a:solidFill>
              </a:defRPr>
            </a:lvl1pPr>
            <a:lvl2pPr marL="457051" indent="0">
              <a:buNone/>
              <a:defRPr sz="1999" b="1"/>
            </a:lvl2pPr>
            <a:lvl3pPr marL="914103" indent="0">
              <a:buNone/>
              <a:defRPr sz="1799" b="1"/>
            </a:lvl3pPr>
            <a:lvl4pPr marL="1371154" indent="0">
              <a:buNone/>
              <a:defRPr sz="1599" b="1"/>
            </a:lvl4pPr>
            <a:lvl5pPr marL="1828206" indent="0">
              <a:buNone/>
              <a:defRPr sz="1599" b="1"/>
            </a:lvl5pPr>
            <a:lvl6pPr marL="2285257" indent="0">
              <a:buNone/>
              <a:defRPr sz="1599" b="1"/>
            </a:lvl6pPr>
            <a:lvl7pPr marL="2742308" indent="0">
              <a:buNone/>
              <a:defRPr sz="1599" b="1"/>
            </a:lvl7pPr>
            <a:lvl8pPr marL="3199360" indent="0">
              <a:buNone/>
              <a:defRPr sz="1599" b="1"/>
            </a:lvl8pPr>
            <a:lvl9pPr marL="3656411" indent="0">
              <a:buNone/>
              <a:defRPr sz="1599" b="1"/>
            </a:lvl9pPr>
          </a:lstStyle>
          <a:p>
            <a:pPr lvl="0"/>
            <a:r>
              <a:rPr lang="en-US"/>
              <a:t>Insert column header</a:t>
            </a:r>
          </a:p>
        </p:txBody>
      </p:sp>
      <p:sp>
        <p:nvSpPr>
          <p:cNvPr id="9" name="Content 2 Placeholder">
            <a:extLst>
              <a:ext uri="{FF2B5EF4-FFF2-40B4-BE49-F238E27FC236}">
                <a16:creationId xmlns:a16="http://schemas.microsoft.com/office/drawing/2014/main" id="{EEE356A3-4F73-532E-E901-63F8001F850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4" hasCustomPrompt="1"/>
          </p:nvPr>
        </p:nvSpPr>
        <p:spPr>
          <a:xfrm>
            <a:off x="4245771" y="2019301"/>
            <a:ext cx="3700459" cy="36576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Header 2 Placeholder">
            <a:extLst>
              <a:ext uri="{FF2B5EF4-FFF2-40B4-BE49-F238E27FC236}">
                <a16:creationId xmlns:a16="http://schemas.microsoft.com/office/drawing/2014/main" id="{BC5A4612-F020-83E1-2D4D-D6D0BB5148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" hasCustomPrompt="1"/>
          </p:nvPr>
        </p:nvSpPr>
        <p:spPr>
          <a:xfrm>
            <a:off x="4240594" y="1308101"/>
            <a:ext cx="3710815" cy="620524"/>
          </a:xfrm>
        </p:spPr>
        <p:txBody>
          <a:bodyPr anchor="b">
            <a:noAutofit/>
          </a:bodyPr>
          <a:lstStyle>
            <a:lvl1pPr marL="0" indent="0">
              <a:buNone/>
              <a:defRPr sz="1599" b="1">
                <a:solidFill>
                  <a:schemeClr val="accent1"/>
                </a:solidFill>
              </a:defRPr>
            </a:lvl1pPr>
            <a:lvl2pPr marL="457051" indent="0">
              <a:buNone/>
              <a:defRPr sz="1999" b="1"/>
            </a:lvl2pPr>
            <a:lvl3pPr marL="914103" indent="0">
              <a:buNone/>
              <a:defRPr sz="1799" b="1"/>
            </a:lvl3pPr>
            <a:lvl4pPr marL="1371154" indent="0">
              <a:buNone/>
              <a:defRPr sz="1599" b="1"/>
            </a:lvl4pPr>
            <a:lvl5pPr marL="1828206" indent="0">
              <a:buNone/>
              <a:defRPr sz="1599" b="1"/>
            </a:lvl5pPr>
            <a:lvl6pPr marL="2285257" indent="0">
              <a:buNone/>
              <a:defRPr sz="1599" b="1"/>
            </a:lvl6pPr>
            <a:lvl7pPr marL="2742308" indent="0">
              <a:buNone/>
              <a:defRPr sz="1599" b="1"/>
            </a:lvl7pPr>
            <a:lvl8pPr marL="3199360" indent="0">
              <a:buNone/>
              <a:defRPr sz="1599" b="1"/>
            </a:lvl8pPr>
            <a:lvl9pPr marL="3656411" indent="0">
              <a:buNone/>
              <a:defRPr sz="1599" b="1"/>
            </a:lvl9pPr>
          </a:lstStyle>
          <a:p>
            <a:pPr lvl="0"/>
            <a:r>
              <a:rPr lang="en-US"/>
              <a:t>Insert column header</a:t>
            </a:r>
          </a:p>
        </p:txBody>
      </p:sp>
      <p:sp>
        <p:nvSpPr>
          <p:cNvPr id="7" name="Content 1 Placeholder">
            <a:extLst>
              <a:ext uri="{FF2B5EF4-FFF2-40B4-BE49-F238E27FC236}">
                <a16:creationId xmlns:a16="http://schemas.microsoft.com/office/drawing/2014/main" id="{2EA745BA-CA14-8FD0-05BA-8977508264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292102" y="2019301"/>
            <a:ext cx="3700460" cy="36576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Header 1 Placeholder">
            <a:extLst>
              <a:ext uri="{FF2B5EF4-FFF2-40B4-BE49-F238E27FC236}">
                <a16:creationId xmlns:a16="http://schemas.microsoft.com/office/drawing/2014/main" id="{97696C2F-B753-BD09-3B16-F91EAC65E0F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2" y="1308101"/>
            <a:ext cx="3710815" cy="620524"/>
          </a:xfrm>
        </p:spPr>
        <p:txBody>
          <a:bodyPr anchor="b">
            <a:noAutofit/>
          </a:bodyPr>
          <a:lstStyle>
            <a:lvl1pPr marL="0" indent="0">
              <a:buNone/>
              <a:defRPr sz="1599" b="1">
                <a:solidFill>
                  <a:schemeClr val="accent1"/>
                </a:solidFill>
              </a:defRPr>
            </a:lvl1pPr>
            <a:lvl2pPr marL="457051" indent="0">
              <a:buNone/>
              <a:defRPr sz="1999" b="1"/>
            </a:lvl2pPr>
            <a:lvl3pPr marL="914103" indent="0">
              <a:buNone/>
              <a:defRPr sz="1799" b="1"/>
            </a:lvl3pPr>
            <a:lvl4pPr marL="1371154" indent="0">
              <a:buNone/>
              <a:defRPr sz="1599" b="1"/>
            </a:lvl4pPr>
            <a:lvl5pPr marL="1828206" indent="0">
              <a:buNone/>
              <a:defRPr sz="1599" b="1"/>
            </a:lvl5pPr>
            <a:lvl6pPr marL="2285257" indent="0">
              <a:buNone/>
              <a:defRPr sz="1599" b="1"/>
            </a:lvl6pPr>
            <a:lvl7pPr marL="2742308" indent="0">
              <a:buNone/>
              <a:defRPr sz="1599" b="1"/>
            </a:lvl7pPr>
            <a:lvl8pPr marL="3199360" indent="0">
              <a:buNone/>
              <a:defRPr sz="1599" b="1"/>
            </a:lvl8pPr>
            <a:lvl9pPr marL="3656411" indent="0">
              <a:buNone/>
              <a:defRPr sz="1599" b="1"/>
            </a:lvl9pPr>
          </a:lstStyle>
          <a:p>
            <a:pPr lvl="0"/>
            <a:r>
              <a:rPr lang="en-US"/>
              <a:t>Insert column header</a:t>
            </a:r>
          </a:p>
        </p:txBody>
      </p:sp>
      <p:sp>
        <p:nvSpPr>
          <p:cNvPr id="28" name="Subtitle Placeholder">
            <a:extLst>
              <a:ext uri="{FF2B5EF4-FFF2-40B4-BE49-F238E27FC236}">
                <a16:creationId xmlns:a16="http://schemas.microsoft.com/office/drawing/2014/main" id="{8C1BA443-5E48-08B0-7F06-D0960B1340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3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395" marR="0" lvl="0" indent="-171395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54DD3914-9029-5BF1-3AFD-5FCA9538DDA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your slide title in Arial Bold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0293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525">
          <p15:clr>
            <a:srgbClr val="FDE53C"/>
          </p15:clr>
        </p15:guide>
        <p15:guide id="11" pos="2669">
          <p15:clr>
            <a:srgbClr val="FDE53C"/>
          </p15:clr>
        </p15:guide>
        <p15:guide id="18" pos="5010">
          <p15:clr>
            <a:srgbClr val="FDE53C"/>
          </p15:clr>
        </p15:guide>
        <p15:guide id="19" pos="5154">
          <p15:clr>
            <a:srgbClr val="FDE53C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umber">
            <a:extLst>
              <a:ext uri="{FF2B5EF4-FFF2-40B4-BE49-F238E27FC236}">
                <a16:creationId xmlns:a16="http://schemas.microsoft.com/office/drawing/2014/main" id="{C1DC8AD9-CEFF-4205-B408-8C25EAC04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5359" y="2061183"/>
            <a:ext cx="3528999" cy="252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 baseline="0">
                <a:solidFill>
                  <a:srgbClr val="FFA52F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FFA52F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FFA52F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FFA52F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FFA52F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FFA52F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FFA52F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FFA52F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FFA52F"/>
                </a:solidFill>
                <a:latin typeface="+mj-lt"/>
              </a:defRPr>
            </a:lvl9pPr>
          </a:lstStyle>
          <a:p>
            <a:r>
              <a:rPr lang="en-GB"/>
              <a:t>00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4944376" y="1989183"/>
            <a:ext cx="4608008" cy="1727849"/>
          </a:xfrm>
          <a:prstGeom prst="rect">
            <a:avLst/>
          </a:prstGeom>
        </p:spPr>
        <p:txBody>
          <a:bodyPr tIns="36000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Divider slide | Insert your headline in maximal three lines her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46297C-A90E-4725-9584-F26D2B59D3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944374" y="3717032"/>
            <a:ext cx="4608009" cy="864096"/>
          </a:xfrm>
          <a:prstGeom prst="rect">
            <a:avLst/>
          </a:prstGeom>
          <a:noFill/>
          <a:ln w="0">
            <a:noFill/>
          </a:ln>
        </p:spPr>
        <p:txBody>
          <a:bodyPr lIns="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46A4DB98-2658-49F8-8812-38BE9A090A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487488" y="6525000"/>
            <a:ext cx="9144512" cy="144000"/>
          </a:xfrm>
        </p:spPr>
        <p:txBody>
          <a:bodyPr anchor="b"/>
          <a:lstStyle>
            <a:lvl1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/>
              <a:t>Source, Footnot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63B7A03-94FB-4FF5-E3BC-46F9616A33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A592F5-09A2-4F81-8A9F-8D196DF715D9}" type="datetime1">
              <a:rPr lang="en-GB" smtClean="0"/>
              <a:t>12/02/2026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C8F4A60-D224-9808-B996-E715CE0DE5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DA539CD-62B2-B184-2BAA-74507EB259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67800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">
            <a:extLst>
              <a:ext uri="{FF2B5EF4-FFF2-40B4-BE49-F238E27FC236}">
                <a16:creationId xmlns:a16="http://schemas.microsoft.com/office/drawing/2014/main" id="{12CCAFAE-C3C1-93DF-1738-B04D08AAA19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8" y="6495101"/>
            <a:ext cx="404321" cy="282957"/>
          </a:xfrm>
        </p:spPr>
        <p:txBody>
          <a:bodyPr/>
          <a:lstStyle/>
          <a:p>
            <a:fld id="{3E04DF46-C0DC-4ADC-9A6F-918CC4703A43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Footer Placeholder">
            <a:extLst>
              <a:ext uri="{FF2B5EF4-FFF2-40B4-BE49-F238E27FC236}">
                <a16:creationId xmlns:a16="http://schemas.microsoft.com/office/drawing/2014/main" id="{55FFC31E-E405-EE5D-84F4-271FC2E1F99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8" y="6495103"/>
            <a:ext cx="3716341" cy="282957"/>
          </a:xfrm>
        </p:spPr>
        <p:txBody>
          <a:bodyPr/>
          <a:lstStyle/>
          <a:p>
            <a:endParaRPr lang="en-GB"/>
          </a:p>
        </p:txBody>
      </p:sp>
      <p:sp>
        <p:nvSpPr>
          <p:cNvPr id="12" name="Date Placeholder">
            <a:extLst>
              <a:ext uri="{FF2B5EF4-FFF2-40B4-BE49-F238E27FC236}">
                <a16:creationId xmlns:a16="http://schemas.microsoft.com/office/drawing/2014/main" id="{96FC01CD-E391-B88C-4294-55474F60DE8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3"/>
            <a:ext cx="757239" cy="282957"/>
          </a:xfrm>
        </p:spPr>
        <p:txBody>
          <a:bodyPr/>
          <a:lstStyle/>
          <a:p>
            <a:fld id="{1B0DF2C9-7B70-4009-B83E-42FD28295E6A}" type="datetime1">
              <a:rPr lang="en-GB" smtClean="0"/>
              <a:t>12/02/2026</a:t>
            </a:fld>
            <a:endParaRPr lang="en-GB"/>
          </a:p>
        </p:txBody>
      </p:sp>
      <p:sp>
        <p:nvSpPr>
          <p:cNvPr id="16" name="Source Placeholder">
            <a:extLst>
              <a:ext uri="{FF2B5EF4-FFF2-40B4-BE49-F238E27FC236}">
                <a16:creationId xmlns:a16="http://schemas.microsoft.com/office/drawing/2014/main" id="{DC33EFBA-9F80-C4A6-4F52-04BD9D8AD5B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6" hasCustomPrompt="1"/>
          </p:nvPr>
        </p:nvSpPr>
        <p:spPr>
          <a:xfrm>
            <a:off x="292100" y="6108701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395" lvl="0" indent="-171395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17" name="Content 3 Placeholder">
            <a:extLst>
              <a:ext uri="{FF2B5EF4-FFF2-40B4-BE49-F238E27FC236}">
                <a16:creationId xmlns:a16="http://schemas.microsoft.com/office/drawing/2014/main" id="{19AC42AA-357A-BBCD-7082-438C23F9891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7" hasCustomPrompt="1"/>
          </p:nvPr>
        </p:nvSpPr>
        <p:spPr>
          <a:xfrm>
            <a:off x="8199441" y="3771900"/>
            <a:ext cx="3700459" cy="19050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Image/Content 3 Placeholder">
            <a:extLst>
              <a:ext uri="{FF2B5EF4-FFF2-40B4-BE49-F238E27FC236}">
                <a16:creationId xmlns:a16="http://schemas.microsoft.com/office/drawing/2014/main" id="{F0ADA552-6794-0F4D-013E-A6DA97DBFF4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5" hasCustomPrompt="1"/>
          </p:nvPr>
        </p:nvSpPr>
        <p:spPr>
          <a:xfrm>
            <a:off x="8199441" y="1638300"/>
            <a:ext cx="3700459" cy="1905000"/>
          </a:xfrm>
          <a:solidFill>
            <a:srgbClr val="F0F0F0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dirty="0"/>
            </a:lvl1pPr>
            <a:lvl2pPr marL="285658" indent="0">
              <a:buNone/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0" lvl="0" indent="0" algn="ctr">
              <a:buNone/>
            </a:pPr>
            <a:r>
              <a:rPr lang="en-US"/>
              <a:t>Insert your copy here</a:t>
            </a:r>
          </a:p>
        </p:txBody>
      </p:sp>
      <p:sp>
        <p:nvSpPr>
          <p:cNvPr id="18" name="Content 2 Placeholder">
            <a:extLst>
              <a:ext uri="{FF2B5EF4-FFF2-40B4-BE49-F238E27FC236}">
                <a16:creationId xmlns:a16="http://schemas.microsoft.com/office/drawing/2014/main" id="{91174CB4-C42A-BB81-5C74-7EAE27158E3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8" hasCustomPrompt="1"/>
          </p:nvPr>
        </p:nvSpPr>
        <p:spPr>
          <a:xfrm>
            <a:off x="4245771" y="3771900"/>
            <a:ext cx="3700459" cy="19050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Image/Content 2 Placeholder">
            <a:extLst>
              <a:ext uri="{FF2B5EF4-FFF2-40B4-BE49-F238E27FC236}">
                <a16:creationId xmlns:a16="http://schemas.microsoft.com/office/drawing/2014/main" id="{EEE356A3-4F73-532E-E901-63F8001F850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4" hasCustomPrompt="1"/>
          </p:nvPr>
        </p:nvSpPr>
        <p:spPr>
          <a:xfrm>
            <a:off x="4245771" y="1638300"/>
            <a:ext cx="3700459" cy="1905000"/>
          </a:xfrm>
          <a:solidFill>
            <a:srgbClr val="F0F0F0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0" lvl="0" indent="0" algn="ctr">
              <a:buNone/>
            </a:pPr>
            <a:r>
              <a:rPr lang="en-US"/>
              <a:t>Insert your copy here</a:t>
            </a:r>
          </a:p>
        </p:txBody>
      </p:sp>
      <p:sp>
        <p:nvSpPr>
          <p:cNvPr id="19" name="Content 1 Placeholder">
            <a:extLst>
              <a:ext uri="{FF2B5EF4-FFF2-40B4-BE49-F238E27FC236}">
                <a16:creationId xmlns:a16="http://schemas.microsoft.com/office/drawing/2014/main" id="{20DCDE7D-AA2C-B7B3-8FBD-202D432B2BC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9" hasCustomPrompt="1"/>
          </p:nvPr>
        </p:nvSpPr>
        <p:spPr>
          <a:xfrm>
            <a:off x="292102" y="3771900"/>
            <a:ext cx="3700460" cy="19050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Image/Content 1 Placeholder">
            <a:extLst>
              <a:ext uri="{FF2B5EF4-FFF2-40B4-BE49-F238E27FC236}">
                <a16:creationId xmlns:a16="http://schemas.microsoft.com/office/drawing/2014/main" id="{2EA745BA-CA14-8FD0-05BA-8977508264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292102" y="1638300"/>
            <a:ext cx="3700460" cy="1905000"/>
          </a:xfrm>
          <a:solidFill>
            <a:srgbClr val="F0F0F0"/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GB"/>
              <a:t>Insert content</a:t>
            </a:r>
          </a:p>
        </p:txBody>
      </p:sp>
      <p:sp>
        <p:nvSpPr>
          <p:cNvPr id="20" name="Subtitle Placeholder">
            <a:extLst>
              <a:ext uri="{FF2B5EF4-FFF2-40B4-BE49-F238E27FC236}">
                <a16:creationId xmlns:a16="http://schemas.microsoft.com/office/drawing/2014/main" id="{54C4B065-17A6-1D25-422B-92271767584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3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395" marR="0" lvl="0" indent="-171395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21" name="Title Placeholder">
            <a:extLst>
              <a:ext uri="{FF2B5EF4-FFF2-40B4-BE49-F238E27FC236}">
                <a16:creationId xmlns:a16="http://schemas.microsoft.com/office/drawing/2014/main" id="{F79F3FC7-37DD-5A7A-D505-4F22DDE2487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1"/>
            <a:ext cx="11613315" cy="265590"/>
          </a:xfrm>
        </p:spPr>
        <p:txBody>
          <a:bodyPr/>
          <a:lstStyle/>
          <a:p>
            <a:r>
              <a:rPr lang="en-US"/>
              <a:t>Insert your slide title in Arial Bold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0819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525">
          <p15:clr>
            <a:srgbClr val="FDE53C"/>
          </p15:clr>
        </p15:guide>
        <p15:guide id="11" pos="2669">
          <p15:clr>
            <a:srgbClr val="FDE53C"/>
          </p15:clr>
        </p15:guide>
        <p15:guide id="18" pos="5010">
          <p15:clr>
            <a:srgbClr val="FDE53C"/>
          </p15:clr>
        </p15:guide>
        <p15:guide id="19" pos="5154">
          <p15:clr>
            <a:srgbClr val="FDE53C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">
            <a:extLst>
              <a:ext uri="{FF2B5EF4-FFF2-40B4-BE49-F238E27FC236}">
                <a16:creationId xmlns:a16="http://schemas.microsoft.com/office/drawing/2014/main" id="{D495B8CC-E8CB-7F1A-1316-9781EDA1285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8" y="6495101"/>
            <a:ext cx="404321" cy="282957"/>
          </a:xfrm>
        </p:spPr>
        <p:txBody>
          <a:bodyPr>
            <a:noAutofit/>
          </a:bodyPr>
          <a:lstStyle/>
          <a:p>
            <a:fld id="{3E04DF46-C0DC-4ADC-9A6F-918CC4703A43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Footer Placeholder">
            <a:extLst>
              <a:ext uri="{FF2B5EF4-FFF2-40B4-BE49-F238E27FC236}">
                <a16:creationId xmlns:a16="http://schemas.microsoft.com/office/drawing/2014/main" id="{755874C6-354E-0479-18AF-0B5B6F2D8DB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8" y="6495103"/>
            <a:ext cx="3716341" cy="282957"/>
          </a:xfrm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17" name="Date Placeholder">
            <a:extLst>
              <a:ext uri="{FF2B5EF4-FFF2-40B4-BE49-F238E27FC236}">
                <a16:creationId xmlns:a16="http://schemas.microsoft.com/office/drawing/2014/main" id="{7C2D774A-7DFB-C505-8D80-D8FC261E954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3"/>
            <a:ext cx="757239" cy="282957"/>
          </a:xfrm>
        </p:spPr>
        <p:txBody>
          <a:bodyPr>
            <a:noAutofit/>
          </a:bodyPr>
          <a:lstStyle/>
          <a:p>
            <a:fld id="{1B0DF2C9-7B70-4009-B83E-42FD28295E6A}" type="datetime1">
              <a:rPr lang="en-GB" smtClean="0"/>
              <a:t>12/02/2026</a:t>
            </a:fld>
            <a:endParaRPr lang="en-GB"/>
          </a:p>
        </p:txBody>
      </p:sp>
      <p:sp>
        <p:nvSpPr>
          <p:cNvPr id="18" name="Source Placeholder">
            <a:extLst>
              <a:ext uri="{FF2B5EF4-FFF2-40B4-BE49-F238E27FC236}">
                <a16:creationId xmlns:a16="http://schemas.microsoft.com/office/drawing/2014/main" id="{1D1442CA-AA80-3CCA-30CB-BC1CBF625A1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6" hasCustomPrompt="1"/>
          </p:nvPr>
        </p:nvSpPr>
        <p:spPr>
          <a:xfrm>
            <a:off x="292100" y="6108701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395" lvl="0" indent="-171395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27" name="Content 4 Placeholder">
            <a:extLst>
              <a:ext uri="{FF2B5EF4-FFF2-40B4-BE49-F238E27FC236}">
                <a16:creationId xmlns:a16="http://schemas.microsoft.com/office/drawing/2014/main" id="{7C2B5AD6-A6E3-3B28-9679-4CAA49FFC4B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7" hasCustomPrompt="1"/>
          </p:nvPr>
        </p:nvSpPr>
        <p:spPr>
          <a:xfrm>
            <a:off x="9169401" y="2019301"/>
            <a:ext cx="2725320" cy="36576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Header 4 Placeholder">
            <a:extLst>
              <a:ext uri="{FF2B5EF4-FFF2-40B4-BE49-F238E27FC236}">
                <a16:creationId xmlns:a16="http://schemas.microsoft.com/office/drawing/2014/main" id="{46CE2237-C386-E5C2-9850-234FCD6F556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8" hasCustomPrompt="1"/>
          </p:nvPr>
        </p:nvSpPr>
        <p:spPr>
          <a:xfrm>
            <a:off x="9169401" y="1308101"/>
            <a:ext cx="2730499" cy="620524"/>
          </a:xfrm>
        </p:spPr>
        <p:txBody>
          <a:bodyPr anchor="b">
            <a:noAutofit/>
          </a:bodyPr>
          <a:lstStyle>
            <a:lvl1pPr marL="0" indent="0">
              <a:buNone/>
              <a:defRPr sz="1599" b="1">
                <a:solidFill>
                  <a:schemeClr val="accent1"/>
                </a:solidFill>
              </a:defRPr>
            </a:lvl1pPr>
            <a:lvl2pPr marL="457051" indent="0">
              <a:buNone/>
              <a:defRPr sz="1999" b="1"/>
            </a:lvl2pPr>
            <a:lvl3pPr marL="914103" indent="0">
              <a:buNone/>
              <a:defRPr sz="1799" b="1"/>
            </a:lvl3pPr>
            <a:lvl4pPr marL="1371154" indent="0">
              <a:buNone/>
              <a:defRPr sz="1599" b="1"/>
            </a:lvl4pPr>
            <a:lvl5pPr marL="1828206" indent="0">
              <a:buNone/>
              <a:defRPr sz="1599" b="1"/>
            </a:lvl5pPr>
            <a:lvl6pPr marL="2285257" indent="0">
              <a:buNone/>
              <a:defRPr sz="1599" b="1"/>
            </a:lvl6pPr>
            <a:lvl7pPr marL="2742308" indent="0">
              <a:buNone/>
              <a:defRPr sz="1599" b="1"/>
            </a:lvl7pPr>
            <a:lvl8pPr marL="3199360" indent="0">
              <a:buNone/>
              <a:defRPr sz="1599" b="1"/>
            </a:lvl8pPr>
            <a:lvl9pPr marL="3656411" indent="0">
              <a:buNone/>
              <a:defRPr sz="1599" b="1"/>
            </a:lvl9pPr>
          </a:lstStyle>
          <a:p>
            <a:pPr lvl="0"/>
            <a:r>
              <a:rPr lang="en-US"/>
              <a:t>Insert column header</a:t>
            </a:r>
          </a:p>
        </p:txBody>
      </p:sp>
      <p:sp>
        <p:nvSpPr>
          <p:cNvPr id="19" name="Content 3 Placeholder">
            <a:extLst>
              <a:ext uri="{FF2B5EF4-FFF2-40B4-BE49-F238E27FC236}">
                <a16:creationId xmlns:a16="http://schemas.microsoft.com/office/drawing/2014/main" id="{9D282216-D102-1092-A42F-C09C78C616B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5" hasCustomPrompt="1"/>
          </p:nvPr>
        </p:nvSpPr>
        <p:spPr>
          <a:xfrm>
            <a:off x="6215481" y="2019301"/>
            <a:ext cx="2725320" cy="36576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Header 3 Placeholder">
            <a:extLst>
              <a:ext uri="{FF2B5EF4-FFF2-40B4-BE49-F238E27FC236}">
                <a16:creationId xmlns:a16="http://schemas.microsoft.com/office/drawing/2014/main" id="{DF86DE8F-0F64-3718-C7A3-3C0DA008E36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6215481" y="1308101"/>
            <a:ext cx="2730499" cy="620524"/>
          </a:xfrm>
        </p:spPr>
        <p:txBody>
          <a:bodyPr anchor="b">
            <a:noAutofit/>
          </a:bodyPr>
          <a:lstStyle>
            <a:lvl1pPr marL="0" indent="0">
              <a:buNone/>
              <a:defRPr sz="1599" b="1">
                <a:solidFill>
                  <a:schemeClr val="accent1"/>
                </a:solidFill>
              </a:defRPr>
            </a:lvl1pPr>
            <a:lvl2pPr marL="457051" indent="0">
              <a:buNone/>
              <a:defRPr sz="1999" b="1"/>
            </a:lvl2pPr>
            <a:lvl3pPr marL="914103" indent="0">
              <a:buNone/>
              <a:defRPr sz="1799" b="1"/>
            </a:lvl3pPr>
            <a:lvl4pPr marL="1371154" indent="0">
              <a:buNone/>
              <a:defRPr sz="1599" b="1"/>
            </a:lvl4pPr>
            <a:lvl5pPr marL="1828206" indent="0">
              <a:buNone/>
              <a:defRPr sz="1599" b="1"/>
            </a:lvl5pPr>
            <a:lvl6pPr marL="2285257" indent="0">
              <a:buNone/>
              <a:defRPr sz="1599" b="1"/>
            </a:lvl6pPr>
            <a:lvl7pPr marL="2742308" indent="0">
              <a:buNone/>
              <a:defRPr sz="1599" b="1"/>
            </a:lvl7pPr>
            <a:lvl8pPr marL="3199360" indent="0">
              <a:buNone/>
              <a:defRPr sz="1599" b="1"/>
            </a:lvl8pPr>
            <a:lvl9pPr marL="3656411" indent="0">
              <a:buNone/>
              <a:defRPr sz="1599" b="1"/>
            </a:lvl9pPr>
          </a:lstStyle>
          <a:p>
            <a:pPr lvl="0"/>
            <a:r>
              <a:rPr lang="en-US"/>
              <a:t>Insert column header</a:t>
            </a:r>
          </a:p>
        </p:txBody>
      </p:sp>
      <p:sp>
        <p:nvSpPr>
          <p:cNvPr id="21" name="Content 2 Placeholder">
            <a:extLst>
              <a:ext uri="{FF2B5EF4-FFF2-40B4-BE49-F238E27FC236}">
                <a16:creationId xmlns:a16="http://schemas.microsoft.com/office/drawing/2014/main" id="{0C107B28-6253-BBE5-A677-D106A288FC6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4" hasCustomPrompt="1"/>
          </p:nvPr>
        </p:nvSpPr>
        <p:spPr>
          <a:xfrm>
            <a:off x="3251201" y="2019301"/>
            <a:ext cx="2725320" cy="36576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Header 2 Placeholder">
            <a:extLst>
              <a:ext uri="{FF2B5EF4-FFF2-40B4-BE49-F238E27FC236}">
                <a16:creationId xmlns:a16="http://schemas.microsoft.com/office/drawing/2014/main" id="{F576DA41-4177-FBCB-15CA-5D5CFC03D6E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" hasCustomPrompt="1"/>
          </p:nvPr>
        </p:nvSpPr>
        <p:spPr>
          <a:xfrm>
            <a:off x="3251201" y="1308101"/>
            <a:ext cx="2730499" cy="620524"/>
          </a:xfrm>
        </p:spPr>
        <p:txBody>
          <a:bodyPr anchor="b">
            <a:noAutofit/>
          </a:bodyPr>
          <a:lstStyle>
            <a:lvl1pPr marL="0" indent="0">
              <a:buNone/>
              <a:defRPr sz="1599" b="1">
                <a:solidFill>
                  <a:schemeClr val="accent1"/>
                </a:solidFill>
              </a:defRPr>
            </a:lvl1pPr>
            <a:lvl2pPr marL="457051" indent="0">
              <a:buNone/>
              <a:defRPr sz="1999" b="1"/>
            </a:lvl2pPr>
            <a:lvl3pPr marL="914103" indent="0">
              <a:buNone/>
              <a:defRPr sz="1799" b="1"/>
            </a:lvl3pPr>
            <a:lvl4pPr marL="1371154" indent="0">
              <a:buNone/>
              <a:defRPr sz="1599" b="1"/>
            </a:lvl4pPr>
            <a:lvl5pPr marL="1828206" indent="0">
              <a:buNone/>
              <a:defRPr sz="1599" b="1"/>
            </a:lvl5pPr>
            <a:lvl6pPr marL="2285257" indent="0">
              <a:buNone/>
              <a:defRPr sz="1599" b="1"/>
            </a:lvl6pPr>
            <a:lvl7pPr marL="2742308" indent="0">
              <a:buNone/>
              <a:defRPr sz="1599" b="1"/>
            </a:lvl7pPr>
            <a:lvl8pPr marL="3199360" indent="0">
              <a:buNone/>
              <a:defRPr sz="1599" b="1"/>
            </a:lvl8pPr>
            <a:lvl9pPr marL="3656411" indent="0">
              <a:buNone/>
              <a:defRPr sz="1599" b="1"/>
            </a:lvl9pPr>
          </a:lstStyle>
          <a:p>
            <a:pPr lvl="0"/>
            <a:r>
              <a:rPr lang="en-US"/>
              <a:t>Insert column header</a:t>
            </a:r>
          </a:p>
        </p:txBody>
      </p:sp>
      <p:sp>
        <p:nvSpPr>
          <p:cNvPr id="23" name="Content 1 Placeholder">
            <a:extLst>
              <a:ext uri="{FF2B5EF4-FFF2-40B4-BE49-F238E27FC236}">
                <a16:creationId xmlns:a16="http://schemas.microsoft.com/office/drawing/2014/main" id="{798BF9BC-09E8-98E1-3853-58189E5CB99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292102" y="2019301"/>
            <a:ext cx="2725321" cy="36576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Header 1 Placeholder">
            <a:extLst>
              <a:ext uri="{FF2B5EF4-FFF2-40B4-BE49-F238E27FC236}">
                <a16:creationId xmlns:a16="http://schemas.microsoft.com/office/drawing/2014/main" id="{3DBA9534-E843-A204-0F9A-0F01FA42573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1" y="1308101"/>
            <a:ext cx="2730499" cy="620524"/>
          </a:xfrm>
        </p:spPr>
        <p:txBody>
          <a:bodyPr anchor="b">
            <a:noAutofit/>
          </a:bodyPr>
          <a:lstStyle>
            <a:lvl1pPr marL="0" indent="0">
              <a:buNone/>
              <a:defRPr sz="1599" b="1">
                <a:solidFill>
                  <a:schemeClr val="accent1"/>
                </a:solidFill>
              </a:defRPr>
            </a:lvl1pPr>
            <a:lvl2pPr marL="457051" indent="0">
              <a:buNone/>
              <a:defRPr sz="1999" b="1"/>
            </a:lvl2pPr>
            <a:lvl3pPr marL="914103" indent="0">
              <a:buNone/>
              <a:defRPr sz="1799" b="1"/>
            </a:lvl3pPr>
            <a:lvl4pPr marL="1371154" indent="0">
              <a:buNone/>
              <a:defRPr sz="1599" b="1"/>
            </a:lvl4pPr>
            <a:lvl5pPr marL="1828206" indent="0">
              <a:buNone/>
              <a:defRPr sz="1599" b="1"/>
            </a:lvl5pPr>
            <a:lvl6pPr marL="2285257" indent="0">
              <a:buNone/>
              <a:defRPr sz="1599" b="1"/>
            </a:lvl6pPr>
            <a:lvl7pPr marL="2742308" indent="0">
              <a:buNone/>
              <a:defRPr sz="1599" b="1"/>
            </a:lvl7pPr>
            <a:lvl8pPr marL="3199360" indent="0">
              <a:buNone/>
              <a:defRPr sz="1599" b="1"/>
            </a:lvl8pPr>
            <a:lvl9pPr marL="3656411" indent="0">
              <a:buNone/>
              <a:defRPr sz="1599" b="1"/>
            </a:lvl9pPr>
          </a:lstStyle>
          <a:p>
            <a:pPr lvl="0"/>
            <a:r>
              <a:rPr lang="en-US"/>
              <a:t>Insert column header</a:t>
            </a:r>
          </a:p>
        </p:txBody>
      </p:sp>
      <p:sp>
        <p:nvSpPr>
          <p:cNvPr id="25" name="Subtitle Placeholder">
            <a:extLst>
              <a:ext uri="{FF2B5EF4-FFF2-40B4-BE49-F238E27FC236}">
                <a16:creationId xmlns:a16="http://schemas.microsoft.com/office/drawing/2014/main" id="{F84E48B2-4370-582F-FBFE-E1DA1A8B91C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3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395" marR="0" lvl="0" indent="-171395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26" name="Title Placeholder">
            <a:extLst>
              <a:ext uri="{FF2B5EF4-FFF2-40B4-BE49-F238E27FC236}">
                <a16:creationId xmlns:a16="http://schemas.microsoft.com/office/drawing/2014/main" id="{3E0B6312-F182-139F-C3A4-F69C900CC48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1"/>
            <a:ext cx="11613315" cy="265590"/>
          </a:xfrm>
        </p:spPr>
        <p:txBody>
          <a:bodyPr>
            <a:noAutofit/>
          </a:bodyPr>
          <a:lstStyle/>
          <a:p>
            <a:r>
              <a:rPr lang="en-US"/>
              <a:t>Insert your slide title in Arial Bold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0763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904">
          <p15:clr>
            <a:srgbClr val="5ACBF0"/>
          </p15:clr>
        </p15:guide>
        <p15:guide id="9" pos="2048">
          <p15:clr>
            <a:srgbClr val="5ACBF0"/>
          </p15:clr>
        </p15:guide>
        <p15:guide id="14" pos="3768">
          <p15:clr>
            <a:srgbClr val="A4A3A4"/>
          </p15:clr>
        </p15:guide>
        <p15:guide id="15" pos="3912">
          <p15:clr>
            <a:srgbClr val="A4A3A4"/>
          </p15:clr>
        </p15:guide>
        <p15:guide id="20" pos="5631">
          <p15:clr>
            <a:srgbClr val="5ACBF0"/>
          </p15:clr>
        </p15:guide>
        <p15:guide id="21" pos="5775">
          <p15:clr>
            <a:srgbClr val="5ACBF0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">
            <a:extLst>
              <a:ext uri="{FF2B5EF4-FFF2-40B4-BE49-F238E27FC236}">
                <a16:creationId xmlns:a16="http://schemas.microsoft.com/office/drawing/2014/main" id="{63BBECEB-ADAD-567C-0E7F-32D5DD73D22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8" y="6495101"/>
            <a:ext cx="404321" cy="282957"/>
          </a:xfrm>
        </p:spPr>
        <p:txBody>
          <a:bodyPr>
            <a:noAutofit/>
          </a:bodyPr>
          <a:lstStyle/>
          <a:p>
            <a:fld id="{3E04DF46-C0DC-4ADC-9A6F-918CC4703A43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Footer Placeholder">
            <a:extLst>
              <a:ext uri="{FF2B5EF4-FFF2-40B4-BE49-F238E27FC236}">
                <a16:creationId xmlns:a16="http://schemas.microsoft.com/office/drawing/2014/main" id="{4CE5B1DD-3293-4063-F7F1-B70B9765EBB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8" y="6495103"/>
            <a:ext cx="3716341" cy="282957"/>
          </a:xfrm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12" name="Date Placeholder">
            <a:extLst>
              <a:ext uri="{FF2B5EF4-FFF2-40B4-BE49-F238E27FC236}">
                <a16:creationId xmlns:a16="http://schemas.microsoft.com/office/drawing/2014/main" id="{2B42008E-A492-279B-2ED3-A175F4B4468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3"/>
            <a:ext cx="757239" cy="282957"/>
          </a:xfrm>
        </p:spPr>
        <p:txBody>
          <a:bodyPr>
            <a:noAutofit/>
          </a:bodyPr>
          <a:lstStyle/>
          <a:p>
            <a:fld id="{1B0DF2C9-7B70-4009-B83E-42FD28295E6A}" type="datetime1">
              <a:rPr lang="en-GB" smtClean="0"/>
              <a:t>12/02/2026</a:t>
            </a:fld>
            <a:endParaRPr lang="en-GB"/>
          </a:p>
        </p:txBody>
      </p:sp>
      <p:sp>
        <p:nvSpPr>
          <p:cNvPr id="18" name="Source Placeholder">
            <a:extLst>
              <a:ext uri="{FF2B5EF4-FFF2-40B4-BE49-F238E27FC236}">
                <a16:creationId xmlns:a16="http://schemas.microsoft.com/office/drawing/2014/main" id="{B58D918B-E5ED-CEFD-AC78-E2B63F48FCB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6" hasCustomPrompt="1"/>
          </p:nvPr>
        </p:nvSpPr>
        <p:spPr>
          <a:xfrm>
            <a:off x="292100" y="6108701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395" lvl="0" indent="-171395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27" name="Content 4 Placeholder">
            <a:extLst>
              <a:ext uri="{FF2B5EF4-FFF2-40B4-BE49-F238E27FC236}">
                <a16:creationId xmlns:a16="http://schemas.microsoft.com/office/drawing/2014/main" id="{144A1808-BD26-954C-7A7D-83EEA82BA69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20" hasCustomPrompt="1"/>
          </p:nvPr>
        </p:nvSpPr>
        <p:spPr>
          <a:xfrm>
            <a:off x="9169399" y="3771900"/>
            <a:ext cx="2730499" cy="19050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Image/Content 4 Placeholder">
            <a:extLst>
              <a:ext uri="{FF2B5EF4-FFF2-40B4-BE49-F238E27FC236}">
                <a16:creationId xmlns:a16="http://schemas.microsoft.com/office/drawing/2014/main" id="{8FC58B79-91D4-E705-AA46-09881D8F6B6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21" hasCustomPrompt="1"/>
          </p:nvPr>
        </p:nvSpPr>
        <p:spPr>
          <a:xfrm>
            <a:off x="9169399" y="1638300"/>
            <a:ext cx="2730499" cy="1905000"/>
          </a:xfrm>
          <a:solidFill>
            <a:srgbClr val="F0F0F0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dirty="0"/>
            </a:lvl1pPr>
            <a:lvl2pPr marL="285658" indent="0">
              <a:buNone/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0" lvl="0" indent="0" algn="ctr">
              <a:buNone/>
            </a:pPr>
            <a:r>
              <a:rPr lang="en-US"/>
              <a:t>Insert your copy here</a:t>
            </a:r>
          </a:p>
        </p:txBody>
      </p:sp>
      <p:sp>
        <p:nvSpPr>
          <p:cNvPr id="19" name="Content 3 Placeholder">
            <a:extLst>
              <a:ext uri="{FF2B5EF4-FFF2-40B4-BE49-F238E27FC236}">
                <a16:creationId xmlns:a16="http://schemas.microsoft.com/office/drawing/2014/main" id="{1C68F5D6-927B-1890-8237-531EC33D821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7" hasCustomPrompt="1"/>
          </p:nvPr>
        </p:nvSpPr>
        <p:spPr>
          <a:xfrm>
            <a:off x="6210301" y="3771900"/>
            <a:ext cx="2730499" cy="19050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Image/Content 3 Placeholder">
            <a:extLst>
              <a:ext uri="{FF2B5EF4-FFF2-40B4-BE49-F238E27FC236}">
                <a16:creationId xmlns:a16="http://schemas.microsoft.com/office/drawing/2014/main" id="{6A6CF041-3B02-7A63-A899-5A7D01696A1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5" hasCustomPrompt="1"/>
          </p:nvPr>
        </p:nvSpPr>
        <p:spPr>
          <a:xfrm>
            <a:off x="6210301" y="1638300"/>
            <a:ext cx="2730499" cy="1905000"/>
          </a:xfrm>
          <a:solidFill>
            <a:srgbClr val="F0F0F0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dirty="0"/>
            </a:lvl1pPr>
            <a:lvl2pPr marL="285658" indent="0">
              <a:buNone/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0" lvl="0" indent="0" algn="ctr">
              <a:buNone/>
            </a:pPr>
            <a:r>
              <a:rPr lang="en-US"/>
              <a:t>Insert your copy here</a:t>
            </a:r>
          </a:p>
        </p:txBody>
      </p:sp>
      <p:sp>
        <p:nvSpPr>
          <p:cNvPr id="21" name="Content 2 Placeholder">
            <a:extLst>
              <a:ext uri="{FF2B5EF4-FFF2-40B4-BE49-F238E27FC236}">
                <a16:creationId xmlns:a16="http://schemas.microsoft.com/office/drawing/2014/main" id="{D738D949-C558-6B16-B96A-624CAABF5C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8" hasCustomPrompt="1"/>
          </p:nvPr>
        </p:nvSpPr>
        <p:spPr>
          <a:xfrm>
            <a:off x="3251203" y="3771900"/>
            <a:ext cx="2730499" cy="19050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Image/Content 2 Placeholder">
            <a:extLst>
              <a:ext uri="{FF2B5EF4-FFF2-40B4-BE49-F238E27FC236}">
                <a16:creationId xmlns:a16="http://schemas.microsoft.com/office/drawing/2014/main" id="{5F2A25EF-6714-B247-2DB2-B0DC035CA2A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4" hasCustomPrompt="1"/>
          </p:nvPr>
        </p:nvSpPr>
        <p:spPr>
          <a:xfrm>
            <a:off x="3251203" y="1638300"/>
            <a:ext cx="2730499" cy="1905000"/>
          </a:xfrm>
          <a:solidFill>
            <a:srgbClr val="F0F0F0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0" lvl="0" indent="0" algn="ctr">
              <a:buNone/>
            </a:pPr>
            <a:r>
              <a:rPr lang="en-US"/>
              <a:t>Insert your copy here</a:t>
            </a:r>
          </a:p>
        </p:txBody>
      </p:sp>
      <p:sp>
        <p:nvSpPr>
          <p:cNvPr id="23" name="Content 1 Placeholder">
            <a:extLst>
              <a:ext uri="{FF2B5EF4-FFF2-40B4-BE49-F238E27FC236}">
                <a16:creationId xmlns:a16="http://schemas.microsoft.com/office/drawing/2014/main" id="{9B7A0767-D64A-2252-7ED8-79BDD2A285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9" hasCustomPrompt="1"/>
          </p:nvPr>
        </p:nvSpPr>
        <p:spPr>
          <a:xfrm>
            <a:off x="292102" y="3771900"/>
            <a:ext cx="2730500" cy="19050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Image/Content 1 Placeholder">
            <a:extLst>
              <a:ext uri="{FF2B5EF4-FFF2-40B4-BE49-F238E27FC236}">
                <a16:creationId xmlns:a16="http://schemas.microsoft.com/office/drawing/2014/main" id="{ACCC2EE9-2558-5373-EC90-280A39D1898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292102" y="1638300"/>
            <a:ext cx="2730500" cy="1905000"/>
          </a:xfrm>
          <a:solidFill>
            <a:srgbClr val="F0F0F0"/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GB"/>
              <a:t>Insert content</a:t>
            </a:r>
          </a:p>
        </p:txBody>
      </p:sp>
      <p:sp>
        <p:nvSpPr>
          <p:cNvPr id="25" name="Subtitle Placeholder">
            <a:extLst>
              <a:ext uri="{FF2B5EF4-FFF2-40B4-BE49-F238E27FC236}">
                <a16:creationId xmlns:a16="http://schemas.microsoft.com/office/drawing/2014/main" id="{377C48EF-B0F0-FB83-53E1-3E98D8DF928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3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395" marR="0" lvl="0" indent="-171395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26" name="Title Placeholder">
            <a:extLst>
              <a:ext uri="{FF2B5EF4-FFF2-40B4-BE49-F238E27FC236}">
                <a16:creationId xmlns:a16="http://schemas.microsoft.com/office/drawing/2014/main" id="{11AA0F79-4C10-AAB7-4E1A-A1143BCD44D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1"/>
            <a:ext cx="11613315" cy="265590"/>
          </a:xfrm>
        </p:spPr>
        <p:txBody>
          <a:bodyPr>
            <a:noAutofit/>
          </a:bodyPr>
          <a:lstStyle/>
          <a:p>
            <a:r>
              <a:rPr lang="en-US"/>
              <a:t>Insert your slide title in Arial Bold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593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904">
          <p15:clr>
            <a:srgbClr val="5ACBF0"/>
          </p15:clr>
        </p15:guide>
        <p15:guide id="9" pos="2048">
          <p15:clr>
            <a:srgbClr val="5ACBF0"/>
          </p15:clr>
        </p15:guide>
        <p15:guide id="14" pos="3768">
          <p15:clr>
            <a:srgbClr val="A4A3A4"/>
          </p15:clr>
        </p15:guide>
        <p15:guide id="15" pos="3912">
          <p15:clr>
            <a:srgbClr val="A4A3A4"/>
          </p15:clr>
        </p15:guide>
        <p15:guide id="20" pos="5631">
          <p15:clr>
            <a:srgbClr val="5ACBF0"/>
          </p15:clr>
        </p15:guide>
        <p15:guide id="21" pos="5775">
          <p15:clr>
            <a:srgbClr val="5ACBF0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Laptop Frame">
            <a:extLst>
              <a:ext uri="{FF2B5EF4-FFF2-40B4-BE49-F238E27FC236}">
                <a16:creationId xmlns:a16="http://schemas.microsoft.com/office/drawing/2014/main" id="{28CA7E52-1DEF-001D-23AD-F3A1C94F9472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4124689" y="1638300"/>
            <a:ext cx="7893777" cy="4138018"/>
            <a:chOff x="3936001" y="1448418"/>
            <a:chExt cx="8256000" cy="4327900"/>
          </a:xfrm>
        </p:grpSpPr>
        <p:pic>
          <p:nvPicPr>
            <p:cNvPr id="13" name="Shape">
              <a:extLst>
                <a:ext uri="{FF2B5EF4-FFF2-40B4-BE49-F238E27FC236}">
                  <a16:creationId xmlns:a16="http://schemas.microsoft.com/office/drawing/2014/main" id="{2AB0D041-303A-5AF4-862E-A74ACD791CB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3936001" y="1448418"/>
              <a:ext cx="8256000" cy="4327900"/>
            </a:xfrm>
            <a:prstGeom prst="rect">
              <a:avLst/>
            </a:prstGeom>
          </p:spPr>
        </p:pic>
        <p:sp>
          <p:nvSpPr>
            <p:cNvPr id="14" name="Redact">
              <a:extLst>
                <a:ext uri="{FF2B5EF4-FFF2-40B4-BE49-F238E27FC236}">
                  <a16:creationId xmlns:a16="http://schemas.microsoft.com/office/drawing/2014/main" id="{A4E3EFDE-C5ED-BDD5-F21C-80D4CA71AD8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7892321" y="5403954"/>
              <a:ext cx="329784" cy="74951"/>
            </a:xfrm>
            <a:prstGeom prst="rect">
              <a:avLst/>
            </a:prstGeom>
            <a:solidFill>
              <a:srgbClr val="2D2D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799"/>
            </a:p>
          </p:txBody>
        </p:sp>
      </p:grpSp>
      <p:sp>
        <p:nvSpPr>
          <p:cNvPr id="15" name="Picture Placeholder">
            <a:extLst>
              <a:ext uri="{FF2B5EF4-FFF2-40B4-BE49-F238E27FC236}">
                <a16:creationId xmlns:a16="http://schemas.microsoft.com/office/drawing/2014/main" id="{74F0AE2B-B9B7-3100-37FB-FCDFB48EDE7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7" hasCustomPrompt="1"/>
          </p:nvPr>
        </p:nvSpPr>
        <p:spPr bwMode="gray">
          <a:xfrm>
            <a:off x="5290129" y="1739901"/>
            <a:ext cx="5566620" cy="3619500"/>
          </a:xfrm>
          <a:prstGeom prst="roundRect">
            <a:avLst>
              <a:gd name="adj" fmla="val 1482"/>
            </a:avLst>
          </a:prstGeom>
          <a:solidFill>
            <a:schemeClr val="tx1"/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 Click picture icon to add photo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F40ED59A-96CE-38E9-B955-808CAC1BBE9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8" y="6495101"/>
            <a:ext cx="404321" cy="282957"/>
          </a:xfrm>
        </p:spPr>
        <p:txBody>
          <a:bodyPr>
            <a:noAutofit/>
          </a:bodyPr>
          <a:lstStyle/>
          <a:p>
            <a:fld id="{3E04DF46-C0DC-4ADC-9A6F-918CC4703A43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Footer Placeholder">
            <a:extLst>
              <a:ext uri="{FF2B5EF4-FFF2-40B4-BE49-F238E27FC236}">
                <a16:creationId xmlns:a16="http://schemas.microsoft.com/office/drawing/2014/main" id="{12ABF694-3377-ED1E-A0A9-F03E499ECE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8" y="6495103"/>
            <a:ext cx="3716341" cy="282957"/>
          </a:xfrm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11" name="Date Placeholder">
            <a:extLst>
              <a:ext uri="{FF2B5EF4-FFF2-40B4-BE49-F238E27FC236}">
                <a16:creationId xmlns:a16="http://schemas.microsoft.com/office/drawing/2014/main" id="{6C70B518-71FA-524B-8A6C-76B2F1192A0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3"/>
            <a:ext cx="757239" cy="282957"/>
          </a:xfrm>
        </p:spPr>
        <p:txBody>
          <a:bodyPr>
            <a:noAutofit/>
          </a:bodyPr>
          <a:lstStyle/>
          <a:p>
            <a:fld id="{A95ACABD-257F-48AB-94D3-B913B9097175}" type="datetime1">
              <a:rPr lang="en-GB" smtClean="0"/>
              <a:t>12/02/2026</a:t>
            </a:fld>
            <a:endParaRPr lang="en-GB"/>
          </a:p>
        </p:txBody>
      </p:sp>
      <p:sp>
        <p:nvSpPr>
          <p:cNvPr id="16" name="Source Placeholder">
            <a:extLst>
              <a:ext uri="{FF2B5EF4-FFF2-40B4-BE49-F238E27FC236}">
                <a16:creationId xmlns:a16="http://schemas.microsoft.com/office/drawing/2014/main" id="{92349AC3-43C9-A349-AF2E-C029A34491C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1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395" lvl="0" indent="-171395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7" name="Content Placeholder">
            <a:extLst>
              <a:ext uri="{FF2B5EF4-FFF2-40B4-BE49-F238E27FC236}">
                <a16:creationId xmlns:a16="http://schemas.microsoft.com/office/drawing/2014/main" id="{2EA745BA-CA14-8FD0-05BA-8977508264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292102" y="2019301"/>
            <a:ext cx="3700460" cy="36576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Header Placeholder">
            <a:extLst>
              <a:ext uri="{FF2B5EF4-FFF2-40B4-BE49-F238E27FC236}">
                <a16:creationId xmlns:a16="http://schemas.microsoft.com/office/drawing/2014/main" id="{97696C2F-B753-BD09-3B16-F91EAC65E0F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2" y="1308101"/>
            <a:ext cx="3710815" cy="620524"/>
          </a:xfrm>
        </p:spPr>
        <p:txBody>
          <a:bodyPr anchor="b">
            <a:noAutofit/>
          </a:bodyPr>
          <a:lstStyle>
            <a:lvl1pPr marL="0" indent="0">
              <a:buNone/>
              <a:defRPr sz="1599" b="1">
                <a:solidFill>
                  <a:schemeClr val="accent1"/>
                </a:solidFill>
              </a:defRPr>
            </a:lvl1pPr>
            <a:lvl2pPr marL="457051" indent="0">
              <a:buNone/>
              <a:defRPr sz="1999" b="1"/>
            </a:lvl2pPr>
            <a:lvl3pPr marL="914103" indent="0">
              <a:buNone/>
              <a:defRPr sz="1799" b="1"/>
            </a:lvl3pPr>
            <a:lvl4pPr marL="1371154" indent="0">
              <a:buNone/>
              <a:defRPr sz="1599" b="1"/>
            </a:lvl4pPr>
            <a:lvl5pPr marL="1828206" indent="0">
              <a:buNone/>
              <a:defRPr sz="1599" b="1"/>
            </a:lvl5pPr>
            <a:lvl6pPr marL="2285257" indent="0">
              <a:buNone/>
              <a:defRPr sz="1599" b="1"/>
            </a:lvl6pPr>
            <a:lvl7pPr marL="2742308" indent="0">
              <a:buNone/>
              <a:defRPr sz="1599" b="1"/>
            </a:lvl7pPr>
            <a:lvl8pPr marL="3199360" indent="0">
              <a:buNone/>
              <a:defRPr sz="1599" b="1"/>
            </a:lvl8pPr>
            <a:lvl9pPr marL="3656411" indent="0">
              <a:buNone/>
              <a:defRPr sz="1599" b="1"/>
            </a:lvl9pPr>
          </a:lstStyle>
          <a:p>
            <a:pPr lvl="0"/>
            <a:r>
              <a:rPr lang="en-US"/>
              <a:t>Insert column header</a:t>
            </a:r>
          </a:p>
        </p:txBody>
      </p:sp>
      <p:sp>
        <p:nvSpPr>
          <p:cNvPr id="17" name="Subtitle Placeholder">
            <a:extLst>
              <a:ext uri="{FF2B5EF4-FFF2-40B4-BE49-F238E27FC236}">
                <a16:creationId xmlns:a16="http://schemas.microsoft.com/office/drawing/2014/main" id="{73234507-5FFE-AB0B-1739-6DC3FB8BBDB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3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395" marR="0" lvl="0" indent="-171395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18" name="Title Placeholder">
            <a:extLst>
              <a:ext uri="{FF2B5EF4-FFF2-40B4-BE49-F238E27FC236}">
                <a16:creationId xmlns:a16="http://schemas.microsoft.com/office/drawing/2014/main" id="{173559CA-3B9C-F323-35EC-DBADE1584BE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1"/>
            <a:ext cx="11613315" cy="265590"/>
          </a:xfrm>
        </p:spPr>
        <p:txBody>
          <a:bodyPr>
            <a:noAutofit/>
          </a:bodyPr>
          <a:lstStyle/>
          <a:p>
            <a:r>
              <a:rPr lang="en-US"/>
              <a:t>Insert your slide title in Arial Bold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4076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525">
          <p15:clr>
            <a:srgbClr val="FDE53C"/>
          </p15:clr>
        </p15:guide>
        <p15:guide id="11" pos="2669">
          <p15:clr>
            <a:srgbClr val="FDE53C"/>
          </p15:clr>
        </p15:guide>
        <p15:guide id="18" pos="5010">
          <p15:clr>
            <a:srgbClr val="FDE53C"/>
          </p15:clr>
        </p15:guide>
        <p15:guide id="19" pos="5154">
          <p15:clr>
            <a:srgbClr val="FDE53C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">
            <a:extLst>
              <a:ext uri="{FF2B5EF4-FFF2-40B4-BE49-F238E27FC236}">
                <a16:creationId xmlns:a16="http://schemas.microsoft.com/office/drawing/2014/main" id="{D855F1A0-B3DE-8CBB-753A-EBAB8DE25C2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8" y="6495101"/>
            <a:ext cx="404321" cy="282957"/>
          </a:xfrm>
        </p:spPr>
        <p:txBody>
          <a:bodyPr>
            <a:noAutofit/>
          </a:bodyPr>
          <a:lstStyle/>
          <a:p>
            <a:fld id="{3E04DF46-C0DC-4ADC-9A6F-918CC4703A43}" type="slidenum">
              <a:rPr lang="en-GB" smtClean="0"/>
              <a:t>‹#›</a:t>
            </a:fld>
            <a:endParaRPr lang="en-GB"/>
          </a:p>
        </p:txBody>
      </p:sp>
      <p:sp>
        <p:nvSpPr>
          <p:cNvPr id="13" name="Footer Placeholder">
            <a:extLst>
              <a:ext uri="{FF2B5EF4-FFF2-40B4-BE49-F238E27FC236}">
                <a16:creationId xmlns:a16="http://schemas.microsoft.com/office/drawing/2014/main" id="{ED39D506-68E8-D832-DF39-5B6BE145087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8" y="6495103"/>
            <a:ext cx="3716341" cy="282957"/>
          </a:xfrm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14" name="Date Placeholder">
            <a:extLst>
              <a:ext uri="{FF2B5EF4-FFF2-40B4-BE49-F238E27FC236}">
                <a16:creationId xmlns:a16="http://schemas.microsoft.com/office/drawing/2014/main" id="{462487FC-31D3-3400-936D-53E132CBF69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3"/>
            <a:ext cx="757239" cy="282957"/>
          </a:xfrm>
        </p:spPr>
        <p:txBody>
          <a:bodyPr>
            <a:noAutofit/>
          </a:bodyPr>
          <a:lstStyle/>
          <a:p>
            <a:fld id="{A95ACABD-257F-48AB-94D3-B913B9097175}" type="datetime1">
              <a:rPr lang="en-GB" smtClean="0"/>
              <a:t>12/02/2026</a:t>
            </a:fld>
            <a:endParaRPr lang="en-GB"/>
          </a:p>
        </p:txBody>
      </p:sp>
      <p:sp>
        <p:nvSpPr>
          <p:cNvPr id="15" name="Source Placeholder">
            <a:extLst>
              <a:ext uri="{FF2B5EF4-FFF2-40B4-BE49-F238E27FC236}">
                <a16:creationId xmlns:a16="http://schemas.microsoft.com/office/drawing/2014/main" id="{99790FFB-129C-6DB8-7083-44E68EB4BF7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1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395" lvl="0" indent="-171395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pic>
        <p:nvPicPr>
          <p:cNvPr id="9" name="Tablet Frame">
            <a:extLst>
              <a:ext uri="{FF2B5EF4-FFF2-40B4-BE49-F238E27FC236}">
                <a16:creationId xmlns:a16="http://schemas.microsoft.com/office/drawing/2014/main" id="{9489571B-A37B-8754-6A0A-0144963120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784636" y="1606014"/>
            <a:ext cx="8139891" cy="4434024"/>
          </a:xfrm>
          <a:prstGeom prst="rect">
            <a:avLst/>
          </a:prstGeom>
        </p:spPr>
      </p:pic>
      <p:sp>
        <p:nvSpPr>
          <p:cNvPr id="10" name="Picture Placeholder">
            <a:extLst>
              <a:ext uri="{FF2B5EF4-FFF2-40B4-BE49-F238E27FC236}">
                <a16:creationId xmlns:a16="http://schemas.microsoft.com/office/drawing/2014/main" id="{2B100C95-A8AE-9316-439D-4F2A091DD08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7" hasCustomPrompt="1"/>
          </p:nvPr>
        </p:nvSpPr>
        <p:spPr bwMode="gray">
          <a:xfrm>
            <a:off x="5149851" y="1765300"/>
            <a:ext cx="5753100" cy="3797300"/>
          </a:xfrm>
          <a:prstGeom prst="roundRect">
            <a:avLst>
              <a:gd name="adj" fmla="val 5312"/>
            </a:avLst>
          </a:prstGeom>
          <a:solidFill>
            <a:schemeClr val="tx1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GB"/>
              <a:t> Click to add photo</a:t>
            </a:r>
          </a:p>
        </p:txBody>
      </p:sp>
      <p:sp>
        <p:nvSpPr>
          <p:cNvPr id="7" name="Content Placeholder">
            <a:extLst>
              <a:ext uri="{FF2B5EF4-FFF2-40B4-BE49-F238E27FC236}">
                <a16:creationId xmlns:a16="http://schemas.microsoft.com/office/drawing/2014/main" id="{2EA745BA-CA14-8FD0-05BA-8977508264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292102" y="2019301"/>
            <a:ext cx="3700460" cy="36576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Header Placeholder">
            <a:extLst>
              <a:ext uri="{FF2B5EF4-FFF2-40B4-BE49-F238E27FC236}">
                <a16:creationId xmlns:a16="http://schemas.microsoft.com/office/drawing/2014/main" id="{97696C2F-B753-BD09-3B16-F91EAC65E0F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2" y="1308101"/>
            <a:ext cx="3710815" cy="620524"/>
          </a:xfrm>
        </p:spPr>
        <p:txBody>
          <a:bodyPr anchor="b">
            <a:noAutofit/>
          </a:bodyPr>
          <a:lstStyle>
            <a:lvl1pPr marL="0" indent="0">
              <a:buNone/>
              <a:defRPr sz="1599" b="1">
                <a:solidFill>
                  <a:schemeClr val="accent1"/>
                </a:solidFill>
              </a:defRPr>
            </a:lvl1pPr>
            <a:lvl2pPr marL="457051" indent="0">
              <a:buNone/>
              <a:defRPr sz="1999" b="1"/>
            </a:lvl2pPr>
            <a:lvl3pPr marL="914103" indent="0">
              <a:buNone/>
              <a:defRPr sz="1799" b="1"/>
            </a:lvl3pPr>
            <a:lvl4pPr marL="1371154" indent="0">
              <a:buNone/>
              <a:defRPr sz="1599" b="1"/>
            </a:lvl4pPr>
            <a:lvl5pPr marL="1828206" indent="0">
              <a:buNone/>
              <a:defRPr sz="1599" b="1"/>
            </a:lvl5pPr>
            <a:lvl6pPr marL="2285257" indent="0">
              <a:buNone/>
              <a:defRPr sz="1599" b="1"/>
            </a:lvl6pPr>
            <a:lvl7pPr marL="2742308" indent="0">
              <a:buNone/>
              <a:defRPr sz="1599" b="1"/>
            </a:lvl7pPr>
            <a:lvl8pPr marL="3199360" indent="0">
              <a:buNone/>
              <a:defRPr sz="1599" b="1"/>
            </a:lvl8pPr>
            <a:lvl9pPr marL="3656411" indent="0">
              <a:buNone/>
              <a:defRPr sz="1599" b="1"/>
            </a:lvl9pPr>
          </a:lstStyle>
          <a:p>
            <a:pPr lvl="0"/>
            <a:r>
              <a:rPr lang="en-US"/>
              <a:t>Insert column header</a:t>
            </a:r>
          </a:p>
        </p:txBody>
      </p:sp>
      <p:sp>
        <p:nvSpPr>
          <p:cNvPr id="16" name="Subtitle Placeholder">
            <a:extLst>
              <a:ext uri="{FF2B5EF4-FFF2-40B4-BE49-F238E27FC236}">
                <a16:creationId xmlns:a16="http://schemas.microsoft.com/office/drawing/2014/main" id="{54C4987E-C48B-8EC9-E43A-A8293855B44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3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395" marR="0" lvl="0" indent="-171395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17" name="Title Placeholder">
            <a:extLst>
              <a:ext uri="{FF2B5EF4-FFF2-40B4-BE49-F238E27FC236}">
                <a16:creationId xmlns:a16="http://schemas.microsoft.com/office/drawing/2014/main" id="{36465407-29C7-E82D-8FA8-8F0F4FCCD26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1"/>
            <a:ext cx="11613315" cy="265590"/>
          </a:xfrm>
        </p:spPr>
        <p:txBody>
          <a:bodyPr>
            <a:noAutofit/>
          </a:bodyPr>
          <a:lstStyle/>
          <a:p>
            <a:r>
              <a:rPr lang="en-US"/>
              <a:t>Insert your slide title in Arial Bold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2999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525">
          <p15:clr>
            <a:srgbClr val="FDE53C"/>
          </p15:clr>
        </p15:guide>
        <p15:guide id="11" pos="2669">
          <p15:clr>
            <a:srgbClr val="FDE53C"/>
          </p15:clr>
        </p15:guide>
        <p15:guide id="18" pos="5010">
          <p15:clr>
            <a:srgbClr val="FDE53C"/>
          </p15:clr>
        </p15:guide>
        <p15:guide id="19" pos="5154">
          <p15:clr>
            <a:srgbClr val="FDE53C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0D075AAD-92E8-E876-C437-4DA760B06A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8" y="6495101"/>
            <a:ext cx="404321" cy="282957"/>
          </a:xfrm>
        </p:spPr>
        <p:txBody>
          <a:bodyPr>
            <a:noAutofit/>
          </a:bodyPr>
          <a:lstStyle/>
          <a:p>
            <a:fld id="{3E04DF46-C0DC-4ADC-9A6F-918CC4703A43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7F6973E-B506-459C-8409-EDC0F9FEB64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8" y="6495103"/>
            <a:ext cx="3716341" cy="282957"/>
          </a:xfrm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11" name="Date Placeholder">
            <a:extLst>
              <a:ext uri="{FF2B5EF4-FFF2-40B4-BE49-F238E27FC236}">
                <a16:creationId xmlns:a16="http://schemas.microsoft.com/office/drawing/2014/main" id="{D92AE263-867A-3BFE-D77F-172427CCFD5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3"/>
            <a:ext cx="757239" cy="282957"/>
          </a:xfrm>
        </p:spPr>
        <p:txBody>
          <a:bodyPr>
            <a:noAutofit/>
          </a:bodyPr>
          <a:lstStyle/>
          <a:p>
            <a:fld id="{A95ACABD-257F-48AB-94D3-B913B9097175}" type="datetime1">
              <a:rPr lang="en-GB" smtClean="0"/>
              <a:t>12/02/2026</a:t>
            </a:fld>
            <a:endParaRPr lang="en-GB"/>
          </a:p>
        </p:txBody>
      </p:sp>
      <p:sp>
        <p:nvSpPr>
          <p:cNvPr id="15" name="Source Placeholder">
            <a:extLst>
              <a:ext uri="{FF2B5EF4-FFF2-40B4-BE49-F238E27FC236}">
                <a16:creationId xmlns:a16="http://schemas.microsoft.com/office/drawing/2014/main" id="{4CF2C7F5-1F44-0A19-3182-4B375AB6F89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1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395" lvl="0" indent="-171395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pic>
        <p:nvPicPr>
          <p:cNvPr id="2" name="Smartphone Frame">
            <a:extLst>
              <a:ext uri="{FF2B5EF4-FFF2-40B4-BE49-F238E27FC236}">
                <a16:creationId xmlns:a16="http://schemas.microsoft.com/office/drawing/2014/main" id="{8FEE0E6E-6D89-CD10-D4A2-0D249DEDC1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500503" y="1197507"/>
            <a:ext cx="3096000" cy="4787820"/>
          </a:xfrm>
          <a:prstGeom prst="rect">
            <a:avLst/>
          </a:prstGeom>
        </p:spPr>
      </p:pic>
      <p:sp>
        <p:nvSpPr>
          <p:cNvPr id="10" name="Picture Placeholder">
            <a:extLst>
              <a:ext uri="{FF2B5EF4-FFF2-40B4-BE49-F238E27FC236}">
                <a16:creationId xmlns:a16="http://schemas.microsoft.com/office/drawing/2014/main" id="{7F98CD2C-62E2-FC8B-548B-D3ADCC2F9CD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7" hasCustomPrompt="1"/>
          </p:nvPr>
        </p:nvSpPr>
        <p:spPr bwMode="gray">
          <a:xfrm>
            <a:off x="8018063" y="1288629"/>
            <a:ext cx="2057400" cy="4450079"/>
          </a:xfrm>
          <a:prstGeom prst="roundRect">
            <a:avLst>
              <a:gd name="adj" fmla="val 12964"/>
            </a:avLst>
          </a:prstGeom>
          <a:solidFill>
            <a:schemeClr val="tx1"/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 Click picture icon to add photo</a:t>
            </a:r>
          </a:p>
        </p:txBody>
      </p:sp>
      <p:sp>
        <p:nvSpPr>
          <p:cNvPr id="4" name="Content Placeholder">
            <a:extLst>
              <a:ext uri="{FF2B5EF4-FFF2-40B4-BE49-F238E27FC236}">
                <a16:creationId xmlns:a16="http://schemas.microsoft.com/office/drawing/2014/main" id="{984C70C1-C2F6-EFE6-3AEB-EEEE97D8D82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292102" y="2019301"/>
            <a:ext cx="5673721" cy="36576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Header Placeholder">
            <a:extLst>
              <a:ext uri="{FF2B5EF4-FFF2-40B4-BE49-F238E27FC236}">
                <a16:creationId xmlns:a16="http://schemas.microsoft.com/office/drawing/2014/main" id="{E16F9965-5453-60FF-D1EB-3A608CF7F7B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0" y="1308101"/>
            <a:ext cx="5689599" cy="620524"/>
          </a:xfrm>
        </p:spPr>
        <p:txBody>
          <a:bodyPr anchor="b">
            <a:noAutofit/>
          </a:bodyPr>
          <a:lstStyle>
            <a:lvl1pPr marL="0" indent="0">
              <a:buNone/>
              <a:defRPr sz="1599" b="1">
                <a:solidFill>
                  <a:schemeClr val="accent1"/>
                </a:solidFill>
              </a:defRPr>
            </a:lvl1pPr>
            <a:lvl2pPr marL="457051" indent="0">
              <a:buNone/>
              <a:defRPr sz="1999" b="1"/>
            </a:lvl2pPr>
            <a:lvl3pPr marL="914103" indent="0">
              <a:buNone/>
              <a:defRPr sz="1799" b="1"/>
            </a:lvl3pPr>
            <a:lvl4pPr marL="1371154" indent="0">
              <a:buNone/>
              <a:defRPr sz="1599" b="1"/>
            </a:lvl4pPr>
            <a:lvl5pPr marL="1828206" indent="0">
              <a:buNone/>
              <a:defRPr sz="1599" b="1"/>
            </a:lvl5pPr>
            <a:lvl6pPr marL="2285257" indent="0">
              <a:buNone/>
              <a:defRPr sz="1599" b="1"/>
            </a:lvl6pPr>
            <a:lvl7pPr marL="2742308" indent="0">
              <a:buNone/>
              <a:defRPr sz="1599" b="1"/>
            </a:lvl7pPr>
            <a:lvl8pPr marL="3199360" indent="0">
              <a:buNone/>
              <a:defRPr sz="1599" b="1"/>
            </a:lvl8pPr>
            <a:lvl9pPr marL="3656411" indent="0">
              <a:buNone/>
              <a:defRPr sz="1599" b="1"/>
            </a:lvl9pPr>
          </a:lstStyle>
          <a:p>
            <a:pPr lvl="0"/>
            <a:r>
              <a:rPr lang="en-US"/>
              <a:t>Insert column header</a:t>
            </a:r>
          </a:p>
        </p:txBody>
      </p:sp>
      <p:sp>
        <p:nvSpPr>
          <p:cNvPr id="16" name="Subtitle Placeholder">
            <a:extLst>
              <a:ext uri="{FF2B5EF4-FFF2-40B4-BE49-F238E27FC236}">
                <a16:creationId xmlns:a16="http://schemas.microsoft.com/office/drawing/2014/main" id="{1177695A-5838-D1AD-85A0-C2DC4AE6192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3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395" marR="0" lvl="0" indent="-171395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17" name="Title Placeholder">
            <a:extLst>
              <a:ext uri="{FF2B5EF4-FFF2-40B4-BE49-F238E27FC236}">
                <a16:creationId xmlns:a16="http://schemas.microsoft.com/office/drawing/2014/main" id="{6438D16E-D0B0-429C-0E43-66D0F19014E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1"/>
            <a:ext cx="11613315" cy="265590"/>
          </a:xfrm>
        </p:spPr>
        <p:txBody>
          <a:bodyPr>
            <a:noAutofit/>
          </a:bodyPr>
          <a:lstStyle/>
          <a:p>
            <a:r>
              <a:rPr lang="en-US"/>
              <a:t>Insert your slide title in Arial Bold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9427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768">
          <p15:clr>
            <a:srgbClr val="A4A3A4"/>
          </p15:clr>
        </p15:guide>
        <p15:guide id="5" pos="3912">
          <p15:clr>
            <a:srgbClr val="A4A3A4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">
            <a:extLst>
              <a:ext uri="{FF2B5EF4-FFF2-40B4-BE49-F238E27FC236}">
                <a16:creationId xmlns:a16="http://schemas.microsoft.com/office/drawing/2014/main" id="{7880336B-6551-8B18-CD4D-52CF1537E46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8" y="6495101"/>
            <a:ext cx="404321" cy="282957"/>
          </a:xfrm>
        </p:spPr>
        <p:txBody>
          <a:bodyPr>
            <a:noAutofit/>
          </a:bodyPr>
          <a:lstStyle/>
          <a:p>
            <a:fld id="{3E04DF46-C0DC-4ADC-9A6F-918CC4703A43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Footer Placeholder">
            <a:extLst>
              <a:ext uri="{FF2B5EF4-FFF2-40B4-BE49-F238E27FC236}">
                <a16:creationId xmlns:a16="http://schemas.microsoft.com/office/drawing/2014/main" id="{D5E23E6B-A969-B922-443C-DB4B673F14C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8" y="6495103"/>
            <a:ext cx="3716341" cy="282957"/>
          </a:xfrm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12" name="Date Placeholder">
            <a:extLst>
              <a:ext uri="{FF2B5EF4-FFF2-40B4-BE49-F238E27FC236}">
                <a16:creationId xmlns:a16="http://schemas.microsoft.com/office/drawing/2014/main" id="{3E682D3C-E320-394E-C615-424A83B576A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3"/>
            <a:ext cx="757239" cy="282957"/>
          </a:xfrm>
        </p:spPr>
        <p:txBody>
          <a:bodyPr>
            <a:noAutofit/>
          </a:bodyPr>
          <a:lstStyle/>
          <a:p>
            <a:fld id="{A95ACABD-257F-48AB-94D3-B913B9097175}" type="datetime1">
              <a:rPr lang="en-GB" smtClean="0"/>
              <a:t>12/02/2026</a:t>
            </a:fld>
            <a:endParaRPr lang="en-GB"/>
          </a:p>
        </p:txBody>
      </p:sp>
      <p:sp>
        <p:nvSpPr>
          <p:cNvPr id="13" name="Source Placeholder">
            <a:extLst>
              <a:ext uri="{FF2B5EF4-FFF2-40B4-BE49-F238E27FC236}">
                <a16:creationId xmlns:a16="http://schemas.microsoft.com/office/drawing/2014/main" id="{F5E18C3F-FDED-E3BC-CB25-E414E35DA8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 hasCustomPrompt="1"/>
          </p:nvPr>
        </p:nvSpPr>
        <p:spPr>
          <a:xfrm>
            <a:off x="292100" y="6108701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395" lvl="0" indent="-171395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7" name="Content Placeholder">
            <a:extLst>
              <a:ext uri="{FF2B5EF4-FFF2-40B4-BE49-F238E27FC236}">
                <a16:creationId xmlns:a16="http://schemas.microsoft.com/office/drawing/2014/main" id="{2EA745BA-CA14-8FD0-05BA-8977508264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8168315" y="2019301"/>
            <a:ext cx="3700460" cy="36576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Header Placeholder">
            <a:extLst>
              <a:ext uri="{FF2B5EF4-FFF2-40B4-BE49-F238E27FC236}">
                <a16:creationId xmlns:a16="http://schemas.microsoft.com/office/drawing/2014/main" id="{97696C2F-B753-BD09-3B16-F91EAC65E0F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8168317" y="1308101"/>
            <a:ext cx="3710815" cy="620524"/>
          </a:xfrm>
        </p:spPr>
        <p:txBody>
          <a:bodyPr anchor="b">
            <a:noAutofit/>
          </a:bodyPr>
          <a:lstStyle>
            <a:lvl1pPr marL="0" indent="0">
              <a:buNone/>
              <a:defRPr sz="1599" b="1">
                <a:solidFill>
                  <a:schemeClr val="accent1"/>
                </a:solidFill>
              </a:defRPr>
            </a:lvl1pPr>
            <a:lvl2pPr marL="457051" indent="0">
              <a:buNone/>
              <a:defRPr sz="1999" b="1"/>
            </a:lvl2pPr>
            <a:lvl3pPr marL="914103" indent="0">
              <a:buNone/>
              <a:defRPr sz="1799" b="1"/>
            </a:lvl3pPr>
            <a:lvl4pPr marL="1371154" indent="0">
              <a:buNone/>
              <a:defRPr sz="1599" b="1"/>
            </a:lvl4pPr>
            <a:lvl5pPr marL="1828206" indent="0">
              <a:buNone/>
              <a:defRPr sz="1599" b="1"/>
            </a:lvl5pPr>
            <a:lvl6pPr marL="2285257" indent="0">
              <a:buNone/>
              <a:defRPr sz="1599" b="1"/>
            </a:lvl6pPr>
            <a:lvl7pPr marL="2742308" indent="0">
              <a:buNone/>
              <a:defRPr sz="1599" b="1"/>
            </a:lvl7pPr>
            <a:lvl8pPr marL="3199360" indent="0">
              <a:buNone/>
              <a:defRPr sz="1599" b="1"/>
            </a:lvl8pPr>
            <a:lvl9pPr marL="3656411" indent="0">
              <a:buNone/>
              <a:defRPr sz="1599" b="1"/>
            </a:lvl9pPr>
          </a:lstStyle>
          <a:p>
            <a:pPr lvl="0"/>
            <a:r>
              <a:rPr lang="en-US"/>
              <a:t>Insert column header</a:t>
            </a:r>
          </a:p>
        </p:txBody>
      </p:sp>
      <p:sp>
        <p:nvSpPr>
          <p:cNvPr id="9" name="Image/Content Placeholder">
            <a:extLst>
              <a:ext uri="{FF2B5EF4-FFF2-40B4-BE49-F238E27FC236}">
                <a16:creationId xmlns:a16="http://schemas.microsoft.com/office/drawing/2014/main" id="{E7FED7F9-B9AF-8E1D-D4E4-E0925BDC1C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4" hasCustomPrompt="1"/>
          </p:nvPr>
        </p:nvSpPr>
        <p:spPr>
          <a:xfrm>
            <a:off x="292101" y="1638300"/>
            <a:ext cx="7661275" cy="4038600"/>
          </a:xfrm>
          <a:solidFill>
            <a:srgbClr val="F0F0F0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0" lvl="0" indent="0" algn="ctr">
              <a:buNone/>
            </a:pPr>
            <a:r>
              <a:rPr lang="en-US"/>
              <a:t>Insert content</a:t>
            </a:r>
          </a:p>
        </p:txBody>
      </p:sp>
      <p:sp>
        <p:nvSpPr>
          <p:cNvPr id="14" name="Subtitle Placeholder">
            <a:extLst>
              <a:ext uri="{FF2B5EF4-FFF2-40B4-BE49-F238E27FC236}">
                <a16:creationId xmlns:a16="http://schemas.microsoft.com/office/drawing/2014/main" id="{F55BBEAC-F3EB-AF73-371A-E2F90A4E7CD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3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395" marR="0" lvl="0" indent="-171395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15" name="Title Placeholder">
            <a:extLst>
              <a:ext uri="{FF2B5EF4-FFF2-40B4-BE49-F238E27FC236}">
                <a16:creationId xmlns:a16="http://schemas.microsoft.com/office/drawing/2014/main" id="{A568B237-249F-A08F-E259-9BD8E276671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1"/>
            <a:ext cx="11613315" cy="265590"/>
          </a:xfrm>
        </p:spPr>
        <p:txBody>
          <a:bodyPr>
            <a:noAutofit/>
          </a:bodyPr>
          <a:lstStyle/>
          <a:p>
            <a:r>
              <a:rPr lang="en-US"/>
              <a:t>Insert your slide title in Arial Bold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2888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525">
          <p15:clr>
            <a:srgbClr val="FDE53C"/>
          </p15:clr>
        </p15:guide>
        <p15:guide id="11" pos="2669">
          <p15:clr>
            <a:srgbClr val="FDE53C"/>
          </p15:clr>
        </p15:guide>
        <p15:guide id="18" pos="5010">
          <p15:clr>
            <a:srgbClr val="FDE53C"/>
          </p15:clr>
        </p15:guide>
        <p15:guide id="19" pos="5154">
          <p15:clr>
            <a:srgbClr val="FDE53C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80A15201-F299-04EA-E6CE-E722641959C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8" y="6495101"/>
            <a:ext cx="404321" cy="282957"/>
          </a:xfrm>
        </p:spPr>
        <p:txBody>
          <a:bodyPr>
            <a:noAutofit/>
          </a:bodyPr>
          <a:lstStyle/>
          <a:p>
            <a:fld id="{3E04DF46-C0DC-4ADC-9A6F-918CC4703A4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8C02E2E7-130F-8E98-F5E2-0E052FB5C9B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8" y="6495103"/>
            <a:ext cx="3716341" cy="282957"/>
          </a:xfrm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688318DD-F239-9F43-D086-9EBEC3E5402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3"/>
            <a:ext cx="757239" cy="282957"/>
          </a:xfrm>
        </p:spPr>
        <p:txBody>
          <a:bodyPr>
            <a:noAutofit/>
          </a:bodyPr>
          <a:lstStyle/>
          <a:p>
            <a:fld id="{A95ACABD-257F-48AB-94D3-B913B9097175}" type="datetime1">
              <a:rPr lang="en-GB" smtClean="0"/>
              <a:t>12/02/2026</a:t>
            </a:fld>
            <a:endParaRPr lang="en-GB"/>
          </a:p>
        </p:txBody>
      </p: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C6CEF957-D49F-C931-2F5D-3BEC205BBE4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1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395" lvl="0" indent="-171395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sp>
        <p:nvSpPr>
          <p:cNvPr id="10" name="Subtitle Placeholder">
            <a:extLst>
              <a:ext uri="{FF2B5EF4-FFF2-40B4-BE49-F238E27FC236}">
                <a16:creationId xmlns:a16="http://schemas.microsoft.com/office/drawing/2014/main" id="{6C1C9672-42DD-57E9-416C-57C076682C6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3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395" marR="0" lvl="0" indent="-171395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your subtitle in Arial 16pt</a:t>
            </a:r>
          </a:p>
        </p:txBody>
      </p:sp>
      <p:sp>
        <p:nvSpPr>
          <p:cNvPr id="11" name="Title Placeholder">
            <a:extLst>
              <a:ext uri="{FF2B5EF4-FFF2-40B4-BE49-F238E27FC236}">
                <a16:creationId xmlns:a16="http://schemas.microsoft.com/office/drawing/2014/main" id="{85B153CC-4B6C-85AB-FFEB-0F2CD0DA990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1"/>
            <a:ext cx="11613315" cy="265590"/>
          </a:xfrm>
        </p:spPr>
        <p:txBody>
          <a:bodyPr>
            <a:noAutofit/>
          </a:bodyPr>
          <a:lstStyle/>
          <a:p>
            <a:r>
              <a:rPr lang="en-US"/>
              <a:t>Insert your slide title in Arial Bold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4915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904">
          <p15:clr>
            <a:srgbClr val="5ACBF0"/>
          </p15:clr>
        </p15:guide>
        <p15:guide id="9" pos="2048">
          <p15:clr>
            <a:srgbClr val="5ACBF0"/>
          </p15:clr>
        </p15:guide>
        <p15:guide id="10" pos="2525">
          <p15:clr>
            <a:srgbClr val="FDE53C"/>
          </p15:clr>
        </p15:guide>
        <p15:guide id="11" pos="2669">
          <p15:clr>
            <a:srgbClr val="FDE53C"/>
          </p15:clr>
        </p15:guide>
        <p15:guide id="14" pos="3768">
          <p15:clr>
            <a:srgbClr val="A4A3A4"/>
          </p15:clr>
        </p15:guide>
        <p15:guide id="15" pos="3912">
          <p15:clr>
            <a:srgbClr val="A4A3A4"/>
          </p15:clr>
        </p15:guide>
        <p15:guide id="18" pos="5010">
          <p15:clr>
            <a:srgbClr val="FDE53C"/>
          </p15:clr>
        </p15:guide>
        <p15:guide id="19" pos="5154">
          <p15:clr>
            <a:srgbClr val="FDE53C"/>
          </p15:clr>
        </p15:guide>
        <p15:guide id="20" pos="5631">
          <p15:clr>
            <a:srgbClr val="5ACBF0"/>
          </p15:clr>
        </p15:guide>
        <p15:guide id="21" pos="5775">
          <p15:clr>
            <a:srgbClr val="5ACBF0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FF1CCD16-E874-4575-C807-467DA234694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8" y="6495101"/>
            <a:ext cx="404321" cy="282957"/>
          </a:xfrm>
        </p:spPr>
        <p:txBody>
          <a:bodyPr>
            <a:noAutofit/>
          </a:bodyPr>
          <a:lstStyle/>
          <a:p>
            <a:fld id="{3E04DF46-C0DC-4ADC-9A6F-918CC4703A4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B4915FF7-2EBE-0DA1-DDC3-CE3F3E028DF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8" y="6495103"/>
            <a:ext cx="3716341" cy="282957"/>
          </a:xfrm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BC0175EF-749F-C86F-818F-8A61B862153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3"/>
            <a:ext cx="757239" cy="282957"/>
          </a:xfrm>
        </p:spPr>
        <p:txBody>
          <a:bodyPr>
            <a:noAutofit/>
          </a:bodyPr>
          <a:lstStyle/>
          <a:p>
            <a:fld id="{A95ACABD-257F-48AB-94D3-B913B9097175}" type="datetime1">
              <a:rPr lang="en-GB" smtClean="0"/>
              <a:t>12/02/2026</a:t>
            </a:fld>
            <a:endParaRPr lang="en-GB"/>
          </a:p>
        </p:txBody>
      </p: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3D2B748D-0569-6BAA-D751-0BE3B75C09E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1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395" lvl="0" indent="-171395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</p:spTree>
    <p:extLst>
      <p:ext uri="{BB962C8B-B14F-4D97-AF65-F5344CB8AC3E}">
        <p14:creationId xmlns:p14="http://schemas.microsoft.com/office/powerpoint/2010/main" val="46851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904">
          <p15:clr>
            <a:srgbClr val="5ACBF0"/>
          </p15:clr>
        </p15:guide>
        <p15:guide id="9" pos="2048">
          <p15:clr>
            <a:srgbClr val="5ACBF0"/>
          </p15:clr>
        </p15:guide>
        <p15:guide id="10" pos="2525">
          <p15:clr>
            <a:srgbClr val="FDE53C"/>
          </p15:clr>
        </p15:guide>
        <p15:guide id="11" pos="2669">
          <p15:clr>
            <a:srgbClr val="FDE53C"/>
          </p15:clr>
        </p15:guide>
        <p15:guide id="14" pos="3768">
          <p15:clr>
            <a:srgbClr val="A4A3A4"/>
          </p15:clr>
        </p15:guide>
        <p15:guide id="15" pos="3912">
          <p15:clr>
            <a:srgbClr val="A4A3A4"/>
          </p15:clr>
        </p15:guide>
        <p15:guide id="18" pos="5010">
          <p15:clr>
            <a:srgbClr val="FDE53C"/>
          </p15:clr>
        </p15:guide>
        <p15:guide id="19" pos="5154">
          <p15:clr>
            <a:srgbClr val="FDE53C"/>
          </p15:clr>
        </p15:guide>
        <p15:guide id="20" pos="5631">
          <p15:clr>
            <a:srgbClr val="5ACBF0"/>
          </p15:clr>
        </p15:guide>
        <p15:guide id="21" pos="5775">
          <p15:clr>
            <a:srgbClr val="5ACBF0"/>
          </p15:clr>
        </p15:guide>
        <p15:guide id="22" orient="horz" pos="2016">
          <p15:clr>
            <a:srgbClr val="A4A3A4"/>
          </p15:clr>
        </p15:guide>
        <p15:guide id="23" orient="horz" pos="2088">
          <p15:clr>
            <a:srgbClr val="A4A3A4"/>
          </p15:clr>
        </p15:guide>
        <p15:guide id="24" orient="horz" pos="1944">
          <p15:clr>
            <a:srgbClr val="A4A3A4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-bleed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ff-slide Instructions">
            <a:extLst>
              <a:ext uri="{FF2B5EF4-FFF2-40B4-BE49-F238E27FC236}">
                <a16:creationId xmlns:a16="http://schemas.microsoft.com/office/drawing/2014/main" id="{DA271C09-A92C-0B4B-7460-3B1AE1A0D3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2338614" y="0"/>
            <a:ext cx="2812487" cy="2373888"/>
          </a:xfrm>
          <a:prstGeom prst="bracketPair">
            <a:avLst>
              <a:gd name="adj" fmla="val 4083"/>
            </a:avLst>
          </a:prstGeom>
          <a:solidFill>
            <a:srgbClr val="FFFF00">
              <a:alpha val="80000"/>
            </a:srgbClr>
          </a:solidFill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spAutoFit/>
          </a:bodyPr>
          <a:lstStyle/>
          <a:p>
            <a:pPr marL="0" indent="0" algn="l" defTabSz="914103" rtl="0" eaLnBrk="1" latinLnBrk="0" hangingPunct="1">
              <a:spcAft>
                <a:spcPts val="400"/>
              </a:spcAft>
              <a:buFont typeface="+mj-lt"/>
              <a:buNone/>
            </a:pPr>
            <a:r>
              <a:rPr lang="en-US" sz="1200" b="1" kern="12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If logo, copyright line, footer, etc. are missing:</a:t>
            </a:r>
          </a:p>
          <a:p>
            <a:pPr marL="177742" lvl="0" indent="-177742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Go to </a:t>
            </a:r>
            <a:r>
              <a:rPr lang="en-US" sz="800" b="1">
                <a:solidFill>
                  <a:srgbClr val="000000"/>
                </a:solidFill>
              </a:rPr>
              <a:t>View &gt; Slide Master</a:t>
            </a:r>
          </a:p>
          <a:p>
            <a:pPr marL="177742" lvl="0" indent="-177742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Copy logo and footer elements from Layout Master</a:t>
            </a:r>
          </a:p>
          <a:p>
            <a:pPr marL="177742" lvl="0" indent="-177742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Close Master View</a:t>
            </a:r>
          </a:p>
          <a:p>
            <a:pPr marL="177742" lvl="0" indent="-177742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Paste on slide</a:t>
            </a:r>
            <a:endParaRPr lang="en-US" sz="1200" b="1">
              <a:solidFill>
                <a:srgbClr val="000000"/>
              </a:solidFill>
            </a:endParaRPr>
          </a:p>
          <a:p>
            <a:pPr>
              <a:spcAft>
                <a:spcPts val="400"/>
              </a:spcAft>
            </a:pPr>
            <a:endParaRPr lang="en-US" sz="1200" b="1">
              <a:solidFill>
                <a:srgbClr val="000000"/>
              </a:solidFill>
            </a:endParaRPr>
          </a:p>
          <a:p>
            <a:pPr>
              <a:spcAft>
                <a:spcPts val="400"/>
              </a:spcAft>
            </a:pPr>
            <a:r>
              <a:rPr lang="en-US" sz="1200" b="1">
                <a:solidFill>
                  <a:srgbClr val="000000"/>
                </a:solidFill>
              </a:rPr>
              <a:t>To replace existing image:</a:t>
            </a:r>
          </a:p>
          <a:p>
            <a:pPr marL="174569" indent="-174569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Right-click image placeholder</a:t>
            </a:r>
          </a:p>
          <a:p>
            <a:pPr marL="174569" indent="-174569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Select </a:t>
            </a:r>
            <a:r>
              <a:rPr lang="en-US" sz="800" b="1">
                <a:solidFill>
                  <a:srgbClr val="000000"/>
                </a:solidFill>
              </a:rPr>
              <a:t>Change Picture</a:t>
            </a:r>
          </a:p>
          <a:p>
            <a:pPr marL="174569" indent="-174569">
              <a:spcAft>
                <a:spcPts val="400"/>
              </a:spcAft>
              <a:buFont typeface="+mj-lt"/>
              <a:buAutoNum type="arabicPeriod"/>
            </a:pPr>
            <a:r>
              <a:rPr lang="en-US" sz="800">
                <a:solidFill>
                  <a:srgbClr val="000000"/>
                </a:solidFill>
              </a:rPr>
              <a:t>Select</a:t>
            </a:r>
            <a:r>
              <a:rPr lang="en-US" sz="800" b="1">
                <a:solidFill>
                  <a:srgbClr val="000000"/>
                </a:solidFill>
              </a:rPr>
              <a:t> desired </a:t>
            </a:r>
            <a:r>
              <a:rPr lang="en-US" sz="800">
                <a:solidFill>
                  <a:srgbClr val="000000"/>
                </a:solidFill>
              </a:rPr>
              <a:t>image file (.jpg, .</a:t>
            </a:r>
            <a:r>
              <a:rPr lang="en-US" sz="800" err="1">
                <a:solidFill>
                  <a:srgbClr val="000000"/>
                </a:solidFill>
              </a:rPr>
              <a:t>png</a:t>
            </a:r>
            <a:r>
              <a:rPr lang="en-US" sz="800">
                <a:solidFill>
                  <a:srgbClr val="000000"/>
                </a:solidFill>
              </a:rPr>
              <a:t>, .gif)</a:t>
            </a:r>
          </a:p>
          <a:p>
            <a:pPr marL="174569" indent="-174569">
              <a:spcAft>
                <a:spcPts val="400"/>
              </a:spcAft>
              <a:buFont typeface="+mj-lt"/>
              <a:buAutoNum type="arabicPeriod"/>
            </a:pPr>
            <a:endParaRPr lang="en-US" sz="800">
              <a:solidFill>
                <a:srgbClr val="000000"/>
              </a:solidFill>
            </a:endParaRP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4B940176-20BD-885B-C7DC-D045A7B5B0D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tx1">
              <a:lumMod val="60000"/>
              <a:lumOff val="40000"/>
            </a:schemeClr>
          </a:solidFill>
        </p:spPr>
        <p:txBody>
          <a:bodyPr vert="horz" lIns="9144000" tIns="91440" rIns="182880" bIns="0" rtlCol="0" anchor="t">
            <a:noAutofit/>
          </a:bodyPr>
          <a:lstStyle>
            <a:lvl1pPr marL="231699" indent="-231699">
              <a:buNone/>
              <a:defRPr lang="en-GB" sz="1400" b="1">
                <a:solidFill>
                  <a:srgbClr val="FFFF00"/>
                </a:solidFill>
              </a:defRPr>
            </a:lvl1pPr>
          </a:lstStyle>
          <a:p>
            <a:pPr marL="171395" marR="0" lvl="0" indent="-171395" algn="l" defTabSz="914103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To add image: </a:t>
            </a:r>
            <a:br>
              <a:rPr lang="en-US"/>
            </a:br>
            <a:r>
              <a:rPr lang="en-US"/>
              <a:t>1. Select image placeholder</a:t>
            </a:r>
            <a:br>
              <a:rPr lang="en-US"/>
            </a:br>
            <a:r>
              <a:rPr lang="en-US"/>
              <a:t>2. Drag/drop file or copy/paste image into slide (.jpg, .gif, .</a:t>
            </a:r>
            <a:r>
              <a:rPr lang="en-US" err="1"/>
              <a:t>png</a:t>
            </a:r>
            <a:r>
              <a:rPr lang="en-US"/>
              <a:t>)</a:t>
            </a:r>
            <a:br>
              <a:rPr lang="en-US"/>
            </a:br>
            <a:r>
              <a:rPr lang="en-US"/>
              <a:t>3. Right-click image and “Send to back”</a:t>
            </a:r>
          </a:p>
          <a:p>
            <a:pPr marL="171395" lvl="0" indent="-171395"/>
            <a:endParaRPr lang="en-GB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29AE0AC1-71EF-CCFC-AB5C-8DFA568CA5F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8" y="6485400"/>
            <a:ext cx="404321" cy="28295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04DF46-C0DC-4ADC-9A6F-918CC4703A4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Copyright Line">
            <a:extLst>
              <a:ext uri="{FF2B5EF4-FFF2-40B4-BE49-F238E27FC236}">
                <a16:creationId xmlns:a16="http://schemas.microsoft.com/office/drawing/2014/main" id="{B707803F-60FA-342A-DB2A-415C371CB04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10" y="6536551"/>
            <a:ext cx="2268453" cy="200056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>
                <a:solidFill>
                  <a:schemeClr val="bg1"/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chemeClr val="bg1"/>
                </a:solidFill>
              </a:rPr>
              <a:pPr marL="0" marR="0" indent="0" algn="l" defTabSz="9141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>
                <a:solidFill>
                  <a:schemeClr val="bg1"/>
                </a:solidFill>
              </a:rPr>
              <a:t> Nielsen Consumer LLC. All Rights Reserved.</a:t>
            </a:r>
          </a:p>
        </p:txBody>
      </p:sp>
      <p:sp>
        <p:nvSpPr>
          <p:cNvPr id="6" name="Confidential disclaimer">
            <a:extLst>
              <a:ext uri="{FF2B5EF4-FFF2-40B4-BE49-F238E27FC236}">
                <a16:creationId xmlns:a16="http://schemas.microsoft.com/office/drawing/2014/main" id="{FCE25AF0-0C89-001E-06C2-AD51F5FC7DE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02D2B3EE-E70A-1DEB-939C-DC6B0065BF6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0"/>
          </p:nvPr>
        </p:nvSpPr>
        <p:spPr>
          <a:xfrm>
            <a:off x="3251198" y="6485400"/>
            <a:ext cx="3716341" cy="28295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F13BEA8B-0F53-AC66-58D8-93A2E2ABD13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1"/>
          </p:nvPr>
        </p:nvSpPr>
        <p:spPr>
          <a:xfrm>
            <a:off x="2265363" y="6485400"/>
            <a:ext cx="757239" cy="28295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2DF71F-30BE-44BA-A536-D8EF81D0364C}" type="datetime1">
              <a:rPr lang="en-GB" smtClean="0"/>
              <a:pPr/>
              <a:t>12/02/2026</a:t>
            </a:fld>
            <a:endParaRPr lang="en-GB"/>
          </a:p>
        </p:txBody>
      </p:sp>
      <p:cxnSp>
        <p:nvCxnSpPr>
          <p:cNvPr id="16" name="Base Rule">
            <a:extLst>
              <a:ext uri="{FF2B5EF4-FFF2-40B4-BE49-F238E27FC236}">
                <a16:creationId xmlns:a16="http://schemas.microsoft.com/office/drawing/2014/main" id="{A2E4D762-EABE-F9E8-A416-7B524EE5A5F3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292101" y="6395755"/>
            <a:ext cx="1160780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ED1AEB33-C846-8D27-B334-B80B72329C8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1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lang="en-GB" sz="800" dirty="0">
                <a:solidFill>
                  <a:schemeClr val="bg1"/>
                </a:solidFill>
              </a:defRPr>
            </a:lvl1pPr>
          </a:lstStyle>
          <a:p>
            <a:pPr marL="171395" lvl="0" indent="-171395">
              <a:spcBef>
                <a:spcPts val="0"/>
              </a:spcBef>
              <a:spcAft>
                <a:spcPts val="0"/>
              </a:spcAft>
            </a:pPr>
            <a:r>
              <a:rPr lang="en-GB"/>
              <a:t>Source, footnote</a:t>
            </a:r>
          </a:p>
        </p:txBody>
      </p:sp>
      <p:pic>
        <p:nvPicPr>
          <p:cNvPr id="8" name="NIQ GFK Lockup">
            <a:extLst>
              <a:ext uri="{FF2B5EF4-FFF2-40B4-BE49-F238E27FC236}">
                <a16:creationId xmlns:a16="http://schemas.microsoft.com/office/drawing/2014/main" id="{5D3C3BE7-0356-CB3B-CA9F-9B23ECA7BDF9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/>
          <a:srcRect l="23" r="23"/>
          <a:stretch/>
        </p:blipFill>
        <p:spPr>
          <a:xfrm>
            <a:off x="302627" y="6462285"/>
            <a:ext cx="906224" cy="329184"/>
          </a:xfrm>
          <a:prstGeom prst="rect">
            <a:avLst/>
          </a:prstGeom>
        </p:spPr>
      </p:pic>
      <p:pic>
        <p:nvPicPr>
          <p:cNvPr id="2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3D2C78A3-1318-F9F9-A0FA-2E6F97A0A4AD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132" y="6495155"/>
            <a:ext cx="781433" cy="269593"/>
          </a:xfrm>
          <a:prstGeom prst="rect">
            <a:avLst/>
          </a:prstGeom>
        </p:spPr>
      </p:pic>
      <p:pic>
        <p:nvPicPr>
          <p:cNvPr id="18" name="NIQ Logo" hidden="1">
            <a:extLst>
              <a:ext uri="{FF2B5EF4-FFF2-40B4-BE49-F238E27FC236}">
                <a16:creationId xmlns:a16="http://schemas.microsoft.com/office/drawing/2014/main" id="{74EC100F-70B4-0E01-8BC9-6F09D73757D7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2101" y="6495100"/>
            <a:ext cx="645459" cy="274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4474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 | Magent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umber">
            <a:extLst>
              <a:ext uri="{FF2B5EF4-FFF2-40B4-BE49-F238E27FC236}">
                <a16:creationId xmlns:a16="http://schemas.microsoft.com/office/drawing/2014/main" id="{E157F135-E4AF-4A4C-8F59-A56C717EB5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5360" y="2060848"/>
            <a:ext cx="3527992" cy="252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 baseline="0">
                <a:solidFill>
                  <a:srgbClr val="D2335F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D2335F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D2335F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D2335F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D2335F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D2335F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D2335F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D2335F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D2335F"/>
                </a:solidFill>
                <a:latin typeface="+mj-lt"/>
              </a:defRPr>
            </a:lvl9pPr>
          </a:lstStyle>
          <a:p>
            <a:r>
              <a:rPr lang="en-GB"/>
              <a:t>00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4943872" y="1988840"/>
            <a:ext cx="4608511" cy="1728192"/>
          </a:xfrm>
          <a:prstGeom prst="rect">
            <a:avLst/>
          </a:prstGeom>
        </p:spPr>
        <p:txBody>
          <a:bodyPr tIns="36000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Divider slide | Insert your headline in maximal three lines her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46297C-A90E-4725-9584-F26D2B59D3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943872" y="3717032"/>
            <a:ext cx="4608512" cy="864096"/>
          </a:xfrm>
          <a:prstGeom prst="rect">
            <a:avLst/>
          </a:prstGeom>
          <a:noFill/>
          <a:ln w="0">
            <a:noFill/>
          </a:ln>
        </p:spPr>
        <p:txBody>
          <a:bodyPr lIns="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8" name="Source">
            <a:extLst>
              <a:ext uri="{FF2B5EF4-FFF2-40B4-BE49-F238E27FC236}">
                <a16:creationId xmlns:a16="http://schemas.microsoft.com/office/drawing/2014/main" id="{C42A0124-5CC0-4054-ACBA-BD854D752F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487488" y="6525000"/>
            <a:ext cx="9144512" cy="144000"/>
          </a:xfrm>
        </p:spPr>
        <p:txBody>
          <a:bodyPr anchor="b"/>
          <a:lstStyle>
            <a:lvl1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2pPr>
            <a:lvl3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3pPr>
            <a:lvl4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7pPr>
            <a:lvl8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8pPr>
            <a:lvl9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/>
              <a:t>Source, Footnot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9970168-D029-D3E0-46DE-74970B8F7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1B6D6C0-759E-4ADC-9743-3440EE31F65E}" type="datetime1">
              <a:rPr lang="en-GB" smtClean="0"/>
              <a:t>12/02/2026</a:t>
            </a:fld>
            <a:endParaRPr lang="en-GB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9CCA1195-594E-5CAF-16EF-F4CAEE2BA8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1487488" y="6525345"/>
            <a:ext cx="8640960" cy="14401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35FB83E2-E9A7-F446-3EB6-5DEFCC48CF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496600" y="6309320"/>
            <a:ext cx="432048" cy="144000"/>
          </a:xfrm>
          <a:prstGeom prst="rect">
            <a:avLst/>
          </a:prstGeom>
        </p:spPr>
        <p:txBody>
          <a:bodyPr/>
          <a:lstStyle/>
          <a:p>
            <a:fld id="{CAEA825B-D749-4F0A-886E-8D45A39EAF2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37430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Abstracted logo">
            <a:extLst>
              <a:ext uri="{FF2B5EF4-FFF2-40B4-BE49-F238E27FC236}">
                <a16:creationId xmlns:a16="http://schemas.microsoft.com/office/drawing/2014/main" id="{37C4672C-8363-CE87-84A0-A85A94F793F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" y="2"/>
            <a:ext cx="11495577" cy="6496681"/>
          </a:xfrm>
          <a:custGeom>
            <a:avLst/>
            <a:gdLst>
              <a:gd name="connsiteX0" fmla="*/ 0 w 11495577"/>
              <a:gd name="connsiteY0" fmla="*/ 0 h 6496681"/>
              <a:gd name="connsiteX1" fmla="*/ 704099 w 11495577"/>
              <a:gd name="connsiteY1" fmla="*/ 0 h 6496681"/>
              <a:gd name="connsiteX2" fmla="*/ 741689 w 11495577"/>
              <a:gd name="connsiteY2" fmla="*/ 102812 h 6496681"/>
              <a:gd name="connsiteX3" fmla="*/ 3783129 w 11495577"/>
              <a:gd name="connsiteY3" fmla="*/ 2118000 h 6496681"/>
              <a:gd name="connsiteX4" fmla="*/ 6824569 w 11495577"/>
              <a:gd name="connsiteY4" fmla="*/ 102812 h 6496681"/>
              <a:gd name="connsiteX5" fmla="*/ 6862160 w 11495577"/>
              <a:gd name="connsiteY5" fmla="*/ 0 h 6496681"/>
              <a:gd name="connsiteX6" fmla="*/ 10037149 w 11495577"/>
              <a:gd name="connsiteY6" fmla="*/ 0 h 6496681"/>
              <a:gd name="connsiteX7" fmla="*/ 10016547 w 11495577"/>
              <a:gd name="connsiteY7" fmla="*/ 118329 h 6496681"/>
              <a:gd name="connsiteX8" fmla="*/ 9239892 w 11495577"/>
              <a:gd name="connsiteY8" fmla="*/ 2084828 h 6496681"/>
              <a:gd name="connsiteX9" fmla="*/ 11495577 w 11495577"/>
              <a:gd name="connsiteY9" fmla="*/ 4340512 h 6496681"/>
              <a:gd name="connsiteX10" fmla="*/ 9339409 w 11495577"/>
              <a:gd name="connsiteY10" fmla="*/ 6496681 h 6496681"/>
              <a:gd name="connsiteX11" fmla="*/ 7083724 w 11495577"/>
              <a:gd name="connsiteY11" fmla="*/ 4224410 h 6496681"/>
              <a:gd name="connsiteX12" fmla="*/ 3799716 w 11495577"/>
              <a:gd name="connsiteY12" fmla="*/ 5153221 h 6496681"/>
              <a:gd name="connsiteX13" fmla="*/ 2713 w 11495577"/>
              <a:gd name="connsiteY13" fmla="*/ 3888664 h 6496681"/>
              <a:gd name="connsiteX14" fmla="*/ 0 w 11495577"/>
              <a:gd name="connsiteY14" fmla="*/ 3886530 h 649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1495577" h="6496681">
                <a:moveTo>
                  <a:pt x="0" y="0"/>
                </a:moveTo>
                <a:lnTo>
                  <a:pt x="704099" y="0"/>
                </a:lnTo>
                <a:lnTo>
                  <a:pt x="741689" y="102812"/>
                </a:lnTo>
                <a:cubicBezTo>
                  <a:pt x="1242376" y="1287668"/>
                  <a:pt x="2414792" y="2118000"/>
                  <a:pt x="3783129" y="2118000"/>
                </a:cubicBezTo>
                <a:cubicBezTo>
                  <a:pt x="5151467" y="2118000"/>
                  <a:pt x="6323883" y="1287668"/>
                  <a:pt x="6824569" y="102812"/>
                </a:cubicBezTo>
                <a:lnTo>
                  <a:pt x="6862160" y="0"/>
                </a:lnTo>
                <a:lnTo>
                  <a:pt x="10037149" y="0"/>
                </a:lnTo>
                <a:lnTo>
                  <a:pt x="10016547" y="118329"/>
                </a:lnTo>
                <a:cubicBezTo>
                  <a:pt x="9868343" y="824040"/>
                  <a:pt x="9602709" y="1483589"/>
                  <a:pt x="9239892" y="2084828"/>
                </a:cubicBezTo>
                <a:lnTo>
                  <a:pt x="11495577" y="4340512"/>
                </a:lnTo>
                <a:lnTo>
                  <a:pt x="9339409" y="6496681"/>
                </a:lnTo>
                <a:lnTo>
                  <a:pt x="7083724" y="4224410"/>
                </a:lnTo>
                <a:cubicBezTo>
                  <a:pt x="6138328" y="4821503"/>
                  <a:pt x="5010486" y="5153221"/>
                  <a:pt x="3799716" y="5153221"/>
                </a:cubicBezTo>
                <a:cubicBezTo>
                  <a:pt x="2377992" y="5153221"/>
                  <a:pt x="1063024" y="4682402"/>
                  <a:pt x="2713" y="3888664"/>
                </a:cubicBezTo>
                <a:lnTo>
                  <a:pt x="0" y="388653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 w="16583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 sz="1799"/>
          </a:p>
        </p:txBody>
      </p:sp>
      <p:sp>
        <p:nvSpPr>
          <p:cNvPr id="7" name="Confidential disclaimer">
            <a:extLst>
              <a:ext uri="{FF2B5EF4-FFF2-40B4-BE49-F238E27FC236}">
                <a16:creationId xmlns:a16="http://schemas.microsoft.com/office/drawing/2014/main" id="{8C7D221E-197F-4D9A-2DBE-264A762EB7A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798636" y="6573016"/>
            <a:ext cx="1101264" cy="10772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26" name="Footer Placeholder">
            <a:extLst>
              <a:ext uri="{FF2B5EF4-FFF2-40B4-BE49-F238E27FC236}">
                <a16:creationId xmlns:a16="http://schemas.microsoft.com/office/drawing/2014/main" id="{6DAF4C10-B884-4C63-31AE-C07181CF51A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3251198" y="6485400"/>
            <a:ext cx="3716341" cy="282957"/>
          </a:xfrm>
          <a:noFill/>
        </p:spPr>
        <p:txBody>
          <a:bodyPr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16" name="Copyright Line">
            <a:extLst>
              <a:ext uri="{FF2B5EF4-FFF2-40B4-BE49-F238E27FC236}">
                <a16:creationId xmlns:a16="http://schemas.microsoft.com/office/drawing/2014/main" id="{8D552AA0-2719-EBF2-2C9E-A8D7C82BEB55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88559" y="6536552"/>
            <a:ext cx="2458455" cy="200056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1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13" name="Contact Info Placeholder">
            <a:extLst>
              <a:ext uri="{FF2B5EF4-FFF2-40B4-BE49-F238E27FC236}">
                <a16:creationId xmlns:a16="http://schemas.microsoft.com/office/drawing/2014/main" id="{C53A8FC6-F70F-155C-7171-C3706040B82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88559" y="4707482"/>
            <a:ext cx="8642083" cy="423465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457051" indent="0">
              <a:buNone/>
              <a:defRPr sz="1200" b="1">
                <a:solidFill>
                  <a:schemeClr val="bg1"/>
                </a:solidFill>
              </a:defRPr>
            </a:lvl2pPr>
            <a:lvl3pPr marL="914103" indent="0">
              <a:buNone/>
              <a:defRPr sz="1200" b="1">
                <a:solidFill>
                  <a:schemeClr val="bg1"/>
                </a:solidFill>
              </a:defRPr>
            </a:lvl3pPr>
            <a:lvl4pPr marL="1371154" indent="0">
              <a:buNone/>
              <a:defRPr sz="1200" b="1">
                <a:solidFill>
                  <a:schemeClr val="bg1"/>
                </a:solidFill>
              </a:defRPr>
            </a:lvl4pPr>
            <a:lvl5pPr marL="1828206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ontact information</a:t>
            </a:r>
          </a:p>
        </p:txBody>
      </p:sp>
      <p:sp>
        <p:nvSpPr>
          <p:cNvPr id="12" name="Presenter Name Placeholder">
            <a:extLst>
              <a:ext uri="{FF2B5EF4-FFF2-40B4-BE49-F238E27FC236}">
                <a16:creationId xmlns:a16="http://schemas.microsoft.com/office/drawing/2014/main" id="{FDEBEBA6-435D-29FE-A7B2-7A24861035E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88559" y="4339347"/>
            <a:ext cx="8642083" cy="344384"/>
          </a:xfrm>
        </p:spPr>
        <p:txBody>
          <a:bodyPr t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1pPr>
            <a:lvl2pPr marL="457051" indent="0">
              <a:buNone/>
              <a:defRPr sz="1200" b="1">
                <a:solidFill>
                  <a:schemeClr val="bg1"/>
                </a:solidFill>
              </a:defRPr>
            </a:lvl2pPr>
            <a:lvl3pPr marL="914103" indent="0">
              <a:buNone/>
              <a:defRPr sz="1200" b="1">
                <a:solidFill>
                  <a:schemeClr val="bg1"/>
                </a:solidFill>
              </a:defRPr>
            </a:lvl3pPr>
            <a:lvl4pPr marL="1371154" indent="0">
              <a:buNone/>
              <a:defRPr sz="1200" b="1">
                <a:solidFill>
                  <a:schemeClr val="bg1"/>
                </a:solidFill>
              </a:defRPr>
            </a:lvl4pPr>
            <a:lvl5pPr marL="1828206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811C7246-8A71-F257-DB0D-3E1F23CE69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1" y="3136051"/>
            <a:ext cx="7121979" cy="829817"/>
          </a:xfrm>
        </p:spPr>
        <p:txBody>
          <a:bodyPr>
            <a:noAutofit/>
          </a:bodyPr>
          <a:lstStyle>
            <a:lvl1pPr marL="0" indent="0">
              <a:buNone/>
              <a:defRPr sz="2399">
                <a:solidFill>
                  <a:schemeClr val="tx1"/>
                </a:solidFill>
              </a:defRPr>
            </a:lvl1pPr>
            <a:lvl2pPr marL="457051" indent="0">
              <a:buNone/>
              <a:defRPr sz="1999">
                <a:solidFill>
                  <a:schemeClr val="tx1">
                    <a:tint val="82000"/>
                  </a:schemeClr>
                </a:solidFill>
              </a:defRPr>
            </a:lvl2pPr>
            <a:lvl3pPr marL="914103" indent="0">
              <a:buNone/>
              <a:defRPr sz="1799">
                <a:solidFill>
                  <a:schemeClr val="tx1">
                    <a:tint val="82000"/>
                  </a:schemeClr>
                </a:solidFill>
              </a:defRPr>
            </a:lvl3pPr>
            <a:lvl4pPr marL="1371154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4pPr>
            <a:lvl5pPr marL="1828206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5pPr>
            <a:lvl6pPr marL="2285257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6pPr>
            <a:lvl7pPr marL="2742308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7pPr>
            <a:lvl8pPr marL="3199360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8pPr>
            <a:lvl9pPr marL="3656411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[Call to action]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D9E3A23B-F3DB-B7EF-DCB8-D944C23E6D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1" y="953701"/>
            <a:ext cx="7121979" cy="1938435"/>
          </a:xfrm>
        </p:spPr>
        <p:txBody>
          <a:bodyPr anchor="b">
            <a:noAutofit/>
          </a:bodyPr>
          <a:lstStyle>
            <a:lvl1pPr>
              <a:defRPr sz="3599">
                <a:solidFill>
                  <a:schemeClr val="tx1"/>
                </a:solidFill>
              </a:defRPr>
            </a:lvl1pPr>
          </a:lstStyle>
          <a:p>
            <a:r>
              <a:rPr lang="en-US"/>
              <a:t>[Thank you]</a:t>
            </a:r>
            <a:endParaRPr lang="en-GB"/>
          </a:p>
        </p:txBody>
      </p:sp>
      <p:pic>
        <p:nvPicPr>
          <p:cNvPr id="4" name="NielsenIQ GFK lockup">
            <a:extLst>
              <a:ext uri="{FF2B5EF4-FFF2-40B4-BE49-F238E27FC236}">
                <a16:creationId xmlns:a16="http://schemas.microsoft.com/office/drawing/2014/main" id="{DCA6E8BC-B77A-54A1-C369-91956B34FEC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6123" y="5539741"/>
            <a:ext cx="3377876" cy="753595"/>
          </a:xfrm>
          <a:prstGeom prst="rect">
            <a:avLst/>
          </a:prstGeom>
        </p:spPr>
      </p:pic>
      <p:pic>
        <p:nvPicPr>
          <p:cNvPr id="22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B75E8267-9411-9919-62E4-BB9AB43721F4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559" y="5563212"/>
            <a:ext cx="2155411" cy="743616"/>
          </a:xfrm>
          <a:prstGeom prst="rect">
            <a:avLst/>
          </a:prstGeom>
        </p:spPr>
      </p:pic>
      <p:sp>
        <p:nvSpPr>
          <p:cNvPr id="5" name="Nielsen wordmark" hidden="1">
            <a:extLst>
              <a:ext uri="{FF2B5EF4-FFF2-40B4-BE49-F238E27FC236}">
                <a16:creationId xmlns:a16="http://schemas.microsoft.com/office/drawing/2014/main" id="{0A2688EF-BBA7-DD42-EAFC-01D7D42070A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95275" y="5686381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accent1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sz="1799"/>
          </a:p>
        </p:txBody>
      </p:sp>
    </p:spTree>
    <p:extLst>
      <p:ext uri="{BB962C8B-B14F-4D97-AF65-F5344CB8AC3E}">
        <p14:creationId xmlns:p14="http://schemas.microsoft.com/office/powerpoint/2010/main" val="1010055030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Abstracted logo">
            <a:extLst>
              <a:ext uri="{FF2B5EF4-FFF2-40B4-BE49-F238E27FC236}">
                <a16:creationId xmlns:a16="http://schemas.microsoft.com/office/drawing/2014/main" id="{37C4672C-8363-CE87-84A0-A85A94F793F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" y="2"/>
            <a:ext cx="11495577" cy="6496681"/>
          </a:xfrm>
          <a:custGeom>
            <a:avLst/>
            <a:gdLst>
              <a:gd name="connsiteX0" fmla="*/ 0 w 11495577"/>
              <a:gd name="connsiteY0" fmla="*/ 0 h 6496681"/>
              <a:gd name="connsiteX1" fmla="*/ 704099 w 11495577"/>
              <a:gd name="connsiteY1" fmla="*/ 0 h 6496681"/>
              <a:gd name="connsiteX2" fmla="*/ 741689 w 11495577"/>
              <a:gd name="connsiteY2" fmla="*/ 102812 h 6496681"/>
              <a:gd name="connsiteX3" fmla="*/ 3783129 w 11495577"/>
              <a:gd name="connsiteY3" fmla="*/ 2118000 h 6496681"/>
              <a:gd name="connsiteX4" fmla="*/ 6824569 w 11495577"/>
              <a:gd name="connsiteY4" fmla="*/ 102812 h 6496681"/>
              <a:gd name="connsiteX5" fmla="*/ 6862160 w 11495577"/>
              <a:gd name="connsiteY5" fmla="*/ 0 h 6496681"/>
              <a:gd name="connsiteX6" fmla="*/ 10037149 w 11495577"/>
              <a:gd name="connsiteY6" fmla="*/ 0 h 6496681"/>
              <a:gd name="connsiteX7" fmla="*/ 10016547 w 11495577"/>
              <a:gd name="connsiteY7" fmla="*/ 118329 h 6496681"/>
              <a:gd name="connsiteX8" fmla="*/ 9239892 w 11495577"/>
              <a:gd name="connsiteY8" fmla="*/ 2084828 h 6496681"/>
              <a:gd name="connsiteX9" fmla="*/ 11495577 w 11495577"/>
              <a:gd name="connsiteY9" fmla="*/ 4340512 h 6496681"/>
              <a:gd name="connsiteX10" fmla="*/ 9339409 w 11495577"/>
              <a:gd name="connsiteY10" fmla="*/ 6496681 h 6496681"/>
              <a:gd name="connsiteX11" fmla="*/ 7083724 w 11495577"/>
              <a:gd name="connsiteY11" fmla="*/ 4224410 h 6496681"/>
              <a:gd name="connsiteX12" fmla="*/ 3799716 w 11495577"/>
              <a:gd name="connsiteY12" fmla="*/ 5153221 h 6496681"/>
              <a:gd name="connsiteX13" fmla="*/ 2713 w 11495577"/>
              <a:gd name="connsiteY13" fmla="*/ 3888664 h 6496681"/>
              <a:gd name="connsiteX14" fmla="*/ 0 w 11495577"/>
              <a:gd name="connsiteY14" fmla="*/ 3886530 h 649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1495577" h="6496681">
                <a:moveTo>
                  <a:pt x="0" y="0"/>
                </a:moveTo>
                <a:lnTo>
                  <a:pt x="704099" y="0"/>
                </a:lnTo>
                <a:lnTo>
                  <a:pt x="741689" y="102812"/>
                </a:lnTo>
                <a:cubicBezTo>
                  <a:pt x="1242376" y="1287668"/>
                  <a:pt x="2414792" y="2118000"/>
                  <a:pt x="3783129" y="2118000"/>
                </a:cubicBezTo>
                <a:cubicBezTo>
                  <a:pt x="5151467" y="2118000"/>
                  <a:pt x="6323883" y="1287668"/>
                  <a:pt x="6824569" y="102812"/>
                </a:cubicBezTo>
                <a:lnTo>
                  <a:pt x="6862160" y="0"/>
                </a:lnTo>
                <a:lnTo>
                  <a:pt x="10037149" y="0"/>
                </a:lnTo>
                <a:lnTo>
                  <a:pt x="10016547" y="118329"/>
                </a:lnTo>
                <a:cubicBezTo>
                  <a:pt x="9868343" y="824040"/>
                  <a:pt x="9602709" y="1483589"/>
                  <a:pt x="9239892" y="2084828"/>
                </a:cubicBezTo>
                <a:lnTo>
                  <a:pt x="11495577" y="4340512"/>
                </a:lnTo>
                <a:lnTo>
                  <a:pt x="9339409" y="6496681"/>
                </a:lnTo>
                <a:lnTo>
                  <a:pt x="7083724" y="4224410"/>
                </a:lnTo>
                <a:cubicBezTo>
                  <a:pt x="6138328" y="4821503"/>
                  <a:pt x="5010486" y="5153221"/>
                  <a:pt x="3799716" y="5153221"/>
                </a:cubicBezTo>
                <a:cubicBezTo>
                  <a:pt x="2377992" y="5153221"/>
                  <a:pt x="1063024" y="4682402"/>
                  <a:pt x="2713" y="3888664"/>
                </a:cubicBezTo>
                <a:lnTo>
                  <a:pt x="0" y="3886530"/>
                </a:lnTo>
                <a:close/>
              </a:path>
            </a:pathLst>
          </a:custGeom>
          <a:solidFill>
            <a:srgbClr val="1F2358"/>
          </a:solidFill>
          <a:ln w="16583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 sz="1799"/>
          </a:p>
        </p:txBody>
      </p:sp>
      <p:sp>
        <p:nvSpPr>
          <p:cNvPr id="2" name="Confidential disclaimer">
            <a:extLst>
              <a:ext uri="{FF2B5EF4-FFF2-40B4-BE49-F238E27FC236}">
                <a16:creationId xmlns:a16="http://schemas.microsoft.com/office/drawing/2014/main" id="{CC2B4C36-E651-2950-6A7E-EA8C3223EAD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798636" y="6573016"/>
            <a:ext cx="1101264" cy="10772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6567EAC2-C7F5-1090-5CB4-EBD818C469A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3251198" y="6485400"/>
            <a:ext cx="3716341" cy="282957"/>
          </a:xfrm>
          <a:noFill/>
        </p:spPr>
        <p:txBody>
          <a:bodyPr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Copyright Line">
            <a:extLst>
              <a:ext uri="{FF2B5EF4-FFF2-40B4-BE49-F238E27FC236}">
                <a16:creationId xmlns:a16="http://schemas.microsoft.com/office/drawing/2014/main" id="{F7126EC3-8C35-EE2B-ADB1-C715FE7A9F8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88559" y="6536552"/>
            <a:ext cx="2458455" cy="200056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1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17" name="Contact Info Placeholder">
            <a:extLst>
              <a:ext uri="{FF2B5EF4-FFF2-40B4-BE49-F238E27FC236}">
                <a16:creationId xmlns:a16="http://schemas.microsoft.com/office/drawing/2014/main" id="{A3FB210C-3E75-B9CF-9D2B-068286A55F3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88559" y="4707482"/>
            <a:ext cx="8642083" cy="423465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1pPr>
            <a:lvl2pPr marL="457051" indent="0">
              <a:buNone/>
              <a:defRPr sz="1200" b="1">
                <a:solidFill>
                  <a:schemeClr val="bg1"/>
                </a:solidFill>
              </a:defRPr>
            </a:lvl2pPr>
            <a:lvl3pPr marL="914103" indent="0">
              <a:buNone/>
              <a:defRPr sz="1200" b="1">
                <a:solidFill>
                  <a:schemeClr val="bg1"/>
                </a:solidFill>
              </a:defRPr>
            </a:lvl3pPr>
            <a:lvl4pPr marL="1371154" indent="0">
              <a:buNone/>
              <a:defRPr sz="1200" b="1">
                <a:solidFill>
                  <a:schemeClr val="bg1"/>
                </a:solidFill>
              </a:defRPr>
            </a:lvl4pPr>
            <a:lvl5pPr marL="1828206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ontact information</a:t>
            </a:r>
          </a:p>
        </p:txBody>
      </p:sp>
      <p:sp>
        <p:nvSpPr>
          <p:cNvPr id="24" name="Presenter Name Placeholder">
            <a:extLst>
              <a:ext uri="{FF2B5EF4-FFF2-40B4-BE49-F238E27FC236}">
                <a16:creationId xmlns:a16="http://schemas.microsoft.com/office/drawing/2014/main" id="{9CCE47FC-ABF8-A3D7-1819-33209FC9E53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88559" y="4339347"/>
            <a:ext cx="8642083" cy="344384"/>
          </a:xfrm>
        </p:spPr>
        <p:txBody>
          <a:bodyPr t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1pPr>
            <a:lvl2pPr marL="457051" indent="0">
              <a:buNone/>
              <a:defRPr sz="1200" b="1">
                <a:solidFill>
                  <a:schemeClr val="bg1"/>
                </a:solidFill>
              </a:defRPr>
            </a:lvl2pPr>
            <a:lvl3pPr marL="914103" indent="0">
              <a:buNone/>
              <a:defRPr sz="1200" b="1">
                <a:solidFill>
                  <a:schemeClr val="bg1"/>
                </a:solidFill>
              </a:defRPr>
            </a:lvl3pPr>
            <a:lvl4pPr marL="1371154" indent="0">
              <a:buNone/>
              <a:defRPr sz="1200" b="1">
                <a:solidFill>
                  <a:schemeClr val="bg1"/>
                </a:solidFill>
              </a:defRPr>
            </a:lvl4pPr>
            <a:lvl5pPr marL="1828206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25" name="Subtitle Placeholder">
            <a:extLst>
              <a:ext uri="{FF2B5EF4-FFF2-40B4-BE49-F238E27FC236}">
                <a16:creationId xmlns:a16="http://schemas.microsoft.com/office/drawing/2014/main" id="{10BFC0B4-2BF4-2A65-9425-84381B182E3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1" y="3136051"/>
            <a:ext cx="7121979" cy="829817"/>
          </a:xfrm>
        </p:spPr>
        <p:txBody>
          <a:bodyPr>
            <a:noAutofit/>
          </a:bodyPr>
          <a:lstStyle>
            <a:lvl1pPr marL="0" indent="0">
              <a:buNone/>
              <a:defRPr sz="2399">
                <a:solidFill>
                  <a:schemeClr val="bg1"/>
                </a:solidFill>
              </a:defRPr>
            </a:lvl1pPr>
            <a:lvl2pPr marL="457051" indent="0">
              <a:buNone/>
              <a:defRPr sz="1999">
                <a:solidFill>
                  <a:schemeClr val="tx1">
                    <a:tint val="82000"/>
                  </a:schemeClr>
                </a:solidFill>
              </a:defRPr>
            </a:lvl2pPr>
            <a:lvl3pPr marL="914103" indent="0">
              <a:buNone/>
              <a:defRPr sz="1799">
                <a:solidFill>
                  <a:schemeClr val="tx1">
                    <a:tint val="82000"/>
                  </a:schemeClr>
                </a:solidFill>
              </a:defRPr>
            </a:lvl3pPr>
            <a:lvl4pPr marL="1371154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4pPr>
            <a:lvl5pPr marL="1828206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5pPr>
            <a:lvl6pPr marL="2285257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6pPr>
            <a:lvl7pPr marL="2742308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7pPr>
            <a:lvl8pPr marL="3199360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8pPr>
            <a:lvl9pPr marL="3656411" indent="0">
              <a:buNone/>
              <a:defRPr sz="1599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[Call to action]</a:t>
            </a:r>
          </a:p>
        </p:txBody>
      </p:sp>
      <p:sp>
        <p:nvSpPr>
          <p:cNvPr id="27" name="Title Placeholder">
            <a:extLst>
              <a:ext uri="{FF2B5EF4-FFF2-40B4-BE49-F238E27FC236}">
                <a16:creationId xmlns:a16="http://schemas.microsoft.com/office/drawing/2014/main" id="{ABB00A9C-AB66-516A-550B-B734DF89C33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1" y="953701"/>
            <a:ext cx="7121979" cy="1938435"/>
          </a:xfrm>
        </p:spPr>
        <p:txBody>
          <a:bodyPr anchor="b">
            <a:noAutofit/>
          </a:bodyPr>
          <a:lstStyle>
            <a:lvl1pPr>
              <a:defRPr sz="3599">
                <a:solidFill>
                  <a:schemeClr val="bg1"/>
                </a:solidFill>
              </a:defRPr>
            </a:lvl1pPr>
          </a:lstStyle>
          <a:p>
            <a:r>
              <a:rPr lang="en-US"/>
              <a:t>[Thank you]</a:t>
            </a:r>
            <a:endParaRPr lang="en-GB"/>
          </a:p>
        </p:txBody>
      </p:sp>
      <p:pic>
        <p:nvPicPr>
          <p:cNvPr id="3" name="NielsenIQ GFK lockup">
            <a:extLst>
              <a:ext uri="{FF2B5EF4-FFF2-40B4-BE49-F238E27FC236}">
                <a16:creationId xmlns:a16="http://schemas.microsoft.com/office/drawing/2014/main" id="{8991D051-ABB0-DBF5-92EA-40EAAEB0F576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86123" y="5539741"/>
            <a:ext cx="3377876" cy="753595"/>
          </a:xfrm>
          <a:prstGeom prst="rect">
            <a:avLst/>
          </a:prstGeom>
        </p:spPr>
      </p:pic>
      <p:pic>
        <p:nvPicPr>
          <p:cNvPr id="22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B75E8267-9411-9919-62E4-BB9AB43721F4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559" y="5563212"/>
            <a:ext cx="2155411" cy="743616"/>
          </a:xfrm>
          <a:prstGeom prst="rect">
            <a:avLst/>
          </a:prstGeom>
        </p:spPr>
      </p:pic>
      <p:sp>
        <p:nvSpPr>
          <p:cNvPr id="28" name="Nielsen wordmark" hidden="1">
            <a:extLst>
              <a:ext uri="{FF2B5EF4-FFF2-40B4-BE49-F238E27FC236}">
                <a16:creationId xmlns:a16="http://schemas.microsoft.com/office/drawing/2014/main" id="{B8D9CC60-F1A1-B774-0169-5108239545D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95275" y="5686381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accent1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sz="1799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8999720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E59A1A7-76FB-EEDA-FF9D-3A4FCB226D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180190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6E59A1A7-76FB-EEDA-FF9D-3A4FCB226D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B5D77837-F372-41E3-A703-01233BC36B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5361" y="1383159"/>
            <a:ext cx="4032251" cy="461665"/>
          </a:xfrm>
        </p:spPr>
        <p:txBody>
          <a:bodyPr vert="horz" anchor="t"/>
          <a:lstStyle>
            <a:lvl1pPr algn="l">
              <a:defRPr sz="2996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genda</a:t>
            </a:r>
          </a:p>
        </p:txBody>
      </p:sp>
      <p:sp>
        <p:nvSpPr>
          <p:cNvPr id="17" name="Content">
            <a:extLst>
              <a:ext uri="{FF2B5EF4-FFF2-40B4-BE49-F238E27FC236}">
                <a16:creationId xmlns:a16="http://schemas.microsoft.com/office/drawing/2014/main" id="{72A9419C-8763-4B76-A999-AC385D6948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35361" y="2061319"/>
            <a:ext cx="4032251" cy="4031977"/>
          </a:xfrm>
        </p:spPr>
        <p:txBody>
          <a:bodyPr/>
          <a:lstStyle>
            <a:lvl1pPr marL="266440" indent="-266440">
              <a:buSzPct val="100000"/>
              <a:buFont typeface="Arial" panose="020B0604020202020204" pitchFamily="34" charset="0"/>
              <a:buAutoNum type="arabicPlain"/>
              <a:tabLst>
                <a:tab pos="4034663" algn="r"/>
              </a:tabLst>
              <a:defRPr sz="1598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1pPr>
            <a:lvl2pPr marL="447237" indent="-180799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4034663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2pPr>
            <a:lvl3pPr marL="447237" indent="-180799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4034663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3pPr>
            <a:lvl4pPr marL="447237" indent="-180799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4034663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4pPr>
            <a:lvl5pPr marL="447237" indent="-180799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4034663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5pPr>
            <a:lvl6pPr marL="447237" indent="-180799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3520815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6pPr>
            <a:lvl7pPr marL="447237" indent="-180799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3520815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7pPr>
            <a:lvl8pPr marL="447237" indent="-180799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3520815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8pPr>
            <a:lvl9pPr marL="447237" indent="-180799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3520815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9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8" name="Picture">
            <a:extLst>
              <a:ext uri="{FF2B5EF4-FFF2-40B4-BE49-F238E27FC236}">
                <a16:creationId xmlns:a16="http://schemas.microsoft.com/office/drawing/2014/main" id="{A9F39496-3247-4D2A-8D5A-9E2157A6A7D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519937" y="1485392"/>
            <a:ext cx="5758483" cy="4041052"/>
          </a:xfrm>
          <a:custGeom>
            <a:avLst/>
            <a:gdLst>
              <a:gd name="connsiteX0" fmla="*/ 5544001 w 5544001"/>
              <a:gd name="connsiteY0" fmla="*/ 0 h 3551223"/>
              <a:gd name="connsiteX1" fmla="*/ 4543017 w 5544001"/>
              <a:gd name="connsiteY1" fmla="*/ 2543298 h 3551223"/>
              <a:gd name="connsiteX2" fmla="*/ 0 w 5544001"/>
              <a:gd name="connsiteY2" fmla="*/ 3551223 h 3551223"/>
              <a:gd name="connsiteX3" fmla="*/ 0 w 5544001"/>
              <a:gd name="connsiteY3" fmla="*/ 531 h 3551223"/>
              <a:gd name="connsiteX0" fmla="*/ 5544001 w 5544001"/>
              <a:gd name="connsiteY0" fmla="*/ 0 h 3551223"/>
              <a:gd name="connsiteX1" fmla="*/ 4441735 w 5544001"/>
              <a:gd name="connsiteY1" fmla="*/ 2540103 h 3551223"/>
              <a:gd name="connsiteX2" fmla="*/ 0 w 5544001"/>
              <a:gd name="connsiteY2" fmla="*/ 3551223 h 3551223"/>
              <a:gd name="connsiteX3" fmla="*/ 0 w 5544001"/>
              <a:gd name="connsiteY3" fmla="*/ 531 h 3551223"/>
              <a:gd name="connsiteX4" fmla="*/ 5544001 w 5544001"/>
              <a:gd name="connsiteY4" fmla="*/ 0 h 3551223"/>
              <a:gd name="connsiteX0" fmla="*/ 5544001 w 5544001"/>
              <a:gd name="connsiteY0" fmla="*/ 0 h 3551223"/>
              <a:gd name="connsiteX1" fmla="*/ 4497433 w 5544001"/>
              <a:gd name="connsiteY1" fmla="*/ 2531734 h 3551223"/>
              <a:gd name="connsiteX2" fmla="*/ 0 w 5544001"/>
              <a:gd name="connsiteY2" fmla="*/ 3551223 h 3551223"/>
              <a:gd name="connsiteX3" fmla="*/ 0 w 5544001"/>
              <a:gd name="connsiteY3" fmla="*/ 531 h 3551223"/>
              <a:gd name="connsiteX4" fmla="*/ 5544001 w 5544001"/>
              <a:gd name="connsiteY4" fmla="*/ 0 h 3551223"/>
              <a:gd name="connsiteX0" fmla="*/ 5618264 w 5618264"/>
              <a:gd name="connsiteY0" fmla="*/ 7838 h 3550692"/>
              <a:gd name="connsiteX1" fmla="*/ 4497433 w 5618264"/>
              <a:gd name="connsiteY1" fmla="*/ 2531203 h 3550692"/>
              <a:gd name="connsiteX2" fmla="*/ 0 w 5618264"/>
              <a:gd name="connsiteY2" fmla="*/ 3550692 h 3550692"/>
              <a:gd name="connsiteX3" fmla="*/ 0 w 5618264"/>
              <a:gd name="connsiteY3" fmla="*/ 0 h 3550692"/>
              <a:gd name="connsiteX4" fmla="*/ 5618264 w 5618264"/>
              <a:gd name="connsiteY4" fmla="*/ 7838 h 3550692"/>
              <a:gd name="connsiteX0" fmla="*/ 5612075 w 5612075"/>
              <a:gd name="connsiteY0" fmla="*/ 2258 h 3550692"/>
              <a:gd name="connsiteX1" fmla="*/ 4497433 w 5612075"/>
              <a:gd name="connsiteY1" fmla="*/ 2531203 h 3550692"/>
              <a:gd name="connsiteX2" fmla="*/ 0 w 5612075"/>
              <a:gd name="connsiteY2" fmla="*/ 3550692 h 3550692"/>
              <a:gd name="connsiteX3" fmla="*/ 0 w 5612075"/>
              <a:gd name="connsiteY3" fmla="*/ 0 h 3550692"/>
              <a:gd name="connsiteX4" fmla="*/ 5612075 w 5612075"/>
              <a:gd name="connsiteY4" fmla="*/ 2258 h 3550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2075" h="3550692">
                <a:moveTo>
                  <a:pt x="5612075" y="2258"/>
                </a:moveTo>
                <a:lnTo>
                  <a:pt x="4497433" y="2531203"/>
                </a:lnTo>
                <a:lnTo>
                  <a:pt x="0" y="3550692"/>
                </a:lnTo>
                <a:lnTo>
                  <a:pt x="0" y="0"/>
                </a:lnTo>
                <a:lnTo>
                  <a:pt x="5612075" y="2258"/>
                </a:lnTo>
                <a:close/>
              </a:path>
            </a:pathLst>
          </a:custGeom>
          <a:solidFill>
            <a:srgbClr val="D6D9DC"/>
          </a:solidFill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 </a:t>
            </a:r>
            <a:endParaRPr lang="en-GB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3881CA30-50A3-A610-44DF-5C7DE5996CFB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5E277C1-A8D5-DA41-B906-CA0CBC6FB4F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84F5280-85A6-D335-20E6-D7BF3EB6CB19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Source">
            <a:extLst>
              <a:ext uri="{FF2B5EF4-FFF2-40B4-BE49-F238E27FC236}">
                <a16:creationId xmlns:a16="http://schemas.microsoft.com/office/drawing/2014/main" id="{45D4192A-D3C5-FE1A-59EC-AFF891ECF40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87488" y="6525002"/>
            <a:ext cx="9217024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 dirty="0"/>
              <a:t>Source, Footnote</a:t>
            </a:r>
          </a:p>
        </p:txBody>
      </p:sp>
    </p:spTree>
    <p:extLst>
      <p:ext uri="{BB962C8B-B14F-4D97-AF65-F5344CB8AC3E}">
        <p14:creationId xmlns:p14="http://schemas.microsoft.com/office/powerpoint/2010/main" val="35262984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title_and_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4B9730-A7D0-A0EB-D455-75D9709992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0747" y="704544"/>
            <a:ext cx="9225917" cy="365125"/>
          </a:xfrm>
          <a:prstGeom prst="rect">
            <a:avLst/>
          </a:prstGeom>
        </p:spPr>
        <p:txBody>
          <a:bodyPr lIns="0" tIns="0" rIns="0" bIns="0"/>
          <a:lstStyle>
            <a:lvl1pPr>
              <a:defRPr sz="1999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182427E-12ED-B1A6-B9AC-AF607BA3752F}"/>
              </a:ext>
            </a:extLst>
          </p:cNvPr>
          <p:cNvCxnSpPr>
            <a:cxnSpLocks/>
          </p:cNvCxnSpPr>
          <p:nvPr userDrawn="1"/>
        </p:nvCxnSpPr>
        <p:spPr>
          <a:xfrm>
            <a:off x="303415" y="775306"/>
            <a:ext cx="57773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62F59883-7907-11DF-EAB9-CABBF68C36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3160" y="392102"/>
            <a:ext cx="1176741" cy="427449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DAE14EE-137E-5199-AB85-285EC15619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91213" y="819551"/>
            <a:ext cx="602140" cy="19837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>
                <a:solidFill>
                  <a:schemeClr val="tx1"/>
                </a:solidFill>
              </a:defRPr>
            </a:lvl1pPr>
          </a:lstStyle>
          <a:p>
            <a:fld id="{18453B8D-4197-4D74-B1A3-07D08D72491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13731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6EA12393-706C-736D-49B4-0CB72CD742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391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A12393-706C-736D-49B4-0CB72CD742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tatic Light Bkgd">
            <a:extLst>
              <a:ext uri="{FF2B5EF4-FFF2-40B4-BE49-F238E27FC236}">
                <a16:creationId xmlns:a16="http://schemas.microsoft.com/office/drawing/2014/main" id="{C4626CD7-1C0C-6928-FA7F-84C22CDFEB5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cxnSp>
        <p:nvCxnSpPr>
          <p:cNvPr id="9" name="Horizontal Rule">
            <a:extLst>
              <a:ext uri="{FF2B5EF4-FFF2-40B4-BE49-F238E27FC236}">
                <a16:creationId xmlns:a16="http://schemas.microsoft.com/office/drawing/2014/main" id="{429C2072-EE2B-A064-5CA2-6097546F935A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292100" y="1364752"/>
            <a:ext cx="11607800" cy="0"/>
          </a:xfrm>
          <a:prstGeom prst="line">
            <a:avLst/>
          </a:prstGeom>
          <a:ln w="12700">
            <a:solidFill>
              <a:srgbClr val="5555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fidential disclaimer">
            <a:extLst>
              <a:ext uri="{FF2B5EF4-FFF2-40B4-BE49-F238E27FC236}">
                <a16:creationId xmlns:a16="http://schemas.microsoft.com/office/drawing/2014/main" id="{BB35ED0A-9206-82C6-8F45-ACF38F7B1A6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0798636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15" name="Copyright Line">
            <a:extLst>
              <a:ext uri="{FF2B5EF4-FFF2-40B4-BE49-F238E27FC236}">
                <a16:creationId xmlns:a16="http://schemas.microsoft.com/office/drawing/2014/main" id="{D439B148-E719-27C3-3403-978BEDC13EC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88558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36" name="Footer Placeholder">
            <a:extLst>
              <a:ext uri="{FF2B5EF4-FFF2-40B4-BE49-F238E27FC236}">
                <a16:creationId xmlns:a16="http://schemas.microsoft.com/office/drawing/2014/main" id="{7A2163E9-256E-9B73-6413-FAB496F455C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3"/>
          </p:nvPr>
        </p:nvSpPr>
        <p:spPr>
          <a:xfrm>
            <a:off x="3251200" y="6485399"/>
            <a:ext cx="3716336" cy="282957"/>
          </a:xfrm>
          <a:noFill/>
        </p:spPr>
        <p:txBody>
          <a:bodyPr/>
          <a:lstStyle>
            <a:lvl1pPr algn="l" rtl="0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34C6756D-B2C7-2A2B-E9A7-BB5F5972C73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2"/>
          </p:nvPr>
        </p:nvSpPr>
        <p:spPr>
          <a:xfrm>
            <a:off x="292100" y="6073688"/>
            <a:ext cx="1744664" cy="282957"/>
          </a:xfrm>
        </p:spPr>
        <p:txBody>
          <a:bodyPr/>
          <a:lstStyle>
            <a:lvl1pPr rtl="0">
              <a:defRPr sz="1200">
                <a:solidFill>
                  <a:srgbClr val="555555"/>
                </a:solidFill>
              </a:defRPr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19" name="Title/Dept Placeholder">
            <a:extLst>
              <a:ext uri="{FF2B5EF4-FFF2-40B4-BE49-F238E27FC236}">
                <a16:creationId xmlns:a16="http://schemas.microsoft.com/office/drawing/2014/main" id="{6942A971-1821-DF95-6B7B-A7991E06FA8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 hasCustomPrompt="1"/>
          </p:nvPr>
        </p:nvSpPr>
        <p:spPr>
          <a:xfrm>
            <a:off x="292100" y="5562225"/>
            <a:ext cx="8625842" cy="344385"/>
          </a:xfrm>
        </p:spPr>
        <p:txBody>
          <a:bodyPr t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rgbClr val="555555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/Department</a:t>
            </a:r>
          </a:p>
        </p:txBody>
      </p:sp>
      <p:sp>
        <p:nvSpPr>
          <p:cNvPr id="18" name="Presenter Name Placeholder">
            <a:extLst>
              <a:ext uri="{FF2B5EF4-FFF2-40B4-BE49-F238E27FC236}">
                <a16:creationId xmlns:a16="http://schemas.microsoft.com/office/drawing/2014/main" id="{4D8E56BE-097F-EB4E-3287-BD1DCBFF488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292100" y="5194091"/>
            <a:ext cx="8625841" cy="344384"/>
          </a:xfrm>
        </p:spPr>
        <p:txBody>
          <a:bodyPr tIns="0" bIns="0" anchor="b" anchorCtr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rgbClr val="555555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D952C9CE-AA03-A24B-BBD9-8EA2482DC59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292100" y="4151030"/>
            <a:ext cx="8625840" cy="837882"/>
          </a:xfr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55555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5F151AF7-737A-1648-9BC4-B9D881179FB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292100" y="1671355"/>
            <a:ext cx="8625840" cy="238760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>
              <a:defRPr sz="5400">
                <a:solidFill>
                  <a:srgbClr val="555555"/>
                </a:solidFill>
              </a:defRPr>
            </a:lvl1pPr>
          </a:lstStyle>
          <a:p>
            <a:r>
              <a:rPr lang="en-US" dirty="0"/>
              <a:t>Insert your presentation title here maximum of three lines</a:t>
            </a:r>
          </a:p>
        </p:txBody>
      </p:sp>
      <p:pic>
        <p:nvPicPr>
          <p:cNvPr id="11" name="NielsenIQ GFK lockup" hidden="1">
            <a:extLst>
              <a:ext uri="{FF2B5EF4-FFF2-40B4-BE49-F238E27FC236}">
                <a16:creationId xmlns:a16="http://schemas.microsoft.com/office/drawing/2014/main" id="{7D277D99-518B-9609-51D0-587AB5DBF23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86122" y="321743"/>
            <a:ext cx="3377876" cy="753596"/>
          </a:xfrm>
          <a:prstGeom prst="rect">
            <a:avLst/>
          </a:prstGeom>
        </p:spPr>
      </p:pic>
      <p:pic>
        <p:nvPicPr>
          <p:cNvPr id="5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9851AB56-8AE6-EEF1-0330-E0C0C6360BE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558" y="305205"/>
            <a:ext cx="2211998" cy="763139"/>
          </a:xfrm>
          <a:prstGeom prst="rect">
            <a:avLst/>
          </a:prstGeom>
        </p:spPr>
      </p:pic>
      <p:sp>
        <p:nvSpPr>
          <p:cNvPr id="4" name="Nielsen wordmark">
            <a:extLst>
              <a:ext uri="{FF2B5EF4-FFF2-40B4-BE49-F238E27FC236}">
                <a16:creationId xmlns:a16="http://schemas.microsoft.com/office/drawing/2014/main" id="{114DF69D-7EB6-203C-43F0-B2D46A94C48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295274" y="443155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accent1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4615001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75EE1CB-582C-B408-2089-9B2FC7A86A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2176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5EE1CB-582C-B408-2089-9B2FC7A86A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tatic Dark Bkgd">
            <a:extLst>
              <a:ext uri="{FF2B5EF4-FFF2-40B4-BE49-F238E27FC236}">
                <a16:creationId xmlns:a16="http://schemas.microsoft.com/office/drawing/2014/main" id="{C44FA2BA-550D-EDA0-ABAB-D662C16F137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cxnSp>
        <p:nvCxnSpPr>
          <p:cNvPr id="9" name="Horizontal Rule">
            <a:extLst>
              <a:ext uri="{FF2B5EF4-FFF2-40B4-BE49-F238E27FC236}">
                <a16:creationId xmlns:a16="http://schemas.microsoft.com/office/drawing/2014/main" id="{429C2072-EE2B-A064-5CA2-6097546F935A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292100" y="1364752"/>
            <a:ext cx="11607800" cy="0"/>
          </a:xfrm>
          <a:prstGeom prst="line">
            <a:avLst/>
          </a:prstGeom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fidential disclaimer">
            <a:extLst>
              <a:ext uri="{FF2B5EF4-FFF2-40B4-BE49-F238E27FC236}">
                <a16:creationId xmlns:a16="http://schemas.microsoft.com/office/drawing/2014/main" id="{0CFED10E-E876-D584-0DE6-56605800FA6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0798636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15" name="Copyright Line">
            <a:extLst>
              <a:ext uri="{FF2B5EF4-FFF2-40B4-BE49-F238E27FC236}">
                <a16:creationId xmlns:a16="http://schemas.microsoft.com/office/drawing/2014/main" id="{D439B148-E719-27C3-3403-978BEDC13EC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88558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10" name="Footer Placeholder">
            <a:extLst>
              <a:ext uri="{FF2B5EF4-FFF2-40B4-BE49-F238E27FC236}">
                <a16:creationId xmlns:a16="http://schemas.microsoft.com/office/drawing/2014/main" id="{671A6FA9-FE3E-4211-C84B-88F574FE85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3"/>
          </p:nvPr>
        </p:nvSpPr>
        <p:spPr>
          <a:xfrm>
            <a:off x="3251200" y="6485399"/>
            <a:ext cx="3716336" cy="282957"/>
          </a:xfrm>
          <a:noFill/>
        </p:spPr>
        <p:txBody>
          <a:bodyPr/>
          <a:lstStyle>
            <a:lvl1pPr algn="l" rtl="0"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34C6756D-B2C7-2A2B-E9A7-BB5F5972C73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2"/>
          </p:nvPr>
        </p:nvSpPr>
        <p:spPr>
          <a:xfrm>
            <a:off x="292100" y="6073688"/>
            <a:ext cx="1744664" cy="282957"/>
          </a:xfrm>
        </p:spPr>
        <p:txBody>
          <a:bodyPr/>
          <a:lstStyle>
            <a:lvl1pPr rtl="0">
              <a:defRPr sz="1200">
                <a:solidFill>
                  <a:srgbClr val="FFFFFF"/>
                </a:solidFill>
              </a:defRPr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19" name="Title/Dept Placeholder">
            <a:extLst>
              <a:ext uri="{FF2B5EF4-FFF2-40B4-BE49-F238E27FC236}">
                <a16:creationId xmlns:a16="http://schemas.microsoft.com/office/drawing/2014/main" id="{6942A971-1821-DF95-6B7B-A7991E06FA8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 hasCustomPrompt="1"/>
          </p:nvPr>
        </p:nvSpPr>
        <p:spPr>
          <a:xfrm>
            <a:off x="292100" y="5562225"/>
            <a:ext cx="8625842" cy="344385"/>
          </a:xfrm>
        </p:spPr>
        <p:txBody>
          <a:bodyPr t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/Department</a:t>
            </a:r>
          </a:p>
        </p:txBody>
      </p:sp>
      <p:sp>
        <p:nvSpPr>
          <p:cNvPr id="18" name="Presenter Name Placeholder">
            <a:extLst>
              <a:ext uri="{FF2B5EF4-FFF2-40B4-BE49-F238E27FC236}">
                <a16:creationId xmlns:a16="http://schemas.microsoft.com/office/drawing/2014/main" id="{4D8E56BE-097F-EB4E-3287-BD1DCBFF488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292100" y="5194091"/>
            <a:ext cx="8625841" cy="344384"/>
          </a:xfrm>
        </p:spPr>
        <p:txBody>
          <a:bodyPr tIns="0" bIns="0" anchor="b" anchorCtr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D952C9CE-AA03-A24B-BBD9-8EA2482DC59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292100" y="4151030"/>
            <a:ext cx="8625840" cy="837882"/>
          </a:xfr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5F151AF7-737A-1648-9BC4-B9D881179FB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292100" y="1671355"/>
            <a:ext cx="8625840" cy="238760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>
              <a:defRPr sz="5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Insert your presentation title here maximum of three lines</a:t>
            </a:r>
          </a:p>
        </p:txBody>
      </p:sp>
      <p:pic>
        <p:nvPicPr>
          <p:cNvPr id="11" name="NielsenIQ GFK lockup" hidden="1">
            <a:extLst>
              <a:ext uri="{FF2B5EF4-FFF2-40B4-BE49-F238E27FC236}">
                <a16:creationId xmlns:a16="http://schemas.microsoft.com/office/drawing/2014/main" id="{F5A22785-6BE6-D1CC-4D14-4C9F4152DA6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86122" y="321743"/>
            <a:ext cx="3377876" cy="753596"/>
          </a:xfrm>
          <a:prstGeom prst="rect">
            <a:avLst/>
          </a:prstGeom>
        </p:spPr>
      </p:pic>
      <p:pic>
        <p:nvPicPr>
          <p:cNvPr id="12" name="NielsenIQ logo+wordmark" hidden="1">
            <a:extLst>
              <a:ext uri="{FF2B5EF4-FFF2-40B4-BE49-F238E27FC236}">
                <a16:creationId xmlns:a16="http://schemas.microsoft.com/office/drawing/2014/main" id="{8189DD20-160D-9FA4-6050-54CA59644796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8558" y="305205"/>
            <a:ext cx="2211753" cy="763139"/>
          </a:xfrm>
          <a:prstGeom prst="rect">
            <a:avLst/>
          </a:prstGeom>
        </p:spPr>
      </p:pic>
      <p:sp>
        <p:nvSpPr>
          <p:cNvPr id="23" name="Nielsen wordmark">
            <a:extLst>
              <a:ext uri="{FF2B5EF4-FFF2-40B4-BE49-F238E27FC236}">
                <a16:creationId xmlns:a16="http://schemas.microsoft.com/office/drawing/2014/main" id="{A534929D-2AB3-3703-CE21-C24AAF5B90D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295274" y="443155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tx2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9718633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D54FD75D-F919-6C41-2957-424160A257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3389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4FD75D-F919-6C41-2957-424160A257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tatic Dark Bkgd">
            <a:extLst>
              <a:ext uri="{FF2B5EF4-FFF2-40B4-BE49-F238E27FC236}">
                <a16:creationId xmlns:a16="http://schemas.microsoft.com/office/drawing/2014/main" id="{C44FA2BA-550D-EDA0-ABAB-D662C16F137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60A4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cxnSp>
        <p:nvCxnSpPr>
          <p:cNvPr id="9" name="Horizontal Rule">
            <a:extLst>
              <a:ext uri="{FF2B5EF4-FFF2-40B4-BE49-F238E27FC236}">
                <a16:creationId xmlns:a16="http://schemas.microsoft.com/office/drawing/2014/main" id="{429C2072-EE2B-A064-5CA2-6097546F935A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292100" y="1364752"/>
            <a:ext cx="11607800" cy="0"/>
          </a:xfrm>
          <a:prstGeom prst="line">
            <a:avLst/>
          </a:prstGeom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fidential disclaimer">
            <a:extLst>
              <a:ext uri="{FF2B5EF4-FFF2-40B4-BE49-F238E27FC236}">
                <a16:creationId xmlns:a16="http://schemas.microsoft.com/office/drawing/2014/main" id="{15979AA9-9DD3-3AAB-213C-8B9A6FF3D1D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0798636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15" name="Copyright Line">
            <a:extLst>
              <a:ext uri="{FF2B5EF4-FFF2-40B4-BE49-F238E27FC236}">
                <a16:creationId xmlns:a16="http://schemas.microsoft.com/office/drawing/2014/main" id="{D439B148-E719-27C3-3403-978BEDC13EC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88558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10" name="Footer Placeholder">
            <a:extLst>
              <a:ext uri="{FF2B5EF4-FFF2-40B4-BE49-F238E27FC236}">
                <a16:creationId xmlns:a16="http://schemas.microsoft.com/office/drawing/2014/main" id="{671A6FA9-FE3E-4211-C84B-88F574FE85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3"/>
          </p:nvPr>
        </p:nvSpPr>
        <p:spPr>
          <a:xfrm>
            <a:off x="3251200" y="6485399"/>
            <a:ext cx="3716336" cy="282957"/>
          </a:xfrm>
          <a:solidFill>
            <a:schemeClr val="tx2"/>
          </a:solidFill>
        </p:spPr>
        <p:txBody>
          <a:bodyPr/>
          <a:lstStyle>
            <a:lvl1pPr algn="l" rtl="0"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34C6756D-B2C7-2A2B-E9A7-BB5F5972C73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2"/>
          </p:nvPr>
        </p:nvSpPr>
        <p:spPr>
          <a:xfrm>
            <a:off x="292100" y="6073688"/>
            <a:ext cx="1744664" cy="282957"/>
          </a:xfrm>
        </p:spPr>
        <p:txBody>
          <a:bodyPr/>
          <a:lstStyle>
            <a:lvl1pPr rtl="0">
              <a:defRPr sz="1200">
                <a:solidFill>
                  <a:srgbClr val="FFFFFF"/>
                </a:solidFill>
              </a:defRPr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19" name="Title/Dept Placeholder">
            <a:extLst>
              <a:ext uri="{FF2B5EF4-FFF2-40B4-BE49-F238E27FC236}">
                <a16:creationId xmlns:a16="http://schemas.microsoft.com/office/drawing/2014/main" id="{6942A971-1821-DF95-6B7B-A7991E06FA8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 hasCustomPrompt="1"/>
          </p:nvPr>
        </p:nvSpPr>
        <p:spPr>
          <a:xfrm>
            <a:off x="292100" y="5562225"/>
            <a:ext cx="8625842" cy="344385"/>
          </a:xfrm>
        </p:spPr>
        <p:txBody>
          <a:bodyPr t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/Department</a:t>
            </a:r>
          </a:p>
        </p:txBody>
      </p:sp>
      <p:sp>
        <p:nvSpPr>
          <p:cNvPr id="18" name="Presenter Name Placeholder">
            <a:extLst>
              <a:ext uri="{FF2B5EF4-FFF2-40B4-BE49-F238E27FC236}">
                <a16:creationId xmlns:a16="http://schemas.microsoft.com/office/drawing/2014/main" id="{4D8E56BE-097F-EB4E-3287-BD1DCBFF488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292100" y="5194091"/>
            <a:ext cx="8625841" cy="344384"/>
          </a:xfrm>
        </p:spPr>
        <p:txBody>
          <a:bodyPr tIns="0" bIns="0" anchor="b" anchorCtr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D952C9CE-AA03-A24B-BBD9-8EA2482DC59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292100" y="4151030"/>
            <a:ext cx="8625840" cy="837882"/>
          </a:xfr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5F151AF7-737A-1648-9BC4-B9D881179FB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292100" y="1671355"/>
            <a:ext cx="8625840" cy="238760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>
              <a:defRPr sz="5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Insert your presentation title here maximum of three lines</a:t>
            </a:r>
          </a:p>
        </p:txBody>
      </p:sp>
      <p:pic>
        <p:nvPicPr>
          <p:cNvPr id="4" name="NielsenIQ GFK lockup" hidden="1">
            <a:extLst>
              <a:ext uri="{FF2B5EF4-FFF2-40B4-BE49-F238E27FC236}">
                <a16:creationId xmlns:a16="http://schemas.microsoft.com/office/drawing/2014/main" id="{C8AAA83D-C3BC-19DA-FC85-5AFC9A752B02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86122" y="321743"/>
            <a:ext cx="3377876" cy="753596"/>
          </a:xfrm>
          <a:prstGeom prst="rect">
            <a:avLst/>
          </a:prstGeom>
        </p:spPr>
      </p:pic>
      <p:pic>
        <p:nvPicPr>
          <p:cNvPr id="12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8189DD20-160D-9FA4-6050-54CA59644796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558" y="305205"/>
            <a:ext cx="2211998" cy="763139"/>
          </a:xfrm>
          <a:prstGeom prst="rect">
            <a:avLst/>
          </a:prstGeom>
        </p:spPr>
      </p:pic>
      <p:sp>
        <p:nvSpPr>
          <p:cNvPr id="23" name="Nielsen wordmark">
            <a:extLst>
              <a:ext uri="{FF2B5EF4-FFF2-40B4-BE49-F238E27FC236}">
                <a16:creationId xmlns:a16="http://schemas.microsoft.com/office/drawing/2014/main" id="{ACEC4A6E-78BA-F45C-EDE6-561ED4C493C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295274" y="443155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accent1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6928798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Photo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AC7B719D-AD92-F555-AFB2-B896D04BA3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9636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7B719D-AD92-F555-AFB2-B896D04BA3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Static Light Bkgd">
            <a:extLst>
              <a:ext uri="{FF2B5EF4-FFF2-40B4-BE49-F238E27FC236}">
                <a16:creationId xmlns:a16="http://schemas.microsoft.com/office/drawing/2014/main" id="{EE705342-7994-AFF3-15FD-F6FDEC9AE6B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grpSp>
        <p:nvGrpSpPr>
          <p:cNvPr id="30" name="Photo Accent Circles">
            <a:extLst>
              <a:ext uri="{FF2B5EF4-FFF2-40B4-BE49-F238E27FC236}">
                <a16:creationId xmlns:a16="http://schemas.microsoft.com/office/drawing/2014/main" id="{05F2AB47-2DD7-8B76-D4C4-88A3A382FA8A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5942370" y="1"/>
            <a:ext cx="6249631" cy="6778171"/>
            <a:chOff x="5942370" y="1"/>
            <a:chExt cx="6249631" cy="6778171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41DBC157-DD06-141E-B188-1EB8D24163C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5942370" y="1"/>
              <a:ext cx="6249631" cy="6778171"/>
            </a:xfrm>
            <a:custGeom>
              <a:avLst/>
              <a:gdLst>
                <a:gd name="connsiteX0" fmla="*/ 1133398 w 6249631"/>
                <a:gd name="connsiteY0" fmla="*/ 0 h 6778171"/>
                <a:gd name="connsiteX1" fmla="*/ 6249631 w 6249631"/>
                <a:gd name="connsiteY1" fmla="*/ 0 h 6778171"/>
                <a:gd name="connsiteX2" fmla="*/ 6249631 w 6249631"/>
                <a:gd name="connsiteY2" fmla="*/ 6079239 h 6778171"/>
                <a:gd name="connsiteX3" fmla="*/ 6227147 w 6249631"/>
                <a:gd name="connsiteY3" fmla="*/ 6096052 h 6778171"/>
                <a:gd name="connsiteX4" fmla="*/ 3994041 w 6249631"/>
                <a:gd name="connsiteY4" fmla="*/ 6778171 h 6778171"/>
                <a:gd name="connsiteX5" fmla="*/ 0 w 6249631"/>
                <a:gd name="connsiteY5" fmla="*/ 2784130 h 6778171"/>
                <a:gd name="connsiteX6" fmla="*/ 912045 w 6249631"/>
                <a:gd name="connsiteY6" fmla="*/ 243549 h 67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9631" h="6778171">
                  <a:moveTo>
                    <a:pt x="1133398" y="0"/>
                  </a:moveTo>
                  <a:lnTo>
                    <a:pt x="6249631" y="0"/>
                  </a:lnTo>
                  <a:lnTo>
                    <a:pt x="6249631" y="6079239"/>
                  </a:lnTo>
                  <a:lnTo>
                    <a:pt x="6227147" y="6096052"/>
                  </a:lnTo>
                  <a:cubicBezTo>
                    <a:pt x="5589694" y="6526707"/>
                    <a:pt x="4821234" y="6778171"/>
                    <a:pt x="3994041" y="6778171"/>
                  </a:cubicBezTo>
                  <a:cubicBezTo>
                    <a:pt x="1788193" y="6778171"/>
                    <a:pt x="0" y="4989978"/>
                    <a:pt x="0" y="2784130"/>
                  </a:cubicBezTo>
                  <a:cubicBezTo>
                    <a:pt x="0" y="1819072"/>
                    <a:pt x="342272" y="933955"/>
                    <a:pt x="912045" y="243549"/>
                  </a:cubicBezTo>
                  <a:close/>
                </a:path>
              </a:pathLst>
            </a:custGeom>
            <a:solidFill>
              <a:srgbClr val="F0F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 rtl="0"/>
              <a:endParaRPr lang="en-US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D9CB59-0278-69D3-1B88-9D97D9D9BF6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6596886" y="1"/>
              <a:ext cx="5595114" cy="6115087"/>
            </a:xfrm>
            <a:custGeom>
              <a:avLst/>
              <a:gdLst>
                <a:gd name="connsiteX0" fmla="*/ 1504880 w 5595114"/>
                <a:gd name="connsiteY0" fmla="*/ 0 h 6115087"/>
                <a:gd name="connsiteX1" fmla="*/ 5157035 w 5595114"/>
                <a:gd name="connsiteY1" fmla="*/ 0 h 6115087"/>
                <a:gd name="connsiteX2" fmla="*/ 5193327 w 5595114"/>
                <a:gd name="connsiteY2" fmla="*/ 22048 h 6115087"/>
                <a:gd name="connsiteX3" fmla="*/ 5449755 w 5595114"/>
                <a:gd name="connsiteY3" fmla="*/ 213802 h 6115087"/>
                <a:gd name="connsiteX4" fmla="*/ 5595114 w 5595114"/>
                <a:gd name="connsiteY4" fmla="*/ 345913 h 6115087"/>
                <a:gd name="connsiteX5" fmla="*/ 5595114 w 5595114"/>
                <a:gd name="connsiteY5" fmla="*/ 5222347 h 6115087"/>
                <a:gd name="connsiteX6" fmla="*/ 5449755 w 5595114"/>
                <a:gd name="connsiteY6" fmla="*/ 5354459 h 6115087"/>
                <a:gd name="connsiteX7" fmla="*/ 3330957 w 5595114"/>
                <a:gd name="connsiteY7" fmla="*/ 6115087 h 6115087"/>
                <a:gd name="connsiteX8" fmla="*/ 0 w 5595114"/>
                <a:gd name="connsiteY8" fmla="*/ 2784130 h 6115087"/>
                <a:gd name="connsiteX9" fmla="*/ 1468588 w 5595114"/>
                <a:gd name="connsiteY9" fmla="*/ 22048 h 6115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95114" h="6115087">
                  <a:moveTo>
                    <a:pt x="1504880" y="0"/>
                  </a:moveTo>
                  <a:lnTo>
                    <a:pt x="5157035" y="0"/>
                  </a:lnTo>
                  <a:lnTo>
                    <a:pt x="5193327" y="22048"/>
                  </a:lnTo>
                  <a:cubicBezTo>
                    <a:pt x="5281931" y="81908"/>
                    <a:pt x="5367500" y="145919"/>
                    <a:pt x="5449755" y="213802"/>
                  </a:cubicBezTo>
                  <a:lnTo>
                    <a:pt x="5595114" y="345913"/>
                  </a:lnTo>
                  <a:lnTo>
                    <a:pt x="5595114" y="5222347"/>
                  </a:lnTo>
                  <a:lnTo>
                    <a:pt x="5449755" y="5354459"/>
                  </a:lnTo>
                  <a:cubicBezTo>
                    <a:pt x="4873969" y="5829639"/>
                    <a:pt x="4135798" y="6115087"/>
                    <a:pt x="3330957" y="6115087"/>
                  </a:cubicBezTo>
                  <a:cubicBezTo>
                    <a:pt x="1491320" y="6115087"/>
                    <a:pt x="0" y="4623767"/>
                    <a:pt x="0" y="2784130"/>
                  </a:cubicBezTo>
                  <a:cubicBezTo>
                    <a:pt x="0" y="1634357"/>
                    <a:pt x="582547" y="620645"/>
                    <a:pt x="1468588" y="22048"/>
                  </a:cubicBezTo>
                  <a:close/>
                </a:path>
              </a:pathLst>
            </a:custGeom>
            <a:solidFill>
              <a:srgbClr val="DADAD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en-US" dirty="0">
                <a:solidFill>
                  <a:srgbClr val="DADADA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EF44984-8F7A-8C11-AE43-676924BE717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7172234" y="28520"/>
              <a:ext cx="5019767" cy="5511220"/>
            </a:xfrm>
            <a:custGeom>
              <a:avLst/>
              <a:gdLst>
                <a:gd name="connsiteX0" fmla="*/ 2755610 w 5019767"/>
                <a:gd name="connsiteY0" fmla="*/ 0 h 5511220"/>
                <a:gd name="connsiteX1" fmla="*/ 4881972 w 5019767"/>
                <a:gd name="connsiteY1" fmla="*/ 1002786 h 5511220"/>
                <a:gd name="connsiteX2" fmla="*/ 5019767 w 5019767"/>
                <a:gd name="connsiteY2" fmla="*/ 1187056 h 5511220"/>
                <a:gd name="connsiteX3" fmla="*/ 5019767 w 5019767"/>
                <a:gd name="connsiteY3" fmla="*/ 4324164 h 5511220"/>
                <a:gd name="connsiteX4" fmla="*/ 4881972 w 5019767"/>
                <a:gd name="connsiteY4" fmla="*/ 4508434 h 5511220"/>
                <a:gd name="connsiteX5" fmla="*/ 2755610 w 5019767"/>
                <a:gd name="connsiteY5" fmla="*/ 5511220 h 5511220"/>
                <a:gd name="connsiteX6" fmla="*/ 0 w 5019767"/>
                <a:gd name="connsiteY6" fmla="*/ 2755610 h 5511220"/>
                <a:gd name="connsiteX7" fmla="*/ 2755610 w 5019767"/>
                <a:gd name="connsiteY7" fmla="*/ 0 h 5511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19767" h="5511220">
                  <a:moveTo>
                    <a:pt x="2755610" y="0"/>
                  </a:moveTo>
                  <a:cubicBezTo>
                    <a:pt x="3611668" y="0"/>
                    <a:pt x="4376553" y="390360"/>
                    <a:pt x="4881972" y="1002786"/>
                  </a:cubicBezTo>
                  <a:lnTo>
                    <a:pt x="5019767" y="1187056"/>
                  </a:lnTo>
                  <a:lnTo>
                    <a:pt x="5019767" y="4324164"/>
                  </a:lnTo>
                  <a:lnTo>
                    <a:pt x="4881972" y="4508434"/>
                  </a:lnTo>
                  <a:cubicBezTo>
                    <a:pt x="4376553" y="5120861"/>
                    <a:pt x="3611668" y="5511220"/>
                    <a:pt x="2755610" y="5511220"/>
                  </a:cubicBezTo>
                  <a:cubicBezTo>
                    <a:pt x="1233729" y="5511220"/>
                    <a:pt x="0" y="4277491"/>
                    <a:pt x="0" y="2755610"/>
                  </a:cubicBezTo>
                  <a:cubicBezTo>
                    <a:pt x="0" y="1233729"/>
                    <a:pt x="1233729" y="0"/>
                    <a:pt x="275561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en-US" dirty="0"/>
            </a:p>
          </p:txBody>
        </p:sp>
      </p:grpSp>
      <p:sp>
        <p:nvSpPr>
          <p:cNvPr id="9" name="Copyright Line">
            <a:extLst>
              <a:ext uri="{FF2B5EF4-FFF2-40B4-BE49-F238E27FC236}">
                <a16:creationId xmlns:a16="http://schemas.microsoft.com/office/drawing/2014/main" id="{D2389545-B6D7-497B-37D4-C8C4C52F8A1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88558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5" name="Confidential disclaimer">
            <a:extLst>
              <a:ext uri="{FF2B5EF4-FFF2-40B4-BE49-F238E27FC236}">
                <a16:creationId xmlns:a16="http://schemas.microsoft.com/office/drawing/2014/main" id="{0B3A39F8-8D7C-C8DD-497D-7F28EC8D8B6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0798636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26" name="Footer Placeholder">
            <a:extLst>
              <a:ext uri="{FF2B5EF4-FFF2-40B4-BE49-F238E27FC236}">
                <a16:creationId xmlns:a16="http://schemas.microsoft.com/office/drawing/2014/main" id="{82B2F640-F33B-8BC7-0A7C-2CC5589C173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5"/>
          </p:nvPr>
        </p:nvSpPr>
        <p:spPr>
          <a:xfrm>
            <a:off x="3251195" y="6485399"/>
            <a:ext cx="3716341" cy="282957"/>
          </a:xfrm>
        </p:spPr>
        <p:txBody>
          <a:bodyPr/>
          <a:lstStyle>
            <a:lvl1pPr algn="l" rtl="0">
              <a:defRPr/>
            </a:lvl1pPr>
          </a:lstStyle>
          <a:p>
            <a:endParaRPr lang="en-US" dirty="0"/>
          </a:p>
        </p:txBody>
      </p:sp>
      <p:sp>
        <p:nvSpPr>
          <p:cNvPr id="25" name="Picture Placeholder">
            <a:extLst>
              <a:ext uri="{FF2B5EF4-FFF2-40B4-BE49-F238E27FC236}">
                <a16:creationId xmlns:a16="http://schemas.microsoft.com/office/drawing/2014/main" id="{278BDEAF-4B5A-EDEC-5FBB-5BDC0B1311E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2" hasCustomPrompt="1"/>
          </p:nvPr>
        </p:nvSpPr>
        <p:spPr>
          <a:xfrm>
            <a:off x="7465671" y="321957"/>
            <a:ext cx="4726329" cy="4924346"/>
          </a:xfrm>
          <a:custGeom>
            <a:avLst/>
            <a:gdLst>
              <a:gd name="connsiteX0" fmla="*/ 2462173 w 4726329"/>
              <a:gd name="connsiteY0" fmla="*/ 0 h 4924346"/>
              <a:gd name="connsiteX1" fmla="*/ 4627175 w 4726329"/>
              <a:gd name="connsiteY1" fmla="*/ 1288555 h 4924346"/>
              <a:gd name="connsiteX2" fmla="*/ 4726329 w 4726329"/>
              <a:gd name="connsiteY2" fmla="*/ 1494386 h 4924346"/>
              <a:gd name="connsiteX3" fmla="*/ 4726329 w 4726329"/>
              <a:gd name="connsiteY3" fmla="*/ 3429960 h 4924346"/>
              <a:gd name="connsiteX4" fmla="*/ 4627175 w 4726329"/>
              <a:gd name="connsiteY4" fmla="*/ 3635791 h 4924346"/>
              <a:gd name="connsiteX5" fmla="*/ 2462173 w 4726329"/>
              <a:gd name="connsiteY5" fmla="*/ 4924346 h 4924346"/>
              <a:gd name="connsiteX6" fmla="*/ 0 w 4726329"/>
              <a:gd name="connsiteY6" fmla="*/ 2462173 h 4924346"/>
              <a:gd name="connsiteX7" fmla="*/ 2462173 w 4726329"/>
              <a:gd name="connsiteY7" fmla="*/ 0 h 4924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26329" h="4924346">
                <a:moveTo>
                  <a:pt x="2462173" y="0"/>
                </a:moveTo>
                <a:cubicBezTo>
                  <a:pt x="3397050" y="0"/>
                  <a:pt x="4210233" y="521034"/>
                  <a:pt x="4627175" y="1288555"/>
                </a:cubicBezTo>
                <a:lnTo>
                  <a:pt x="4726329" y="1494386"/>
                </a:lnTo>
                <a:lnTo>
                  <a:pt x="4726329" y="3429960"/>
                </a:lnTo>
                <a:lnTo>
                  <a:pt x="4627175" y="3635791"/>
                </a:lnTo>
                <a:cubicBezTo>
                  <a:pt x="4210233" y="4403313"/>
                  <a:pt x="3397050" y="4924346"/>
                  <a:pt x="2462173" y="4924346"/>
                </a:cubicBezTo>
                <a:cubicBezTo>
                  <a:pt x="1102352" y="4924346"/>
                  <a:pt x="0" y="3821994"/>
                  <a:pt x="0" y="2462173"/>
                </a:cubicBezTo>
                <a:cubicBezTo>
                  <a:pt x="0" y="1102352"/>
                  <a:pt x="1102352" y="0"/>
                  <a:pt x="2462173" y="0"/>
                </a:cubicBezTo>
                <a:close/>
              </a:path>
            </a:pathLst>
          </a:custGeom>
          <a:solidFill>
            <a:srgbClr val="777777"/>
          </a:solidFill>
        </p:spPr>
        <p:txBody>
          <a:bodyPr wrap="square" anchor="ctr" anchorCtr="1">
            <a:noAutofit/>
          </a:bodyPr>
          <a:lstStyle>
            <a:lvl1pPr marL="0" indent="0" algn="ctr" rtl="0"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picture icon to add photo</a:t>
            </a:r>
          </a:p>
        </p:txBody>
      </p:sp>
      <p:sp>
        <p:nvSpPr>
          <p:cNvPr id="11" name="Date Placeholder">
            <a:extLst>
              <a:ext uri="{FF2B5EF4-FFF2-40B4-BE49-F238E27FC236}">
                <a16:creationId xmlns:a16="http://schemas.microsoft.com/office/drawing/2014/main" id="{56FDEAC7-8736-5846-42B8-66DC00FA3B9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>
          <a:xfrm>
            <a:off x="292100" y="5036705"/>
            <a:ext cx="1744664" cy="282957"/>
          </a:xfrm>
        </p:spPr>
        <p:txBody>
          <a:bodyPr/>
          <a:lstStyle>
            <a:lvl1pPr rtl="0">
              <a:defRPr sz="1200">
                <a:solidFill>
                  <a:srgbClr val="555555"/>
                </a:solidFill>
              </a:defRPr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3" name="Title/Dept Placeholder">
            <a:extLst>
              <a:ext uri="{FF2B5EF4-FFF2-40B4-BE49-F238E27FC236}">
                <a16:creationId xmlns:a16="http://schemas.microsoft.com/office/drawing/2014/main" id="{F49547DD-E825-E7A3-C48A-64AA78C199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 hasCustomPrompt="1"/>
          </p:nvPr>
        </p:nvSpPr>
        <p:spPr>
          <a:xfrm>
            <a:off x="292100" y="4560602"/>
            <a:ext cx="6689728" cy="344385"/>
          </a:xfrm>
        </p:spPr>
        <p:txBody>
          <a:bodyPr t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rgbClr val="555555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/Department</a:t>
            </a:r>
          </a:p>
        </p:txBody>
      </p:sp>
      <p:sp>
        <p:nvSpPr>
          <p:cNvPr id="2" name="Presenter Name Placeholder">
            <a:extLst>
              <a:ext uri="{FF2B5EF4-FFF2-40B4-BE49-F238E27FC236}">
                <a16:creationId xmlns:a16="http://schemas.microsoft.com/office/drawing/2014/main" id="{5A598B2A-BB91-C356-7BCC-18D04DA85A8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292100" y="4192468"/>
            <a:ext cx="6689728" cy="344384"/>
          </a:xfrm>
        </p:spPr>
        <p:txBody>
          <a:bodyPr tIns="0" bIns="0" anchor="b" anchorCtr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rgbClr val="555555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8" name="Subtitle Placeholder">
            <a:extLst>
              <a:ext uri="{FF2B5EF4-FFF2-40B4-BE49-F238E27FC236}">
                <a16:creationId xmlns:a16="http://schemas.microsoft.com/office/drawing/2014/main" id="{23B6A8FC-C3C4-F7DA-BF00-D56866D5808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292100" y="3114710"/>
            <a:ext cx="6689729" cy="837882"/>
          </a:xfr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55555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Title Placeholder">
            <a:extLst>
              <a:ext uri="{FF2B5EF4-FFF2-40B4-BE49-F238E27FC236}">
                <a16:creationId xmlns:a16="http://schemas.microsoft.com/office/drawing/2014/main" id="{615225DC-38B1-15E3-05E6-88F5A6B976C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292100" y="654818"/>
            <a:ext cx="6689729" cy="238760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>
              <a:defRPr sz="4400">
                <a:solidFill>
                  <a:srgbClr val="555555"/>
                </a:solidFill>
              </a:defRPr>
            </a:lvl1pPr>
          </a:lstStyle>
          <a:p>
            <a:r>
              <a:rPr lang="en-US" dirty="0"/>
              <a:t>Insert your presentation title here maximum of three lines</a:t>
            </a:r>
          </a:p>
        </p:txBody>
      </p:sp>
      <p:pic>
        <p:nvPicPr>
          <p:cNvPr id="7" name="NielsenIQ GFK lockup" hidden="1">
            <a:extLst>
              <a:ext uri="{FF2B5EF4-FFF2-40B4-BE49-F238E27FC236}">
                <a16:creationId xmlns:a16="http://schemas.microsoft.com/office/drawing/2014/main" id="{0FDFD67B-3477-8375-7F26-D08E6067C99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86122" y="5539740"/>
            <a:ext cx="3377876" cy="753596"/>
          </a:xfrm>
          <a:prstGeom prst="rect">
            <a:avLst/>
          </a:prstGeom>
        </p:spPr>
      </p:pic>
      <p:pic>
        <p:nvPicPr>
          <p:cNvPr id="14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C8F8171E-1658-79B9-9EAC-E88E789EA287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558" y="5563212"/>
            <a:ext cx="2155411" cy="743616"/>
          </a:xfrm>
          <a:prstGeom prst="rect">
            <a:avLst/>
          </a:prstGeom>
        </p:spPr>
      </p:pic>
      <p:sp>
        <p:nvSpPr>
          <p:cNvPr id="22" name="Nielsen wordmark">
            <a:extLst>
              <a:ext uri="{FF2B5EF4-FFF2-40B4-BE49-F238E27FC236}">
                <a16:creationId xmlns:a16="http://schemas.microsoft.com/office/drawing/2014/main" id="{D75B41C8-8FEA-463D-AB87-6F4962F7D5E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295274" y="5686380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accent1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7601011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Photo Circ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3F74F43-0648-7BAB-BAAC-C9D0863933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2083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F74F43-0648-7BAB-BAAC-C9D0863933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Static Light Bkgd">
            <a:extLst>
              <a:ext uri="{FF2B5EF4-FFF2-40B4-BE49-F238E27FC236}">
                <a16:creationId xmlns:a16="http://schemas.microsoft.com/office/drawing/2014/main" id="{EE705342-7994-AFF3-15FD-F6FDEC9AE6B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grpSp>
        <p:nvGrpSpPr>
          <p:cNvPr id="4" name="Photo Accent Circles">
            <a:extLst>
              <a:ext uri="{FF2B5EF4-FFF2-40B4-BE49-F238E27FC236}">
                <a16:creationId xmlns:a16="http://schemas.microsoft.com/office/drawing/2014/main" id="{142AC587-6F39-6154-A37A-868A63F4F005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5942370" y="1"/>
            <a:ext cx="6249631" cy="6778171"/>
            <a:chOff x="5942370" y="1"/>
            <a:chExt cx="6249631" cy="6778171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41DBC157-DD06-141E-B188-1EB8D24163C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5942370" y="1"/>
              <a:ext cx="6249631" cy="6778171"/>
            </a:xfrm>
            <a:custGeom>
              <a:avLst/>
              <a:gdLst>
                <a:gd name="connsiteX0" fmla="*/ 1133398 w 6249631"/>
                <a:gd name="connsiteY0" fmla="*/ 0 h 6778171"/>
                <a:gd name="connsiteX1" fmla="*/ 6249631 w 6249631"/>
                <a:gd name="connsiteY1" fmla="*/ 0 h 6778171"/>
                <a:gd name="connsiteX2" fmla="*/ 6249631 w 6249631"/>
                <a:gd name="connsiteY2" fmla="*/ 6079239 h 6778171"/>
                <a:gd name="connsiteX3" fmla="*/ 6227147 w 6249631"/>
                <a:gd name="connsiteY3" fmla="*/ 6096052 h 6778171"/>
                <a:gd name="connsiteX4" fmla="*/ 3994041 w 6249631"/>
                <a:gd name="connsiteY4" fmla="*/ 6778171 h 6778171"/>
                <a:gd name="connsiteX5" fmla="*/ 0 w 6249631"/>
                <a:gd name="connsiteY5" fmla="*/ 2784130 h 6778171"/>
                <a:gd name="connsiteX6" fmla="*/ 912045 w 6249631"/>
                <a:gd name="connsiteY6" fmla="*/ 243549 h 67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9631" h="6778171">
                  <a:moveTo>
                    <a:pt x="1133398" y="0"/>
                  </a:moveTo>
                  <a:lnTo>
                    <a:pt x="6249631" y="0"/>
                  </a:lnTo>
                  <a:lnTo>
                    <a:pt x="6249631" y="6079239"/>
                  </a:lnTo>
                  <a:lnTo>
                    <a:pt x="6227147" y="6096052"/>
                  </a:lnTo>
                  <a:cubicBezTo>
                    <a:pt x="5589694" y="6526707"/>
                    <a:pt x="4821234" y="6778171"/>
                    <a:pt x="3994041" y="6778171"/>
                  </a:cubicBezTo>
                  <a:cubicBezTo>
                    <a:pt x="1788193" y="6778171"/>
                    <a:pt x="0" y="4989978"/>
                    <a:pt x="0" y="2784130"/>
                  </a:cubicBezTo>
                  <a:cubicBezTo>
                    <a:pt x="0" y="1819072"/>
                    <a:pt x="342272" y="933955"/>
                    <a:pt x="912045" y="243549"/>
                  </a:cubicBezTo>
                  <a:close/>
                </a:path>
              </a:pathLst>
            </a:custGeom>
            <a:solidFill>
              <a:srgbClr val="0A52E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 rtl="0"/>
              <a:endParaRPr lang="en-US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D9CB59-0278-69D3-1B88-9D97D9D9BF6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6596886" y="1"/>
              <a:ext cx="5595114" cy="6115087"/>
            </a:xfrm>
            <a:custGeom>
              <a:avLst/>
              <a:gdLst>
                <a:gd name="connsiteX0" fmla="*/ 1504880 w 5595114"/>
                <a:gd name="connsiteY0" fmla="*/ 0 h 6115087"/>
                <a:gd name="connsiteX1" fmla="*/ 5157035 w 5595114"/>
                <a:gd name="connsiteY1" fmla="*/ 0 h 6115087"/>
                <a:gd name="connsiteX2" fmla="*/ 5193327 w 5595114"/>
                <a:gd name="connsiteY2" fmla="*/ 22048 h 6115087"/>
                <a:gd name="connsiteX3" fmla="*/ 5449755 w 5595114"/>
                <a:gd name="connsiteY3" fmla="*/ 213802 h 6115087"/>
                <a:gd name="connsiteX4" fmla="*/ 5595114 w 5595114"/>
                <a:gd name="connsiteY4" fmla="*/ 345913 h 6115087"/>
                <a:gd name="connsiteX5" fmla="*/ 5595114 w 5595114"/>
                <a:gd name="connsiteY5" fmla="*/ 5222347 h 6115087"/>
                <a:gd name="connsiteX6" fmla="*/ 5449755 w 5595114"/>
                <a:gd name="connsiteY6" fmla="*/ 5354459 h 6115087"/>
                <a:gd name="connsiteX7" fmla="*/ 3330957 w 5595114"/>
                <a:gd name="connsiteY7" fmla="*/ 6115087 h 6115087"/>
                <a:gd name="connsiteX8" fmla="*/ 0 w 5595114"/>
                <a:gd name="connsiteY8" fmla="*/ 2784130 h 6115087"/>
                <a:gd name="connsiteX9" fmla="*/ 1468588 w 5595114"/>
                <a:gd name="connsiteY9" fmla="*/ 22048 h 6115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95114" h="6115087">
                  <a:moveTo>
                    <a:pt x="1504880" y="0"/>
                  </a:moveTo>
                  <a:lnTo>
                    <a:pt x="5157035" y="0"/>
                  </a:lnTo>
                  <a:lnTo>
                    <a:pt x="5193327" y="22048"/>
                  </a:lnTo>
                  <a:cubicBezTo>
                    <a:pt x="5281931" y="81908"/>
                    <a:pt x="5367500" y="145919"/>
                    <a:pt x="5449755" y="213802"/>
                  </a:cubicBezTo>
                  <a:lnTo>
                    <a:pt x="5595114" y="345913"/>
                  </a:lnTo>
                  <a:lnTo>
                    <a:pt x="5595114" y="5222347"/>
                  </a:lnTo>
                  <a:lnTo>
                    <a:pt x="5449755" y="5354459"/>
                  </a:lnTo>
                  <a:cubicBezTo>
                    <a:pt x="4873969" y="5829639"/>
                    <a:pt x="4135798" y="6115087"/>
                    <a:pt x="3330957" y="6115087"/>
                  </a:cubicBezTo>
                  <a:cubicBezTo>
                    <a:pt x="1491320" y="6115087"/>
                    <a:pt x="0" y="4623767"/>
                    <a:pt x="0" y="2784130"/>
                  </a:cubicBezTo>
                  <a:cubicBezTo>
                    <a:pt x="0" y="1634357"/>
                    <a:pt x="582547" y="620645"/>
                    <a:pt x="1468588" y="22048"/>
                  </a:cubicBezTo>
                  <a:close/>
                </a:path>
              </a:pathLst>
            </a:custGeom>
            <a:solidFill>
              <a:srgbClr val="0946C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en-US" dirty="0">
                <a:solidFill>
                  <a:srgbClr val="DADADA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EF44984-8F7A-8C11-AE43-676924BE717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7172234" y="28520"/>
              <a:ext cx="5019767" cy="5511220"/>
            </a:xfrm>
            <a:custGeom>
              <a:avLst/>
              <a:gdLst>
                <a:gd name="connsiteX0" fmla="*/ 2755610 w 5019767"/>
                <a:gd name="connsiteY0" fmla="*/ 0 h 5511220"/>
                <a:gd name="connsiteX1" fmla="*/ 4881972 w 5019767"/>
                <a:gd name="connsiteY1" fmla="*/ 1002786 h 5511220"/>
                <a:gd name="connsiteX2" fmla="*/ 5019767 w 5019767"/>
                <a:gd name="connsiteY2" fmla="*/ 1187056 h 5511220"/>
                <a:gd name="connsiteX3" fmla="*/ 5019767 w 5019767"/>
                <a:gd name="connsiteY3" fmla="*/ 4324164 h 5511220"/>
                <a:gd name="connsiteX4" fmla="*/ 4881972 w 5019767"/>
                <a:gd name="connsiteY4" fmla="*/ 4508434 h 5511220"/>
                <a:gd name="connsiteX5" fmla="*/ 2755610 w 5019767"/>
                <a:gd name="connsiteY5" fmla="*/ 5511220 h 5511220"/>
                <a:gd name="connsiteX6" fmla="*/ 0 w 5019767"/>
                <a:gd name="connsiteY6" fmla="*/ 2755610 h 5511220"/>
                <a:gd name="connsiteX7" fmla="*/ 2755610 w 5019767"/>
                <a:gd name="connsiteY7" fmla="*/ 0 h 5511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19767" h="5511220">
                  <a:moveTo>
                    <a:pt x="2755610" y="0"/>
                  </a:moveTo>
                  <a:cubicBezTo>
                    <a:pt x="3611668" y="0"/>
                    <a:pt x="4376553" y="390360"/>
                    <a:pt x="4881972" y="1002786"/>
                  </a:cubicBezTo>
                  <a:lnTo>
                    <a:pt x="5019767" y="1187056"/>
                  </a:lnTo>
                  <a:lnTo>
                    <a:pt x="5019767" y="4324164"/>
                  </a:lnTo>
                  <a:lnTo>
                    <a:pt x="4881972" y="4508434"/>
                  </a:lnTo>
                  <a:cubicBezTo>
                    <a:pt x="4376553" y="5120861"/>
                    <a:pt x="3611668" y="5511220"/>
                    <a:pt x="2755610" y="5511220"/>
                  </a:cubicBezTo>
                  <a:cubicBezTo>
                    <a:pt x="1233729" y="5511220"/>
                    <a:pt x="0" y="4277491"/>
                    <a:pt x="0" y="2755610"/>
                  </a:cubicBezTo>
                  <a:cubicBezTo>
                    <a:pt x="0" y="1233729"/>
                    <a:pt x="1233729" y="0"/>
                    <a:pt x="2755610" y="0"/>
                  </a:cubicBezTo>
                  <a:close/>
                </a:path>
              </a:pathLst>
            </a:custGeom>
            <a:solidFill>
              <a:srgbClr val="073BA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en-US" dirty="0"/>
            </a:p>
          </p:txBody>
        </p:sp>
      </p:grpSp>
      <p:sp>
        <p:nvSpPr>
          <p:cNvPr id="9" name="Copyright Line">
            <a:extLst>
              <a:ext uri="{FF2B5EF4-FFF2-40B4-BE49-F238E27FC236}">
                <a16:creationId xmlns:a16="http://schemas.microsoft.com/office/drawing/2014/main" id="{D2389545-B6D7-497B-37D4-C8C4C52F8A1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88558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10" name="Confidential disclaimer">
            <a:extLst>
              <a:ext uri="{FF2B5EF4-FFF2-40B4-BE49-F238E27FC236}">
                <a16:creationId xmlns:a16="http://schemas.microsoft.com/office/drawing/2014/main" id="{8C70182C-829B-A5E4-6775-1B5FA533227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0798636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30FBF3F0-9A58-D48C-BF4F-1611549E289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5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5" name="Picture Placeholder">
            <a:extLst>
              <a:ext uri="{FF2B5EF4-FFF2-40B4-BE49-F238E27FC236}">
                <a16:creationId xmlns:a16="http://schemas.microsoft.com/office/drawing/2014/main" id="{278BDEAF-4B5A-EDEC-5FBB-5BDC0B1311E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2" hasCustomPrompt="1"/>
          </p:nvPr>
        </p:nvSpPr>
        <p:spPr>
          <a:xfrm>
            <a:off x="7465671" y="321957"/>
            <a:ext cx="4726329" cy="4924346"/>
          </a:xfrm>
          <a:custGeom>
            <a:avLst/>
            <a:gdLst>
              <a:gd name="connsiteX0" fmla="*/ 2462173 w 4726329"/>
              <a:gd name="connsiteY0" fmla="*/ 0 h 4924346"/>
              <a:gd name="connsiteX1" fmla="*/ 4627175 w 4726329"/>
              <a:gd name="connsiteY1" fmla="*/ 1288555 h 4924346"/>
              <a:gd name="connsiteX2" fmla="*/ 4726329 w 4726329"/>
              <a:gd name="connsiteY2" fmla="*/ 1494386 h 4924346"/>
              <a:gd name="connsiteX3" fmla="*/ 4726329 w 4726329"/>
              <a:gd name="connsiteY3" fmla="*/ 3429960 h 4924346"/>
              <a:gd name="connsiteX4" fmla="*/ 4627175 w 4726329"/>
              <a:gd name="connsiteY4" fmla="*/ 3635791 h 4924346"/>
              <a:gd name="connsiteX5" fmla="*/ 2462173 w 4726329"/>
              <a:gd name="connsiteY5" fmla="*/ 4924346 h 4924346"/>
              <a:gd name="connsiteX6" fmla="*/ 0 w 4726329"/>
              <a:gd name="connsiteY6" fmla="*/ 2462173 h 4924346"/>
              <a:gd name="connsiteX7" fmla="*/ 2462173 w 4726329"/>
              <a:gd name="connsiteY7" fmla="*/ 0 h 4924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26329" h="4924346">
                <a:moveTo>
                  <a:pt x="2462173" y="0"/>
                </a:moveTo>
                <a:cubicBezTo>
                  <a:pt x="3397050" y="0"/>
                  <a:pt x="4210233" y="521034"/>
                  <a:pt x="4627175" y="1288555"/>
                </a:cubicBezTo>
                <a:lnTo>
                  <a:pt x="4726329" y="1494386"/>
                </a:lnTo>
                <a:lnTo>
                  <a:pt x="4726329" y="3429960"/>
                </a:lnTo>
                <a:lnTo>
                  <a:pt x="4627175" y="3635791"/>
                </a:lnTo>
                <a:cubicBezTo>
                  <a:pt x="4210233" y="4403313"/>
                  <a:pt x="3397050" y="4924346"/>
                  <a:pt x="2462173" y="4924346"/>
                </a:cubicBezTo>
                <a:cubicBezTo>
                  <a:pt x="1102352" y="4924346"/>
                  <a:pt x="0" y="3821994"/>
                  <a:pt x="0" y="2462173"/>
                </a:cubicBezTo>
                <a:cubicBezTo>
                  <a:pt x="0" y="1102352"/>
                  <a:pt x="1102352" y="0"/>
                  <a:pt x="2462173" y="0"/>
                </a:cubicBezTo>
                <a:close/>
              </a:path>
            </a:pathLst>
          </a:custGeom>
          <a:solidFill>
            <a:srgbClr val="777777"/>
          </a:solidFill>
        </p:spPr>
        <p:txBody>
          <a:bodyPr wrap="square" anchor="ctr" anchorCtr="1">
            <a:noAutofit/>
          </a:bodyPr>
          <a:lstStyle>
            <a:lvl1pPr marL="0" indent="0" algn="ctr" rtl="0"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picture icon to add photo</a:t>
            </a:r>
          </a:p>
        </p:txBody>
      </p:sp>
      <p:sp>
        <p:nvSpPr>
          <p:cNvPr id="11" name="Date Placeholder">
            <a:extLst>
              <a:ext uri="{FF2B5EF4-FFF2-40B4-BE49-F238E27FC236}">
                <a16:creationId xmlns:a16="http://schemas.microsoft.com/office/drawing/2014/main" id="{56FDEAC7-8736-5846-42B8-66DC00FA3B9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>
          <a:xfrm>
            <a:off x="292100" y="5036705"/>
            <a:ext cx="1744664" cy="282957"/>
          </a:xfrm>
        </p:spPr>
        <p:txBody>
          <a:bodyPr/>
          <a:lstStyle>
            <a:lvl1pPr rtl="0">
              <a:defRPr sz="1200">
                <a:solidFill>
                  <a:srgbClr val="FFFFFF"/>
                </a:solidFill>
              </a:defRPr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3" name="Title/Dept Placeholder">
            <a:extLst>
              <a:ext uri="{FF2B5EF4-FFF2-40B4-BE49-F238E27FC236}">
                <a16:creationId xmlns:a16="http://schemas.microsoft.com/office/drawing/2014/main" id="{F49547DD-E825-E7A3-C48A-64AA78C199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 hasCustomPrompt="1"/>
          </p:nvPr>
        </p:nvSpPr>
        <p:spPr>
          <a:xfrm>
            <a:off x="292100" y="4560602"/>
            <a:ext cx="6689728" cy="344385"/>
          </a:xfrm>
        </p:spPr>
        <p:txBody>
          <a:bodyPr t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/Department</a:t>
            </a:r>
          </a:p>
        </p:txBody>
      </p:sp>
      <p:sp>
        <p:nvSpPr>
          <p:cNvPr id="2" name="Presenter Name Placeholder">
            <a:extLst>
              <a:ext uri="{FF2B5EF4-FFF2-40B4-BE49-F238E27FC236}">
                <a16:creationId xmlns:a16="http://schemas.microsoft.com/office/drawing/2014/main" id="{5A598B2A-BB91-C356-7BCC-18D04DA85A8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292100" y="4192468"/>
            <a:ext cx="6689728" cy="344384"/>
          </a:xfrm>
        </p:spPr>
        <p:txBody>
          <a:bodyPr tIns="0" bIns="0" anchor="b" anchorCtr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8" name="Subtitle Placeholder">
            <a:extLst>
              <a:ext uri="{FF2B5EF4-FFF2-40B4-BE49-F238E27FC236}">
                <a16:creationId xmlns:a16="http://schemas.microsoft.com/office/drawing/2014/main" id="{23B6A8FC-C3C4-F7DA-BF00-D56866D5808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292100" y="3114710"/>
            <a:ext cx="6689729" cy="837882"/>
          </a:xfr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Title Placeholder">
            <a:extLst>
              <a:ext uri="{FF2B5EF4-FFF2-40B4-BE49-F238E27FC236}">
                <a16:creationId xmlns:a16="http://schemas.microsoft.com/office/drawing/2014/main" id="{615225DC-38B1-15E3-05E6-88F5A6B976C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292100" y="1214225"/>
            <a:ext cx="6689729" cy="1828193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>
              <a:defRPr sz="4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Insert your presentation title here maximum of three lines</a:t>
            </a:r>
          </a:p>
        </p:txBody>
      </p:sp>
      <p:pic>
        <p:nvPicPr>
          <p:cNvPr id="7" name="NielsenIQ GFK lockup" hidden="1">
            <a:extLst>
              <a:ext uri="{FF2B5EF4-FFF2-40B4-BE49-F238E27FC236}">
                <a16:creationId xmlns:a16="http://schemas.microsoft.com/office/drawing/2014/main" id="{38C64FBC-CEA2-AB8D-1C98-40BE4309F854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86122" y="5539740"/>
            <a:ext cx="3377876" cy="753596"/>
          </a:xfrm>
          <a:prstGeom prst="rect">
            <a:avLst/>
          </a:prstGeom>
        </p:spPr>
      </p:pic>
      <p:pic>
        <p:nvPicPr>
          <p:cNvPr id="14" name="NielsenIQ logo+wordmark" hidden="1">
            <a:extLst>
              <a:ext uri="{FF2B5EF4-FFF2-40B4-BE49-F238E27FC236}">
                <a16:creationId xmlns:a16="http://schemas.microsoft.com/office/drawing/2014/main" id="{4592FCA5-867A-BB8D-E995-7A4C9EC3E96A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8559" y="5563212"/>
            <a:ext cx="2155408" cy="743616"/>
          </a:xfrm>
          <a:prstGeom prst="rect">
            <a:avLst/>
          </a:prstGeom>
        </p:spPr>
      </p:pic>
      <p:sp>
        <p:nvSpPr>
          <p:cNvPr id="24" name="Nielsen wordmark">
            <a:extLst>
              <a:ext uri="{FF2B5EF4-FFF2-40B4-BE49-F238E27FC236}">
                <a16:creationId xmlns:a16="http://schemas.microsoft.com/office/drawing/2014/main" id="{8E329D7C-9D9C-5C6C-56E6-95CB0519B11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295274" y="5686380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tx2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166214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Photo Circl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FC1332C-09C9-6750-D3BA-2B73A37185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5263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C1332C-09C9-6750-D3BA-2B73A37185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Static Light Bkgd">
            <a:extLst>
              <a:ext uri="{FF2B5EF4-FFF2-40B4-BE49-F238E27FC236}">
                <a16:creationId xmlns:a16="http://schemas.microsoft.com/office/drawing/2014/main" id="{EE705342-7994-AFF3-15FD-F6FDEC9AE6B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60A4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grpSp>
        <p:nvGrpSpPr>
          <p:cNvPr id="4" name="Photo Accent Circles">
            <a:extLst>
              <a:ext uri="{FF2B5EF4-FFF2-40B4-BE49-F238E27FC236}">
                <a16:creationId xmlns:a16="http://schemas.microsoft.com/office/drawing/2014/main" id="{142AC587-6F39-6154-A37A-868A63F4F005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5942370" y="1"/>
            <a:ext cx="6249631" cy="6778171"/>
            <a:chOff x="5942370" y="1"/>
            <a:chExt cx="6249631" cy="6778171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41DBC157-DD06-141E-B188-1EB8D24163C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5942370" y="1"/>
              <a:ext cx="6249631" cy="6778171"/>
            </a:xfrm>
            <a:custGeom>
              <a:avLst/>
              <a:gdLst>
                <a:gd name="connsiteX0" fmla="*/ 1133398 w 6249631"/>
                <a:gd name="connsiteY0" fmla="*/ 0 h 6778171"/>
                <a:gd name="connsiteX1" fmla="*/ 6249631 w 6249631"/>
                <a:gd name="connsiteY1" fmla="*/ 0 h 6778171"/>
                <a:gd name="connsiteX2" fmla="*/ 6249631 w 6249631"/>
                <a:gd name="connsiteY2" fmla="*/ 6079239 h 6778171"/>
                <a:gd name="connsiteX3" fmla="*/ 6227147 w 6249631"/>
                <a:gd name="connsiteY3" fmla="*/ 6096052 h 6778171"/>
                <a:gd name="connsiteX4" fmla="*/ 3994041 w 6249631"/>
                <a:gd name="connsiteY4" fmla="*/ 6778171 h 6778171"/>
                <a:gd name="connsiteX5" fmla="*/ 0 w 6249631"/>
                <a:gd name="connsiteY5" fmla="*/ 2784130 h 6778171"/>
                <a:gd name="connsiteX6" fmla="*/ 912045 w 6249631"/>
                <a:gd name="connsiteY6" fmla="*/ 243549 h 67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9631" h="6778171">
                  <a:moveTo>
                    <a:pt x="1133398" y="0"/>
                  </a:moveTo>
                  <a:lnTo>
                    <a:pt x="6249631" y="0"/>
                  </a:lnTo>
                  <a:lnTo>
                    <a:pt x="6249631" y="6079239"/>
                  </a:lnTo>
                  <a:lnTo>
                    <a:pt x="6227147" y="6096052"/>
                  </a:lnTo>
                  <a:cubicBezTo>
                    <a:pt x="5589694" y="6526707"/>
                    <a:pt x="4821234" y="6778171"/>
                    <a:pt x="3994041" y="6778171"/>
                  </a:cubicBezTo>
                  <a:cubicBezTo>
                    <a:pt x="1788193" y="6778171"/>
                    <a:pt x="0" y="4989978"/>
                    <a:pt x="0" y="2784130"/>
                  </a:cubicBezTo>
                  <a:cubicBezTo>
                    <a:pt x="0" y="1819072"/>
                    <a:pt x="342272" y="933955"/>
                    <a:pt x="912045" y="243549"/>
                  </a:cubicBezTo>
                  <a:close/>
                </a:path>
              </a:pathLst>
            </a:custGeom>
            <a:solidFill>
              <a:srgbClr val="06318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 rtl="0"/>
              <a:endParaRPr lang="en-US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D9CB59-0278-69D3-1B88-9D97D9D9BF6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6596886" y="1"/>
              <a:ext cx="5595114" cy="6115087"/>
            </a:xfrm>
            <a:custGeom>
              <a:avLst/>
              <a:gdLst>
                <a:gd name="connsiteX0" fmla="*/ 1504880 w 5595114"/>
                <a:gd name="connsiteY0" fmla="*/ 0 h 6115087"/>
                <a:gd name="connsiteX1" fmla="*/ 5157035 w 5595114"/>
                <a:gd name="connsiteY1" fmla="*/ 0 h 6115087"/>
                <a:gd name="connsiteX2" fmla="*/ 5193327 w 5595114"/>
                <a:gd name="connsiteY2" fmla="*/ 22048 h 6115087"/>
                <a:gd name="connsiteX3" fmla="*/ 5449755 w 5595114"/>
                <a:gd name="connsiteY3" fmla="*/ 213802 h 6115087"/>
                <a:gd name="connsiteX4" fmla="*/ 5595114 w 5595114"/>
                <a:gd name="connsiteY4" fmla="*/ 345913 h 6115087"/>
                <a:gd name="connsiteX5" fmla="*/ 5595114 w 5595114"/>
                <a:gd name="connsiteY5" fmla="*/ 5222347 h 6115087"/>
                <a:gd name="connsiteX6" fmla="*/ 5449755 w 5595114"/>
                <a:gd name="connsiteY6" fmla="*/ 5354459 h 6115087"/>
                <a:gd name="connsiteX7" fmla="*/ 3330957 w 5595114"/>
                <a:gd name="connsiteY7" fmla="*/ 6115087 h 6115087"/>
                <a:gd name="connsiteX8" fmla="*/ 0 w 5595114"/>
                <a:gd name="connsiteY8" fmla="*/ 2784130 h 6115087"/>
                <a:gd name="connsiteX9" fmla="*/ 1468588 w 5595114"/>
                <a:gd name="connsiteY9" fmla="*/ 22048 h 6115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95114" h="6115087">
                  <a:moveTo>
                    <a:pt x="1504880" y="0"/>
                  </a:moveTo>
                  <a:lnTo>
                    <a:pt x="5157035" y="0"/>
                  </a:lnTo>
                  <a:lnTo>
                    <a:pt x="5193327" y="22048"/>
                  </a:lnTo>
                  <a:cubicBezTo>
                    <a:pt x="5281931" y="81908"/>
                    <a:pt x="5367500" y="145919"/>
                    <a:pt x="5449755" y="213802"/>
                  </a:cubicBezTo>
                  <a:lnTo>
                    <a:pt x="5595114" y="345913"/>
                  </a:lnTo>
                  <a:lnTo>
                    <a:pt x="5595114" y="5222347"/>
                  </a:lnTo>
                  <a:lnTo>
                    <a:pt x="5449755" y="5354459"/>
                  </a:lnTo>
                  <a:cubicBezTo>
                    <a:pt x="4873969" y="5829639"/>
                    <a:pt x="4135798" y="6115087"/>
                    <a:pt x="3330957" y="6115087"/>
                  </a:cubicBezTo>
                  <a:cubicBezTo>
                    <a:pt x="1491320" y="6115087"/>
                    <a:pt x="0" y="4623767"/>
                    <a:pt x="0" y="2784130"/>
                  </a:cubicBezTo>
                  <a:cubicBezTo>
                    <a:pt x="0" y="1634357"/>
                    <a:pt x="582547" y="620645"/>
                    <a:pt x="1468588" y="22048"/>
                  </a:cubicBezTo>
                  <a:close/>
                </a:path>
              </a:pathLst>
            </a:custGeom>
            <a:solidFill>
              <a:srgbClr val="0949D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en-US" dirty="0">
                <a:solidFill>
                  <a:srgbClr val="DADADA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EF44984-8F7A-8C11-AE43-676924BE717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7172234" y="28520"/>
              <a:ext cx="5019767" cy="5511220"/>
            </a:xfrm>
            <a:custGeom>
              <a:avLst/>
              <a:gdLst>
                <a:gd name="connsiteX0" fmla="*/ 2755610 w 5019767"/>
                <a:gd name="connsiteY0" fmla="*/ 0 h 5511220"/>
                <a:gd name="connsiteX1" fmla="*/ 4881972 w 5019767"/>
                <a:gd name="connsiteY1" fmla="*/ 1002786 h 5511220"/>
                <a:gd name="connsiteX2" fmla="*/ 5019767 w 5019767"/>
                <a:gd name="connsiteY2" fmla="*/ 1187056 h 5511220"/>
                <a:gd name="connsiteX3" fmla="*/ 5019767 w 5019767"/>
                <a:gd name="connsiteY3" fmla="*/ 4324164 h 5511220"/>
                <a:gd name="connsiteX4" fmla="*/ 4881972 w 5019767"/>
                <a:gd name="connsiteY4" fmla="*/ 4508434 h 5511220"/>
                <a:gd name="connsiteX5" fmla="*/ 2755610 w 5019767"/>
                <a:gd name="connsiteY5" fmla="*/ 5511220 h 5511220"/>
                <a:gd name="connsiteX6" fmla="*/ 0 w 5019767"/>
                <a:gd name="connsiteY6" fmla="*/ 2755610 h 5511220"/>
                <a:gd name="connsiteX7" fmla="*/ 2755610 w 5019767"/>
                <a:gd name="connsiteY7" fmla="*/ 0 h 5511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19767" h="5511220">
                  <a:moveTo>
                    <a:pt x="2755610" y="0"/>
                  </a:moveTo>
                  <a:cubicBezTo>
                    <a:pt x="3611668" y="0"/>
                    <a:pt x="4376553" y="390360"/>
                    <a:pt x="4881972" y="1002786"/>
                  </a:cubicBezTo>
                  <a:lnTo>
                    <a:pt x="5019767" y="1187056"/>
                  </a:lnTo>
                  <a:lnTo>
                    <a:pt x="5019767" y="4324164"/>
                  </a:lnTo>
                  <a:lnTo>
                    <a:pt x="4881972" y="4508434"/>
                  </a:lnTo>
                  <a:cubicBezTo>
                    <a:pt x="4376553" y="5120861"/>
                    <a:pt x="3611668" y="5511220"/>
                    <a:pt x="2755610" y="5511220"/>
                  </a:cubicBezTo>
                  <a:cubicBezTo>
                    <a:pt x="1233729" y="5511220"/>
                    <a:pt x="0" y="4277491"/>
                    <a:pt x="0" y="2755610"/>
                  </a:cubicBezTo>
                  <a:cubicBezTo>
                    <a:pt x="0" y="1233729"/>
                    <a:pt x="1233729" y="0"/>
                    <a:pt x="275561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en-US" dirty="0"/>
            </a:p>
          </p:txBody>
        </p:sp>
      </p:grpSp>
      <p:sp>
        <p:nvSpPr>
          <p:cNvPr id="9" name="Copyright Line">
            <a:extLst>
              <a:ext uri="{FF2B5EF4-FFF2-40B4-BE49-F238E27FC236}">
                <a16:creationId xmlns:a16="http://schemas.microsoft.com/office/drawing/2014/main" id="{D2389545-B6D7-497B-37D4-C8C4C52F8A1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88558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7" name="Confidential disclaimer">
            <a:extLst>
              <a:ext uri="{FF2B5EF4-FFF2-40B4-BE49-F238E27FC236}">
                <a16:creationId xmlns:a16="http://schemas.microsoft.com/office/drawing/2014/main" id="{7F366BE8-8DFF-9E64-8372-4E4C126B56A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0798636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8E33C4BA-B3E3-D8C7-C496-E55C90D029E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3"/>
          </p:nvPr>
        </p:nvSpPr>
        <p:spPr>
          <a:xfrm>
            <a:off x="3251200" y="6485399"/>
            <a:ext cx="3716336" cy="282957"/>
          </a:xfrm>
          <a:solidFill>
            <a:schemeClr val="tx2"/>
          </a:solidFill>
        </p:spPr>
        <p:txBody>
          <a:bodyPr/>
          <a:lstStyle>
            <a:lvl1pPr algn="l" rtl="0"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5" name="Picture Placeholder">
            <a:extLst>
              <a:ext uri="{FF2B5EF4-FFF2-40B4-BE49-F238E27FC236}">
                <a16:creationId xmlns:a16="http://schemas.microsoft.com/office/drawing/2014/main" id="{278BDEAF-4B5A-EDEC-5FBB-5BDC0B1311E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2" hasCustomPrompt="1"/>
          </p:nvPr>
        </p:nvSpPr>
        <p:spPr>
          <a:xfrm>
            <a:off x="7465671" y="321957"/>
            <a:ext cx="4726329" cy="4924346"/>
          </a:xfrm>
          <a:custGeom>
            <a:avLst/>
            <a:gdLst>
              <a:gd name="connsiteX0" fmla="*/ 2462173 w 4726329"/>
              <a:gd name="connsiteY0" fmla="*/ 0 h 4924346"/>
              <a:gd name="connsiteX1" fmla="*/ 4627175 w 4726329"/>
              <a:gd name="connsiteY1" fmla="*/ 1288555 h 4924346"/>
              <a:gd name="connsiteX2" fmla="*/ 4726329 w 4726329"/>
              <a:gd name="connsiteY2" fmla="*/ 1494386 h 4924346"/>
              <a:gd name="connsiteX3" fmla="*/ 4726329 w 4726329"/>
              <a:gd name="connsiteY3" fmla="*/ 3429960 h 4924346"/>
              <a:gd name="connsiteX4" fmla="*/ 4627175 w 4726329"/>
              <a:gd name="connsiteY4" fmla="*/ 3635791 h 4924346"/>
              <a:gd name="connsiteX5" fmla="*/ 2462173 w 4726329"/>
              <a:gd name="connsiteY5" fmla="*/ 4924346 h 4924346"/>
              <a:gd name="connsiteX6" fmla="*/ 0 w 4726329"/>
              <a:gd name="connsiteY6" fmla="*/ 2462173 h 4924346"/>
              <a:gd name="connsiteX7" fmla="*/ 2462173 w 4726329"/>
              <a:gd name="connsiteY7" fmla="*/ 0 h 4924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26329" h="4924346">
                <a:moveTo>
                  <a:pt x="2462173" y="0"/>
                </a:moveTo>
                <a:cubicBezTo>
                  <a:pt x="3397050" y="0"/>
                  <a:pt x="4210233" y="521034"/>
                  <a:pt x="4627175" y="1288555"/>
                </a:cubicBezTo>
                <a:lnTo>
                  <a:pt x="4726329" y="1494386"/>
                </a:lnTo>
                <a:lnTo>
                  <a:pt x="4726329" y="3429960"/>
                </a:lnTo>
                <a:lnTo>
                  <a:pt x="4627175" y="3635791"/>
                </a:lnTo>
                <a:cubicBezTo>
                  <a:pt x="4210233" y="4403313"/>
                  <a:pt x="3397050" y="4924346"/>
                  <a:pt x="2462173" y="4924346"/>
                </a:cubicBezTo>
                <a:cubicBezTo>
                  <a:pt x="1102352" y="4924346"/>
                  <a:pt x="0" y="3821994"/>
                  <a:pt x="0" y="2462173"/>
                </a:cubicBezTo>
                <a:cubicBezTo>
                  <a:pt x="0" y="1102352"/>
                  <a:pt x="1102352" y="0"/>
                  <a:pt x="2462173" y="0"/>
                </a:cubicBezTo>
                <a:close/>
              </a:path>
            </a:pathLst>
          </a:custGeom>
          <a:solidFill>
            <a:srgbClr val="777777"/>
          </a:solidFill>
        </p:spPr>
        <p:txBody>
          <a:bodyPr wrap="square" anchor="ctr" anchorCtr="1">
            <a:noAutofit/>
          </a:bodyPr>
          <a:lstStyle>
            <a:lvl1pPr marL="0" indent="0" algn="ctr" rtl="0"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picture icon to add photo</a:t>
            </a:r>
          </a:p>
        </p:txBody>
      </p:sp>
      <p:sp>
        <p:nvSpPr>
          <p:cNvPr id="11" name="Date Placeholder">
            <a:extLst>
              <a:ext uri="{FF2B5EF4-FFF2-40B4-BE49-F238E27FC236}">
                <a16:creationId xmlns:a16="http://schemas.microsoft.com/office/drawing/2014/main" id="{56FDEAC7-8736-5846-42B8-66DC00FA3B9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>
          <a:xfrm>
            <a:off x="292100" y="5036705"/>
            <a:ext cx="1744664" cy="282957"/>
          </a:xfrm>
        </p:spPr>
        <p:txBody>
          <a:bodyPr/>
          <a:lstStyle>
            <a:lvl1pPr rtl="0">
              <a:defRPr sz="1200">
                <a:solidFill>
                  <a:srgbClr val="FFFFFF"/>
                </a:solidFill>
              </a:defRPr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3" name="Title/Dept Placeholder">
            <a:extLst>
              <a:ext uri="{FF2B5EF4-FFF2-40B4-BE49-F238E27FC236}">
                <a16:creationId xmlns:a16="http://schemas.microsoft.com/office/drawing/2014/main" id="{F49547DD-E825-E7A3-C48A-64AA78C199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 hasCustomPrompt="1"/>
          </p:nvPr>
        </p:nvSpPr>
        <p:spPr>
          <a:xfrm>
            <a:off x="292100" y="4560602"/>
            <a:ext cx="6689728" cy="344385"/>
          </a:xfrm>
        </p:spPr>
        <p:txBody>
          <a:bodyPr t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/Department</a:t>
            </a:r>
          </a:p>
        </p:txBody>
      </p:sp>
      <p:sp>
        <p:nvSpPr>
          <p:cNvPr id="2" name="Presenter Name Placeholder">
            <a:extLst>
              <a:ext uri="{FF2B5EF4-FFF2-40B4-BE49-F238E27FC236}">
                <a16:creationId xmlns:a16="http://schemas.microsoft.com/office/drawing/2014/main" id="{5A598B2A-BB91-C356-7BCC-18D04DA85A8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292100" y="4192468"/>
            <a:ext cx="6689728" cy="344384"/>
          </a:xfrm>
        </p:spPr>
        <p:txBody>
          <a:bodyPr tIns="0" bIns="0" anchor="b" anchorCtr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8" name="Subtitle Placeholder">
            <a:extLst>
              <a:ext uri="{FF2B5EF4-FFF2-40B4-BE49-F238E27FC236}">
                <a16:creationId xmlns:a16="http://schemas.microsoft.com/office/drawing/2014/main" id="{23B6A8FC-C3C4-F7DA-BF00-D56866D5808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292100" y="3114710"/>
            <a:ext cx="6689729" cy="837882"/>
          </a:xfr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Title Placeholder">
            <a:extLst>
              <a:ext uri="{FF2B5EF4-FFF2-40B4-BE49-F238E27FC236}">
                <a16:creationId xmlns:a16="http://schemas.microsoft.com/office/drawing/2014/main" id="{615225DC-38B1-15E3-05E6-88F5A6B976C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292100" y="654818"/>
            <a:ext cx="6689729" cy="238760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>
              <a:defRPr sz="4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Insert your presentation title here maximum of three lines</a:t>
            </a:r>
          </a:p>
        </p:txBody>
      </p:sp>
      <p:pic>
        <p:nvPicPr>
          <p:cNvPr id="10" name="NielsenIQ GFK lockup" hidden="1">
            <a:extLst>
              <a:ext uri="{FF2B5EF4-FFF2-40B4-BE49-F238E27FC236}">
                <a16:creationId xmlns:a16="http://schemas.microsoft.com/office/drawing/2014/main" id="{5AD45FDA-A06C-6A25-4D77-005D36A8D623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86122" y="5539740"/>
            <a:ext cx="3377876" cy="753596"/>
          </a:xfrm>
          <a:prstGeom prst="rect">
            <a:avLst/>
          </a:prstGeom>
        </p:spPr>
      </p:pic>
      <p:pic>
        <p:nvPicPr>
          <p:cNvPr id="14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4592FCA5-867A-BB8D-E995-7A4C9EC3E96A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558" y="5563212"/>
            <a:ext cx="2155411" cy="743616"/>
          </a:xfrm>
          <a:prstGeom prst="rect">
            <a:avLst/>
          </a:prstGeom>
        </p:spPr>
      </p:pic>
      <p:sp>
        <p:nvSpPr>
          <p:cNvPr id="22" name="Nielsen wordmark">
            <a:extLst>
              <a:ext uri="{FF2B5EF4-FFF2-40B4-BE49-F238E27FC236}">
                <a16:creationId xmlns:a16="http://schemas.microsoft.com/office/drawing/2014/main" id="{EA927BD7-665B-50AF-0BB4-89B1734188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295274" y="5686380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accent1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60599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|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6FA75A10-B5C5-2C19-D99C-06186A7CEE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  <a:solidFill>
            <a:schemeClr val="tx1"/>
          </a:solidFill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3F4E37A1-342D-625C-ED9A-8001F0274075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749A8532-D44A-2847-6AB1-9CDFF5E2EDFD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C517AE82-B86C-F89F-8A9A-3FE9D4E3AA30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56DC10E0-861F-ECC0-AA5E-212888A80BB4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715F60F8-369B-0122-D63C-8456B383FE6E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399E6C6-A33C-1BB4-957A-ACC78B3A8609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FA6F5E62-C0C3-3E9B-C232-4859A49A2FF4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BAFF9E74-16D3-27DD-5698-0DD14FA4A1CD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5C926F10-0B4E-EB5E-C17E-C62012D5A958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8A7C86C1-6FC3-4129-DBE7-EA08C86F255F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7DE63222-E7B9-02A9-E577-0C8AE4054429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E626C0D6-809F-4C13-DA13-613A4ECDC87C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A3F99D6A-E179-4BED-D2DE-633D903F13D3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57C455BA-3BE0-5F03-7FCE-7F12C992671C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0D04BD46-A552-F50C-0523-DB8E4AC3A9AF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87BB209F-9504-9B60-281A-A39F85ECE60C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E06C6D85-D3E8-0B13-0BCC-28E8AFB93962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96E5E0FB-0BCB-4CFA-3CC5-9EC1246B2F1C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9252E1D7-C58F-99CE-2EFE-0298BD4E7C9C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A0FD7F40-59EA-A32B-8121-EABF5372186F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77433BE2-5179-F51C-424F-ECFBB05C61F3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0" name="Rechteck 269">
              <a:extLst>
                <a:ext uri="{FF2B5EF4-FFF2-40B4-BE49-F238E27FC236}">
                  <a16:creationId xmlns:a16="http://schemas.microsoft.com/office/drawing/2014/main" id="{006417C2-C668-21B2-444E-91B13BD3F384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1" name="Rechteck 270">
              <a:extLst>
                <a:ext uri="{FF2B5EF4-FFF2-40B4-BE49-F238E27FC236}">
                  <a16:creationId xmlns:a16="http://schemas.microsoft.com/office/drawing/2014/main" id="{CC66ACB9-1578-BF6A-552F-C14EA4BA9E74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145B6BB8-1B29-434E-AFAE-2D919CEBBE2F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2A583CE8-D438-ECED-2492-B827A4823953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1CCB26E9-6A04-4F1E-CB2A-C267FD6502D9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900D947D-0A28-B1D3-8BBB-BF176FDB0890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8438F03C-48DC-1448-C2F6-0142010A6BEF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E786201D-FEA0-0B14-4F9E-147E543794C8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84808518-DB74-C478-AA53-9BA3278F3C24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ED92EE28-778E-8C1B-F576-0E4EC0D29778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27F1B84E-2E35-70AD-111A-0EAEDDE5169C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9DDAB6BF-3AD4-604E-91E3-7379EF228518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AA1482A0-E5C6-88DC-E5FE-4D42B4D045E2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58A55EEB-4FF2-1B05-78D0-91622A21D039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EE4085B3-2645-D3D2-2E75-D9D16EEA2406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B30C2579-72CF-09F2-21DD-AA23B4AA5FE6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12AA378F-294A-79C3-3968-301CDCD16E2E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FA75ECD2-8DB6-58D8-78FB-4A470839271D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541419C2-F701-8483-3AD2-EBA1A5C18904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901C6C76-E308-0B44-8CF7-37D79D3C3856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4A68830F-6486-F2DF-C1F8-0F64F511DEAB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3AC6C713-1AA5-82B5-04F5-80CE807813D3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2520B02B-4792-6747-5DC2-117D5399D9CA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3F3E4988-F955-0FED-81F5-4F0BFFC3D846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92CD9605-524B-2628-9C38-29C5C243C4D1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C30152BC-A479-49B3-9E86-0E849AEDBC67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3CBD33B1-1EE8-8C7D-A249-818D5196FE6C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12885FFE-541F-08F7-9CD7-C52C9A3BC763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7367F317-3BC4-7517-3F5A-859D6E762B3B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A9DFF3AE-AC39-03C8-E353-4353D8EF5D73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0C9A045D-5256-1003-4144-A190B786F018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8F07F450-C945-B533-BB42-76367C2EE172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D85F99C1-FF1D-9BDD-8CA4-D9BD680E063A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55288B3C-C8D9-215E-CF77-34E5F2D5C61F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4218FFDD-F157-6B93-7FC4-FEC42BD8F7AA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E04837E2-CA60-AFCA-1688-CBBEE1516593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99B9E870-8343-07B1-48B0-267D2ECB89BE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96243A96-F6E6-91DE-9FE2-96C7FFD98B5A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12F4E61D-F3A7-EE9A-A6A3-6F9508835864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564BB9E1-7E56-79D9-D10E-52B2E37ECE5B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B292DB62-5B17-9D92-7C69-BCFCE71CD4C0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943C9315-20AB-DB3A-C094-0D4E6C5B8CFE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8E8C71F8-0495-9450-30C6-25CF3F014DC2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5A31B0AB-FDF2-D7F2-CE63-0E78DEE9468A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0FE3D638-6007-6734-EAC5-201EED2CFE96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98CC5893-5EAB-7945-0987-7E9FABD9F03B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F3973EFB-0463-BCD7-DA80-7DC7ECE1718C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3DB3CE6E-7CF3-A00E-C64A-2D76DF82C372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7CE4C48D-50C2-C249-8858-B7C5B85365A2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BDDA81F3-1380-F6B4-0CA3-3CC4DFA6FD84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F080295B-1B7E-FD58-1408-D8B75BD300DB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787D0728-68D1-7DFC-076E-FF7243C9BAF7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B867C6AE-0ED1-3C74-ADCA-7018779F3739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9C6098C2-C6C3-2DB2-7826-9BA56156C88E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64A0220A-0C47-B494-27E0-57DCE7956D53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EA6E0C18-E161-4581-9097-E1AE156FA331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FFE954CC-2488-F31B-260C-242CEB6C2862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334DD03D-E232-BCD2-C3BB-38AB5556FC0B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587632B1-A9AC-9261-84C3-57330FAB8A27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B0C263C8-233F-F1E2-DB76-FE98E165E9C1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7853E444-7D9A-079D-BE9F-586B48DE4724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7BAB2D16-02B1-DD90-4194-D1B25CEF2E92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AE76B864-D1AF-F983-6F5D-CD1A2514E967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86CC73C8-0092-6635-1009-797336FC3DF3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A43C5FDE-8450-80DA-DD25-3DE0F66B177E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E88A231C-36D3-BD7E-F53D-5B1A5AE58599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FD4B4B40-1D95-9103-C651-F13873D9B39F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1152E34A-1812-069E-9496-9CE6E20A3A80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269710A4-737C-ECB2-F3B5-D500CE17D3D6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966F5912-7834-2DE0-B444-7902F3526A1D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F17AEB2C-91E4-2D44-8952-BB3BD44266B1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1609C2B1-5326-3AF9-62AD-DEE121204817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B4CF2DF7-27C3-E119-23D7-2526B533D42E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725BA470-95D0-DE3B-B295-94619508BB53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7D47C83C-FC70-D41C-C15E-33EC17ED6831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9A0860C9-D8DA-ADBD-B235-42EA3B16D12B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0B9B195D-DD69-9F8E-5364-7CC354C9FAD3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E07E3D20-E0E3-40E4-BE85-4DBFEBC3FB2E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3166A76D-4EC7-EB8F-901F-E2F02E2A1F35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9C63A7C7-F640-ADA1-4325-6A460A25C57C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383C2BF5-9B07-D5F5-A44B-FFBCA8563513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84855EA7-A6CC-72F8-A046-B10E3532DDA1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2C0FEA31-5F71-B5CE-CF61-6525A82D7192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9CB4D90C-EC1F-B6CF-8A93-F9D014F38C23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4A5AC909-7760-5973-6F99-292A0BD78010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67420A9C-4F5D-8731-DA9A-DFCCB13FE421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A8C0D816-6D52-41A3-C59C-CA5D34F4A540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D25B6C3C-494D-84DF-AB7E-D9FF100B43CA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F8E2D8FC-051D-DA7E-1DE5-DCCA4B569E10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2367619A-9C42-2C45-0561-4FA05CE7EEE8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709217D7-35EF-F3FD-081C-937F06AB5815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38D55324-C75D-8E9C-3FA4-C9ED906F5917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FA412A2D-0977-FE39-B812-9F7362ADE5EF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CE0B4EA3-1D75-CB3B-B2C2-B72E29EBA309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1D04A2C4-4AB0-527D-4801-14EBF9885604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0" name="Rechteck 389">
              <a:extLst>
                <a:ext uri="{FF2B5EF4-FFF2-40B4-BE49-F238E27FC236}">
                  <a16:creationId xmlns:a16="http://schemas.microsoft.com/office/drawing/2014/main" id="{71696081-F9FE-07D6-5E5E-23408F838EE7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1" name="Rechteck 390">
              <a:extLst>
                <a:ext uri="{FF2B5EF4-FFF2-40B4-BE49-F238E27FC236}">
                  <a16:creationId xmlns:a16="http://schemas.microsoft.com/office/drawing/2014/main" id="{427959F4-E020-DCD5-279B-E9CE52FEA1A2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2" name="Rechteck 391">
              <a:extLst>
                <a:ext uri="{FF2B5EF4-FFF2-40B4-BE49-F238E27FC236}">
                  <a16:creationId xmlns:a16="http://schemas.microsoft.com/office/drawing/2014/main" id="{56DCE34C-DB57-2278-7514-8F8F92949078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3" name="Rechteck 392">
              <a:extLst>
                <a:ext uri="{FF2B5EF4-FFF2-40B4-BE49-F238E27FC236}">
                  <a16:creationId xmlns:a16="http://schemas.microsoft.com/office/drawing/2014/main" id="{C3410C1E-7C9A-0073-F4B5-033FBF7C0D57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4" name="Rechteck 393">
              <a:extLst>
                <a:ext uri="{FF2B5EF4-FFF2-40B4-BE49-F238E27FC236}">
                  <a16:creationId xmlns:a16="http://schemas.microsoft.com/office/drawing/2014/main" id="{2FED16A6-4BCD-E1AE-CDBA-660A2FAAE343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5" name="Rechteck 394">
              <a:extLst>
                <a:ext uri="{FF2B5EF4-FFF2-40B4-BE49-F238E27FC236}">
                  <a16:creationId xmlns:a16="http://schemas.microsoft.com/office/drawing/2014/main" id="{6F5CC1A5-96A3-578E-99F0-31156766BAB7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6" name="Rechteck 395">
              <a:extLst>
                <a:ext uri="{FF2B5EF4-FFF2-40B4-BE49-F238E27FC236}">
                  <a16:creationId xmlns:a16="http://schemas.microsoft.com/office/drawing/2014/main" id="{3A119532-7FF3-5062-3531-A972C18E1A4F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7" name="Rechteck 396">
              <a:extLst>
                <a:ext uri="{FF2B5EF4-FFF2-40B4-BE49-F238E27FC236}">
                  <a16:creationId xmlns:a16="http://schemas.microsoft.com/office/drawing/2014/main" id="{8471A79B-7EA6-4580-B496-D34A24E5C873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FD5E30FB-9F7F-D8F1-46F1-6DE230FABE8A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3636D3BB-98B5-3E74-7739-81CA8DA79928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2C9FD291-D964-7C99-04A1-1F94B3181E97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CA82C9E5-D7C7-D9D7-17E7-894F82F3898E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19437353-2F29-5964-53B4-637A0969F7B6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3" name="Rechteck 402">
              <a:extLst>
                <a:ext uri="{FF2B5EF4-FFF2-40B4-BE49-F238E27FC236}">
                  <a16:creationId xmlns:a16="http://schemas.microsoft.com/office/drawing/2014/main" id="{BA297C26-6D1F-9E39-6090-6EDF829C150F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4DDA089B-3D12-1A0E-8BE3-9EDF7C39BAF3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5" name="Rechteck 404">
              <a:extLst>
                <a:ext uri="{FF2B5EF4-FFF2-40B4-BE49-F238E27FC236}">
                  <a16:creationId xmlns:a16="http://schemas.microsoft.com/office/drawing/2014/main" id="{CDA08A04-5609-8245-DB39-417863D39FDC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6" name="Rechteck 405">
              <a:extLst>
                <a:ext uri="{FF2B5EF4-FFF2-40B4-BE49-F238E27FC236}">
                  <a16:creationId xmlns:a16="http://schemas.microsoft.com/office/drawing/2014/main" id="{D4C39CAC-249D-C198-4425-C766640DF9B7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24BD92BF-180C-5C79-C779-B20388560063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57815D92-EE66-56F0-3CD3-EE458A393967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64AD3FB1-76AB-6486-32FB-208AFE9F0552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0" name="Rechteck 409">
              <a:extLst>
                <a:ext uri="{FF2B5EF4-FFF2-40B4-BE49-F238E27FC236}">
                  <a16:creationId xmlns:a16="http://schemas.microsoft.com/office/drawing/2014/main" id="{48D341DB-88BA-2620-ACE0-6502C0E8E245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B864D029-BC2C-E623-A2E0-BC741465531E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273E0952-3AE7-2060-3485-44B957453EA6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2C5F6CD6-D8E3-F4BE-9005-6B5447464F48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60836B2C-3254-B5FA-7FD6-3F3EE9B53478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FDEB5C27-91A4-D4CF-A0C2-6C1F81D44F63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6" name="Rechteck 415">
              <a:extLst>
                <a:ext uri="{FF2B5EF4-FFF2-40B4-BE49-F238E27FC236}">
                  <a16:creationId xmlns:a16="http://schemas.microsoft.com/office/drawing/2014/main" id="{56E30CCB-A924-81CB-443F-E748985D16C9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E15B0282-BA8E-3DBE-CD1E-E9890CB1AE07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8" name="Rechteck 417">
              <a:extLst>
                <a:ext uri="{FF2B5EF4-FFF2-40B4-BE49-F238E27FC236}">
                  <a16:creationId xmlns:a16="http://schemas.microsoft.com/office/drawing/2014/main" id="{E162CDE9-3F41-F9F4-0F02-BE21C2F1E498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9" name="Rechteck 418">
              <a:extLst>
                <a:ext uri="{FF2B5EF4-FFF2-40B4-BE49-F238E27FC236}">
                  <a16:creationId xmlns:a16="http://schemas.microsoft.com/office/drawing/2014/main" id="{9A68093A-7DC7-9796-1767-28FD65FA2F76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0" name="Rechteck 419">
              <a:extLst>
                <a:ext uri="{FF2B5EF4-FFF2-40B4-BE49-F238E27FC236}">
                  <a16:creationId xmlns:a16="http://schemas.microsoft.com/office/drawing/2014/main" id="{AD0E2655-81EF-3F48-EFB3-1748A90884B7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1" name="Rechteck 420">
              <a:extLst>
                <a:ext uri="{FF2B5EF4-FFF2-40B4-BE49-F238E27FC236}">
                  <a16:creationId xmlns:a16="http://schemas.microsoft.com/office/drawing/2014/main" id="{72D66D5C-21F8-63CA-7CF5-123E645C27AB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2" name="Rechteck 421">
              <a:extLst>
                <a:ext uri="{FF2B5EF4-FFF2-40B4-BE49-F238E27FC236}">
                  <a16:creationId xmlns:a16="http://schemas.microsoft.com/office/drawing/2014/main" id="{B992ED52-F0F3-B390-9E53-6388582F5174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3" name="Rechteck 422">
              <a:extLst>
                <a:ext uri="{FF2B5EF4-FFF2-40B4-BE49-F238E27FC236}">
                  <a16:creationId xmlns:a16="http://schemas.microsoft.com/office/drawing/2014/main" id="{9C2DC23C-B8C8-44D5-D4D8-6337F8E131E9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4" name="Rechteck 423">
              <a:extLst>
                <a:ext uri="{FF2B5EF4-FFF2-40B4-BE49-F238E27FC236}">
                  <a16:creationId xmlns:a16="http://schemas.microsoft.com/office/drawing/2014/main" id="{41A9429F-845D-10CB-0F52-605DB871C7FA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5" name="Rechteck 424">
              <a:extLst>
                <a:ext uri="{FF2B5EF4-FFF2-40B4-BE49-F238E27FC236}">
                  <a16:creationId xmlns:a16="http://schemas.microsoft.com/office/drawing/2014/main" id="{042A4576-0E91-4CFB-2E1B-E926B54D7239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6" name="Rechteck 425">
              <a:extLst>
                <a:ext uri="{FF2B5EF4-FFF2-40B4-BE49-F238E27FC236}">
                  <a16:creationId xmlns:a16="http://schemas.microsoft.com/office/drawing/2014/main" id="{0CF7B528-3434-254C-F16C-72C0AE68EBFE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7" name="Rechteck 426">
              <a:extLst>
                <a:ext uri="{FF2B5EF4-FFF2-40B4-BE49-F238E27FC236}">
                  <a16:creationId xmlns:a16="http://schemas.microsoft.com/office/drawing/2014/main" id="{390AF538-C879-5CA3-AD89-4655493F8299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8" name="Rechteck 427">
              <a:extLst>
                <a:ext uri="{FF2B5EF4-FFF2-40B4-BE49-F238E27FC236}">
                  <a16:creationId xmlns:a16="http://schemas.microsoft.com/office/drawing/2014/main" id="{6C680832-6733-92C9-5992-4BBAF6A8170D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9" name="Rechteck 428">
              <a:extLst>
                <a:ext uri="{FF2B5EF4-FFF2-40B4-BE49-F238E27FC236}">
                  <a16:creationId xmlns:a16="http://schemas.microsoft.com/office/drawing/2014/main" id="{2C44D596-1094-96A7-8D32-3F5FBF1F3528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0" name="Rechteck 429">
              <a:extLst>
                <a:ext uri="{FF2B5EF4-FFF2-40B4-BE49-F238E27FC236}">
                  <a16:creationId xmlns:a16="http://schemas.microsoft.com/office/drawing/2014/main" id="{6C79F1B3-209C-BDB0-0CEA-989278C72C31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1" name="Rechteck 430">
              <a:extLst>
                <a:ext uri="{FF2B5EF4-FFF2-40B4-BE49-F238E27FC236}">
                  <a16:creationId xmlns:a16="http://schemas.microsoft.com/office/drawing/2014/main" id="{95088B22-48E1-4A94-684D-324AFC1A148E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2" name="Rechteck 431">
              <a:extLst>
                <a:ext uri="{FF2B5EF4-FFF2-40B4-BE49-F238E27FC236}">
                  <a16:creationId xmlns:a16="http://schemas.microsoft.com/office/drawing/2014/main" id="{975BE802-1453-6BFE-7C01-3E44D2C30B16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3" name="Rechteck 432">
              <a:extLst>
                <a:ext uri="{FF2B5EF4-FFF2-40B4-BE49-F238E27FC236}">
                  <a16:creationId xmlns:a16="http://schemas.microsoft.com/office/drawing/2014/main" id="{FF00F9FC-DD8D-F04F-26B3-7FFA0B404AEC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4" name="Rechteck 433">
              <a:extLst>
                <a:ext uri="{FF2B5EF4-FFF2-40B4-BE49-F238E27FC236}">
                  <a16:creationId xmlns:a16="http://schemas.microsoft.com/office/drawing/2014/main" id="{C79D7F3D-B38A-1290-E283-C415C620C808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5" name="Rechteck 434">
              <a:extLst>
                <a:ext uri="{FF2B5EF4-FFF2-40B4-BE49-F238E27FC236}">
                  <a16:creationId xmlns:a16="http://schemas.microsoft.com/office/drawing/2014/main" id="{46CFC94A-4E37-2C6E-371F-9B6460939209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6" name="Rechteck 435">
              <a:extLst>
                <a:ext uri="{FF2B5EF4-FFF2-40B4-BE49-F238E27FC236}">
                  <a16:creationId xmlns:a16="http://schemas.microsoft.com/office/drawing/2014/main" id="{F4502341-50AC-98A8-E0A3-298EB5A38A30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7" name="Rechteck 436">
              <a:extLst>
                <a:ext uri="{FF2B5EF4-FFF2-40B4-BE49-F238E27FC236}">
                  <a16:creationId xmlns:a16="http://schemas.microsoft.com/office/drawing/2014/main" id="{94E16D27-236E-5AC0-6FBC-8999E053E04E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8" name="Rechteck 437">
              <a:extLst>
                <a:ext uri="{FF2B5EF4-FFF2-40B4-BE49-F238E27FC236}">
                  <a16:creationId xmlns:a16="http://schemas.microsoft.com/office/drawing/2014/main" id="{24D55878-4364-18EB-74EF-2FC9DAF8F2CA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9" name="Rechteck 438">
              <a:extLst>
                <a:ext uri="{FF2B5EF4-FFF2-40B4-BE49-F238E27FC236}">
                  <a16:creationId xmlns:a16="http://schemas.microsoft.com/office/drawing/2014/main" id="{9259743C-18BA-BEAC-A65E-BAAE7BCC6AF4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0" name="Rechteck 439">
              <a:extLst>
                <a:ext uri="{FF2B5EF4-FFF2-40B4-BE49-F238E27FC236}">
                  <a16:creationId xmlns:a16="http://schemas.microsoft.com/office/drawing/2014/main" id="{2F1DEAD4-33E5-F51C-862F-E33D6783BD6A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1" name="Rechteck 440">
              <a:extLst>
                <a:ext uri="{FF2B5EF4-FFF2-40B4-BE49-F238E27FC236}">
                  <a16:creationId xmlns:a16="http://schemas.microsoft.com/office/drawing/2014/main" id="{B8AFA092-4C14-1843-17E1-CFB17F168E53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2" name="Rechteck 441">
              <a:extLst>
                <a:ext uri="{FF2B5EF4-FFF2-40B4-BE49-F238E27FC236}">
                  <a16:creationId xmlns:a16="http://schemas.microsoft.com/office/drawing/2014/main" id="{0A920DDC-6570-59BD-B8A2-8E98A7108F22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3" name="Rechteck 442">
              <a:extLst>
                <a:ext uri="{FF2B5EF4-FFF2-40B4-BE49-F238E27FC236}">
                  <a16:creationId xmlns:a16="http://schemas.microsoft.com/office/drawing/2014/main" id="{26268B05-E79F-3464-D0D8-CA28A8F65D95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4" name="Rechteck 443">
              <a:extLst>
                <a:ext uri="{FF2B5EF4-FFF2-40B4-BE49-F238E27FC236}">
                  <a16:creationId xmlns:a16="http://schemas.microsoft.com/office/drawing/2014/main" id="{13DA1B70-8A65-1074-7016-60FADB88E98D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5" name="Rechteck 444">
              <a:extLst>
                <a:ext uri="{FF2B5EF4-FFF2-40B4-BE49-F238E27FC236}">
                  <a16:creationId xmlns:a16="http://schemas.microsoft.com/office/drawing/2014/main" id="{73C55CC0-BF2C-5FE8-E4C0-5B3DF55AD5D8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6" name="Rechteck 445">
              <a:extLst>
                <a:ext uri="{FF2B5EF4-FFF2-40B4-BE49-F238E27FC236}">
                  <a16:creationId xmlns:a16="http://schemas.microsoft.com/office/drawing/2014/main" id="{7BF9EC48-6F7F-852D-28A2-CC43B95983BE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7" name="Rechteck 446">
              <a:extLst>
                <a:ext uri="{FF2B5EF4-FFF2-40B4-BE49-F238E27FC236}">
                  <a16:creationId xmlns:a16="http://schemas.microsoft.com/office/drawing/2014/main" id="{FBD4F565-465B-8C86-A7D2-D4EA9ECFCAB6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8" name="Rechteck 447">
              <a:extLst>
                <a:ext uri="{FF2B5EF4-FFF2-40B4-BE49-F238E27FC236}">
                  <a16:creationId xmlns:a16="http://schemas.microsoft.com/office/drawing/2014/main" id="{765C6537-8CE4-E1D3-993D-BD0AC01B7118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9" name="Rechteck 448">
              <a:extLst>
                <a:ext uri="{FF2B5EF4-FFF2-40B4-BE49-F238E27FC236}">
                  <a16:creationId xmlns:a16="http://schemas.microsoft.com/office/drawing/2014/main" id="{EBD5E735-286A-3D3D-E950-56331DC28CD2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0" name="Rechteck 449">
              <a:extLst>
                <a:ext uri="{FF2B5EF4-FFF2-40B4-BE49-F238E27FC236}">
                  <a16:creationId xmlns:a16="http://schemas.microsoft.com/office/drawing/2014/main" id="{CEA31BA6-4A75-7D3C-3FD0-37652964EE54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1" name="Rechteck 450">
              <a:extLst>
                <a:ext uri="{FF2B5EF4-FFF2-40B4-BE49-F238E27FC236}">
                  <a16:creationId xmlns:a16="http://schemas.microsoft.com/office/drawing/2014/main" id="{D4C0EDBB-A5AA-9E39-FC2C-699247FD2FA1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2" name="Rechteck 451">
              <a:extLst>
                <a:ext uri="{FF2B5EF4-FFF2-40B4-BE49-F238E27FC236}">
                  <a16:creationId xmlns:a16="http://schemas.microsoft.com/office/drawing/2014/main" id="{1BC80482-9CB7-1B6A-5C57-16ED39C96CBB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3" name="Rechteck 452">
              <a:extLst>
                <a:ext uri="{FF2B5EF4-FFF2-40B4-BE49-F238E27FC236}">
                  <a16:creationId xmlns:a16="http://schemas.microsoft.com/office/drawing/2014/main" id="{1AA4C342-583E-79AD-C0B4-CD7343D9473C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4" name="Rechteck 453">
              <a:extLst>
                <a:ext uri="{FF2B5EF4-FFF2-40B4-BE49-F238E27FC236}">
                  <a16:creationId xmlns:a16="http://schemas.microsoft.com/office/drawing/2014/main" id="{A5B33B1A-3D47-79F0-F262-FD17C7B2E956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5" name="Rechteck 454">
              <a:extLst>
                <a:ext uri="{FF2B5EF4-FFF2-40B4-BE49-F238E27FC236}">
                  <a16:creationId xmlns:a16="http://schemas.microsoft.com/office/drawing/2014/main" id="{6DB223A9-3FF3-DD44-AE90-B9F87CF2F2DC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6" name="Rechteck 455">
              <a:extLst>
                <a:ext uri="{FF2B5EF4-FFF2-40B4-BE49-F238E27FC236}">
                  <a16:creationId xmlns:a16="http://schemas.microsoft.com/office/drawing/2014/main" id="{1C7C8785-ABEF-8F4F-78C1-CEFCECEA5633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7" name="Rechteck 456">
              <a:extLst>
                <a:ext uri="{FF2B5EF4-FFF2-40B4-BE49-F238E27FC236}">
                  <a16:creationId xmlns:a16="http://schemas.microsoft.com/office/drawing/2014/main" id="{49398C12-C3AA-FD28-9432-2131F2F8A030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8" name="Rechteck 457">
              <a:extLst>
                <a:ext uri="{FF2B5EF4-FFF2-40B4-BE49-F238E27FC236}">
                  <a16:creationId xmlns:a16="http://schemas.microsoft.com/office/drawing/2014/main" id="{DA86EA77-5DC8-4245-7FE2-F50AA7FF65DF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9" name="Rechteck 458">
              <a:extLst>
                <a:ext uri="{FF2B5EF4-FFF2-40B4-BE49-F238E27FC236}">
                  <a16:creationId xmlns:a16="http://schemas.microsoft.com/office/drawing/2014/main" id="{C2A88DA6-97C7-18A0-6F4E-30ADD3B38319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0" name="Rechteck 459">
              <a:extLst>
                <a:ext uri="{FF2B5EF4-FFF2-40B4-BE49-F238E27FC236}">
                  <a16:creationId xmlns:a16="http://schemas.microsoft.com/office/drawing/2014/main" id="{66D0508B-680D-8449-81F8-119FEE81C89D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1" name="Rechteck 460">
              <a:extLst>
                <a:ext uri="{FF2B5EF4-FFF2-40B4-BE49-F238E27FC236}">
                  <a16:creationId xmlns:a16="http://schemas.microsoft.com/office/drawing/2014/main" id="{EFEFCF8A-CAA6-9072-7D3C-51515A1A78BE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2" name="Rechteck 461">
              <a:extLst>
                <a:ext uri="{FF2B5EF4-FFF2-40B4-BE49-F238E27FC236}">
                  <a16:creationId xmlns:a16="http://schemas.microsoft.com/office/drawing/2014/main" id="{578C09C7-D041-BE87-A70E-0FD035509427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cxnSp>
        <p:nvCxnSpPr>
          <p:cNvPr id="463" name="Line">
            <a:extLst>
              <a:ext uri="{FF2B5EF4-FFF2-40B4-BE49-F238E27FC236}">
                <a16:creationId xmlns:a16="http://schemas.microsoft.com/office/drawing/2014/main" id="{5F525D54-2C7C-D6BC-ADE8-6892F7CEAB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11424" y="925959"/>
            <a:ext cx="2304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695400" y="1413016"/>
            <a:ext cx="5040000" cy="2232008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tIns="36000" rIns="216000" anchor="t">
            <a:noAutofit/>
          </a:bodyPr>
          <a:lstStyle>
            <a:lvl1pPr algn="l">
              <a:lnSpc>
                <a:spcPct val="90000"/>
              </a:lnSpc>
              <a:defRPr sz="3000" baseline="0"/>
            </a:lvl1pPr>
          </a:lstStyle>
          <a:p>
            <a:r>
              <a:rPr lang="en-GB"/>
              <a:t>Insert your long title of presentation here in maximal three lines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695400" y="3717032"/>
            <a:ext cx="5040000" cy="1152168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31" name="Author"/>
          <p:cNvSpPr>
            <a:spLocks noGrp="1"/>
          </p:cNvSpPr>
          <p:nvPr userDrawn="1">
            <p:ph type="body" sz="quarter" idx="14" hasCustomPrompt="1"/>
          </p:nvPr>
        </p:nvSpPr>
        <p:spPr bwMode="gray">
          <a:xfrm>
            <a:off x="695400" y="4797152"/>
            <a:ext cx="5040000" cy="296332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tIns="36000" rIns="216000"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GB"/>
              <a:t>First name Last name</a:t>
            </a:r>
          </a:p>
        </p:txBody>
      </p:sp>
      <p:sp>
        <p:nvSpPr>
          <p:cNvPr id="34" name="Department, Date"/>
          <p:cNvSpPr>
            <a:spLocks noGrp="1"/>
          </p:cNvSpPr>
          <p:nvPr userDrawn="1">
            <p:ph type="body" sz="quarter" idx="15" hasCustomPrompt="1"/>
          </p:nvPr>
        </p:nvSpPr>
        <p:spPr bwMode="gray">
          <a:xfrm>
            <a:off x="695400" y="5084952"/>
            <a:ext cx="5040000" cy="720312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/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/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/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/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/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/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/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/>
            </a:lvl9pPr>
          </a:lstStyle>
          <a:p>
            <a:pPr lvl="0"/>
            <a:r>
              <a:rPr lang="en-GB"/>
              <a:t>Department</a:t>
            </a:r>
            <a:br>
              <a:rPr lang="en-GB"/>
            </a:br>
            <a:r>
              <a:rPr lang="en-GB"/>
              <a:t>DD/MM/YYYY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D7ACB4E6-B5AF-D585-CBF6-6DEFF66C3A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28448" y="335757"/>
            <a:ext cx="1365736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6574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 |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umber">
            <a:extLst>
              <a:ext uri="{FF2B5EF4-FFF2-40B4-BE49-F238E27FC236}">
                <a16:creationId xmlns:a16="http://schemas.microsoft.com/office/drawing/2014/main" id="{F1BA0A68-4136-44D7-9E13-FF5DFC551B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5360" y="2061183"/>
            <a:ext cx="3528392" cy="252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 baseline="0">
                <a:solidFill>
                  <a:srgbClr val="7B4DB3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7B4DB3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7B4DB3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7B4DB3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7B4DB3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7B4DB3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7B4DB3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7B4DB3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7B4DB3"/>
                </a:solidFill>
                <a:latin typeface="+mj-lt"/>
              </a:defRPr>
            </a:lvl9pPr>
          </a:lstStyle>
          <a:p>
            <a:r>
              <a:rPr lang="en-GB"/>
              <a:t>00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4943872" y="1989183"/>
            <a:ext cx="4608511" cy="1727849"/>
          </a:xfrm>
          <a:prstGeom prst="rect">
            <a:avLst/>
          </a:prstGeom>
        </p:spPr>
        <p:txBody>
          <a:bodyPr tIns="36000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Divider slide | Insert your headline in maximal three lines her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46297C-A90E-4725-9584-F26D2B59D3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943872" y="3717032"/>
            <a:ext cx="4608512" cy="864096"/>
          </a:xfrm>
          <a:prstGeom prst="rect">
            <a:avLst/>
          </a:prstGeom>
          <a:noFill/>
          <a:ln w="0">
            <a:noFill/>
          </a:ln>
        </p:spPr>
        <p:txBody>
          <a:bodyPr lIns="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8" name="Source">
            <a:extLst>
              <a:ext uri="{FF2B5EF4-FFF2-40B4-BE49-F238E27FC236}">
                <a16:creationId xmlns:a16="http://schemas.microsoft.com/office/drawing/2014/main" id="{EC4813FD-BF8E-4F33-A718-751235694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487488" y="6525000"/>
            <a:ext cx="9144512" cy="144000"/>
          </a:xfrm>
        </p:spPr>
        <p:txBody>
          <a:bodyPr anchor="b"/>
          <a:lstStyle>
            <a:lvl1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/>
              <a:t>Source, Footnot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879F79-C439-455B-A908-83DBF49735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FCDCA2-BC82-4501-A5EB-49531AEE2DD1}" type="datetime1">
              <a:rPr lang="en-GB" smtClean="0"/>
              <a:t>12/02/2026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95FAF83-CEF1-F861-C7AA-8906EFD276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55CDCD7-4589-3D72-B7F4-95F768825C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12500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7E6B994-2418-F176-E12B-44629802D5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9513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E6B994-2418-F176-E12B-44629802D5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Illustration Background">
            <a:extLst>
              <a:ext uri="{FF2B5EF4-FFF2-40B4-BE49-F238E27FC236}">
                <a16:creationId xmlns:a16="http://schemas.microsoft.com/office/drawing/2014/main" id="{DB788935-E7B2-2CAC-0048-B92417139B6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67" y="0"/>
            <a:ext cx="12187065" cy="6858000"/>
          </a:xfrm>
          <a:prstGeom prst="rect">
            <a:avLst/>
          </a:prstGeom>
        </p:spPr>
      </p:pic>
      <p:sp>
        <p:nvSpPr>
          <p:cNvPr id="5" name="Confidential disclaimer">
            <a:extLst>
              <a:ext uri="{FF2B5EF4-FFF2-40B4-BE49-F238E27FC236}">
                <a16:creationId xmlns:a16="http://schemas.microsoft.com/office/drawing/2014/main" id="{CD47C08F-F59E-5783-DCC8-C91095C566C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0798636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7" name="Copyright Line">
            <a:extLst>
              <a:ext uri="{FF2B5EF4-FFF2-40B4-BE49-F238E27FC236}">
                <a16:creationId xmlns:a16="http://schemas.microsoft.com/office/drawing/2014/main" id="{94679E81-620B-431C-44E4-1FAE9486A5E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88558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4D4D5DC7-A70B-2666-E654-41F700D18D0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3"/>
          </p:nvPr>
        </p:nvSpPr>
        <p:spPr>
          <a:xfrm>
            <a:off x="3251200" y="6485399"/>
            <a:ext cx="3716336" cy="282957"/>
          </a:xfrm>
          <a:noFill/>
        </p:spPr>
        <p:txBody>
          <a:bodyPr/>
          <a:lstStyle>
            <a:lvl1pPr algn="l" rtl="0"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7" name="Date Placeholder">
            <a:extLst>
              <a:ext uri="{FF2B5EF4-FFF2-40B4-BE49-F238E27FC236}">
                <a16:creationId xmlns:a16="http://schemas.microsoft.com/office/drawing/2014/main" id="{959D1E47-A59F-7F2A-1103-CE2E01F9C34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>
          <a:xfrm>
            <a:off x="292100" y="5036705"/>
            <a:ext cx="1744664" cy="282957"/>
          </a:xfrm>
        </p:spPr>
        <p:txBody>
          <a:bodyPr/>
          <a:lstStyle>
            <a:lvl1pPr rtl="0">
              <a:defRPr sz="1200">
                <a:solidFill>
                  <a:srgbClr val="FFFFFF"/>
                </a:solidFill>
              </a:defRPr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3" name="Title/Dept Placeholder">
            <a:extLst>
              <a:ext uri="{FF2B5EF4-FFF2-40B4-BE49-F238E27FC236}">
                <a16:creationId xmlns:a16="http://schemas.microsoft.com/office/drawing/2014/main" id="{DADB3285-032F-C5EA-E4E6-C62E075FF1F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 hasCustomPrompt="1"/>
          </p:nvPr>
        </p:nvSpPr>
        <p:spPr>
          <a:xfrm>
            <a:off x="288558" y="4560602"/>
            <a:ext cx="8642082" cy="344385"/>
          </a:xfrm>
        </p:spPr>
        <p:txBody>
          <a:bodyPr t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/Department</a:t>
            </a:r>
          </a:p>
        </p:txBody>
      </p:sp>
      <p:sp>
        <p:nvSpPr>
          <p:cNvPr id="2" name="Presenter Name Placeholder">
            <a:extLst>
              <a:ext uri="{FF2B5EF4-FFF2-40B4-BE49-F238E27FC236}">
                <a16:creationId xmlns:a16="http://schemas.microsoft.com/office/drawing/2014/main" id="{3417592A-6067-984F-549E-3833CDB76A5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288558" y="4192468"/>
            <a:ext cx="8642082" cy="344384"/>
          </a:xfrm>
        </p:spPr>
        <p:txBody>
          <a:bodyPr tIns="0" bIns="0" anchor="b" anchorCtr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17" name="Subtitle Placeholder">
            <a:extLst>
              <a:ext uri="{FF2B5EF4-FFF2-40B4-BE49-F238E27FC236}">
                <a16:creationId xmlns:a16="http://schemas.microsoft.com/office/drawing/2014/main" id="{A4501D72-EE3C-0DA6-BA4B-C1D78BA85AE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288558" y="3114710"/>
            <a:ext cx="8642082" cy="837882"/>
          </a:xfr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6" name="Title Placeholder">
            <a:extLst>
              <a:ext uri="{FF2B5EF4-FFF2-40B4-BE49-F238E27FC236}">
                <a16:creationId xmlns:a16="http://schemas.microsoft.com/office/drawing/2014/main" id="{7987C027-455E-4C45-138D-8334F13BBE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288558" y="635035"/>
            <a:ext cx="8642082" cy="238760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>
              <a:defRPr sz="5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Insert your presentation title here maximum of three lines</a:t>
            </a:r>
          </a:p>
        </p:txBody>
      </p:sp>
      <p:pic>
        <p:nvPicPr>
          <p:cNvPr id="6" name="NielsenIQ GFK lockup" hidden="1">
            <a:extLst>
              <a:ext uri="{FF2B5EF4-FFF2-40B4-BE49-F238E27FC236}">
                <a16:creationId xmlns:a16="http://schemas.microsoft.com/office/drawing/2014/main" id="{1527D24A-5EB5-2412-09AA-2A0D682A2D88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86122" y="5539740"/>
            <a:ext cx="3377876" cy="753596"/>
          </a:xfrm>
          <a:prstGeom prst="rect">
            <a:avLst/>
          </a:prstGeom>
        </p:spPr>
      </p:pic>
      <p:pic>
        <p:nvPicPr>
          <p:cNvPr id="18" name="NielsenIQ logo+wordmark" hidden="1">
            <a:extLst>
              <a:ext uri="{FF2B5EF4-FFF2-40B4-BE49-F238E27FC236}">
                <a16:creationId xmlns:a16="http://schemas.microsoft.com/office/drawing/2014/main" id="{041ECC27-E626-2866-047D-40D91692A39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8559" y="5563212"/>
            <a:ext cx="2155408" cy="743616"/>
          </a:xfrm>
          <a:prstGeom prst="rect">
            <a:avLst/>
          </a:prstGeom>
        </p:spPr>
      </p:pic>
      <p:sp>
        <p:nvSpPr>
          <p:cNvPr id="8" name="Nielsen wordmark">
            <a:extLst>
              <a:ext uri="{FF2B5EF4-FFF2-40B4-BE49-F238E27FC236}">
                <a16:creationId xmlns:a16="http://schemas.microsoft.com/office/drawing/2014/main" id="{4BFD1796-2F8B-4ED9-936A-10DB34E78CA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295274" y="5686380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bg1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699739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Full-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99D878F-B886-F1D5-C06E-97C84C493D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7075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D878F-B886-F1D5-C06E-97C84C493D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Off-slide Instructions">
            <a:extLst>
              <a:ext uri="{FF2B5EF4-FFF2-40B4-BE49-F238E27FC236}">
                <a16:creationId xmlns:a16="http://schemas.microsoft.com/office/drawing/2014/main" id="{271856CE-9F0A-4AD8-67ED-834B35F367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2338614" y="0"/>
            <a:ext cx="2812486" cy="2373888"/>
          </a:xfrm>
          <a:prstGeom prst="bracketPair">
            <a:avLst>
              <a:gd name="adj" fmla="val 4083"/>
            </a:avLst>
          </a:prstGeom>
          <a:solidFill>
            <a:srgbClr val="FFFF00">
              <a:alpha val="80000"/>
            </a:srgbClr>
          </a:solidFill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spAutoFit/>
          </a:bodyPr>
          <a:lstStyle/>
          <a:p>
            <a:pPr marL="0" indent="0" algn="l" defTabSz="914400" rtl="0" eaLnBrk="1" latinLnBrk="0" hangingPunct="1">
              <a:spcAft>
                <a:spcPts val="400"/>
              </a:spcAft>
              <a:buFont typeface="+mj-lt"/>
              <a:buNone/>
            </a:pPr>
            <a:r>
              <a:rPr lang="en-US" sz="1200" b="1" kern="1200" dirty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If logo, copyright line, footer, etc. are missing:</a:t>
            </a:r>
          </a:p>
          <a:p>
            <a:pPr marL="177800" lvl="0" indent="-177800" rtl="0">
              <a:spcAft>
                <a:spcPts val="400"/>
              </a:spcAft>
              <a:buFont typeface="+mj-lt"/>
              <a:buAutoNum type="arabicPeriod"/>
            </a:pPr>
            <a:r>
              <a:rPr lang="en-US" sz="800" dirty="0">
                <a:solidFill>
                  <a:srgbClr val="000000"/>
                </a:solidFill>
              </a:rPr>
              <a:t>Go to </a:t>
            </a:r>
            <a:r>
              <a:rPr lang="en-US" sz="800" b="1" dirty="0">
                <a:solidFill>
                  <a:srgbClr val="000000"/>
                </a:solidFill>
              </a:rPr>
              <a:t>View &gt; Slide Master</a:t>
            </a:r>
          </a:p>
          <a:p>
            <a:pPr marL="177800" lvl="0" indent="-177800" rtl="0">
              <a:spcAft>
                <a:spcPts val="400"/>
              </a:spcAft>
              <a:buFont typeface="+mj-lt"/>
              <a:buAutoNum type="arabicPeriod"/>
            </a:pPr>
            <a:r>
              <a:rPr lang="en-US" sz="800" dirty="0">
                <a:solidFill>
                  <a:srgbClr val="000000"/>
                </a:solidFill>
              </a:rPr>
              <a:t>Copy logo and footer elements from Layout Master</a:t>
            </a:r>
          </a:p>
          <a:p>
            <a:pPr marL="177800" lvl="0" indent="-177800" rtl="0">
              <a:spcAft>
                <a:spcPts val="400"/>
              </a:spcAft>
              <a:buFont typeface="+mj-lt"/>
              <a:buAutoNum type="arabicPeriod"/>
            </a:pPr>
            <a:r>
              <a:rPr lang="en-US" sz="800" dirty="0">
                <a:solidFill>
                  <a:srgbClr val="000000"/>
                </a:solidFill>
              </a:rPr>
              <a:t>Close Master View</a:t>
            </a:r>
          </a:p>
          <a:p>
            <a:pPr marL="177800" lvl="0" indent="-177800" rtl="0">
              <a:spcAft>
                <a:spcPts val="400"/>
              </a:spcAft>
              <a:buFont typeface="+mj-lt"/>
              <a:buAutoNum type="arabicPeriod"/>
            </a:pPr>
            <a:r>
              <a:rPr lang="en-US" sz="800" dirty="0">
                <a:solidFill>
                  <a:srgbClr val="000000"/>
                </a:solidFill>
              </a:rPr>
              <a:t>Paste on slide</a:t>
            </a:r>
            <a:endParaRPr lang="en-US" sz="1200" b="1" dirty="0">
              <a:solidFill>
                <a:srgbClr val="000000"/>
              </a:solidFill>
            </a:endParaRPr>
          </a:p>
          <a:p>
            <a:pPr rtl="0">
              <a:spcAft>
                <a:spcPts val="400"/>
              </a:spcAft>
            </a:pPr>
            <a:endParaRPr lang="en-US" sz="1200" b="1" dirty="0">
              <a:solidFill>
                <a:srgbClr val="000000"/>
              </a:solidFill>
            </a:endParaRPr>
          </a:p>
          <a:p>
            <a:pPr rtl="0">
              <a:spcAft>
                <a:spcPts val="400"/>
              </a:spcAft>
            </a:pPr>
            <a:r>
              <a:rPr lang="en-US" sz="1200" b="1" dirty="0">
                <a:solidFill>
                  <a:srgbClr val="000000"/>
                </a:solidFill>
              </a:rPr>
              <a:t>To replace existing image:</a:t>
            </a:r>
          </a:p>
          <a:p>
            <a:pPr marL="174625" indent="-174625" rtl="0">
              <a:spcAft>
                <a:spcPts val="400"/>
              </a:spcAft>
              <a:buFont typeface="+mj-lt"/>
              <a:buAutoNum type="arabicPeriod"/>
            </a:pPr>
            <a:r>
              <a:rPr lang="en-US" sz="800" dirty="0">
                <a:solidFill>
                  <a:srgbClr val="000000"/>
                </a:solidFill>
              </a:rPr>
              <a:t>Right-click image placeholder</a:t>
            </a:r>
          </a:p>
          <a:p>
            <a:pPr marL="174625" indent="-174625" rtl="0">
              <a:spcAft>
                <a:spcPts val="400"/>
              </a:spcAft>
              <a:buFont typeface="+mj-lt"/>
              <a:buAutoNum type="arabicPeriod"/>
            </a:pPr>
            <a:r>
              <a:rPr lang="en-US" sz="800" dirty="0">
                <a:solidFill>
                  <a:srgbClr val="000000"/>
                </a:solidFill>
              </a:rPr>
              <a:t>Select </a:t>
            </a:r>
            <a:r>
              <a:rPr lang="en-US" sz="800" b="1" dirty="0">
                <a:solidFill>
                  <a:srgbClr val="000000"/>
                </a:solidFill>
              </a:rPr>
              <a:t>Change Picture</a:t>
            </a:r>
          </a:p>
          <a:p>
            <a:pPr marL="174625" indent="-174625" rtl="0">
              <a:spcAft>
                <a:spcPts val="400"/>
              </a:spcAft>
              <a:buFont typeface="+mj-lt"/>
              <a:buAutoNum type="arabicPeriod"/>
            </a:pPr>
            <a:r>
              <a:rPr lang="en-US" sz="800" dirty="0">
                <a:solidFill>
                  <a:srgbClr val="000000"/>
                </a:solidFill>
              </a:rPr>
              <a:t>Select</a:t>
            </a:r>
            <a:r>
              <a:rPr lang="en-US" sz="800" b="1" dirty="0">
                <a:solidFill>
                  <a:srgbClr val="000000"/>
                </a:solidFill>
              </a:rPr>
              <a:t> desired </a:t>
            </a:r>
            <a:r>
              <a:rPr lang="en-US" sz="800" dirty="0">
                <a:solidFill>
                  <a:srgbClr val="000000"/>
                </a:solidFill>
              </a:rPr>
              <a:t>image file (.jpg, .</a:t>
            </a:r>
            <a:r>
              <a:rPr lang="en-US" sz="800" dirty="0" err="1">
                <a:solidFill>
                  <a:srgbClr val="000000"/>
                </a:solidFill>
              </a:rPr>
              <a:t>png</a:t>
            </a:r>
            <a:r>
              <a:rPr lang="en-US" sz="800" dirty="0">
                <a:solidFill>
                  <a:srgbClr val="000000"/>
                </a:solidFill>
              </a:rPr>
              <a:t>, .gif)</a:t>
            </a:r>
          </a:p>
          <a:p>
            <a:pPr marL="174625" indent="-174625" rtl="0">
              <a:spcAft>
                <a:spcPts val="400"/>
              </a:spcAft>
              <a:buFont typeface="+mj-lt"/>
              <a:buAutoNum type="arabicPeriod"/>
            </a:pP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21" name="Picture Placeholder">
            <a:extLst>
              <a:ext uri="{FF2B5EF4-FFF2-40B4-BE49-F238E27FC236}">
                <a16:creationId xmlns:a16="http://schemas.microsoft.com/office/drawing/2014/main" id="{52F19A97-1265-FCED-7EE6-B54C73691BB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solidFill>
            <a:schemeClr val="tx1">
              <a:lumMod val="60000"/>
              <a:lumOff val="40000"/>
            </a:schemeClr>
          </a:solidFill>
        </p:spPr>
        <p:txBody>
          <a:bodyPr lIns="9144000" tIns="91440" rIns="0" anchor="t">
            <a:normAutofit/>
          </a:bodyPr>
          <a:lstStyle>
            <a:lvl1pPr marL="228600" indent="-228600" algn="l" rtl="0">
              <a:buFont typeface="Arial" panose="020B0604020202020204" pitchFamily="34" charset="0"/>
              <a:buNone/>
              <a:defRPr sz="1400" b="1">
                <a:solidFill>
                  <a:srgbClr val="FFFF00"/>
                </a:solidFill>
              </a:defRPr>
            </a:lvl1pPr>
          </a:lstStyle>
          <a:p>
            <a:r>
              <a:rPr lang="en-US" dirty="0"/>
              <a:t>To add image: </a:t>
            </a:r>
            <a:br>
              <a:rPr lang="en-US" dirty="0"/>
            </a:br>
            <a:r>
              <a:rPr lang="en-US" dirty="0"/>
              <a:t>1. Select image placeholder</a:t>
            </a:r>
            <a:br>
              <a:rPr lang="en-US" dirty="0"/>
            </a:br>
            <a:r>
              <a:rPr lang="en-US" dirty="0"/>
              <a:t>2. Drag/drop file or copy/paste image into slide (.jpg, .gif, .</a:t>
            </a:r>
            <a:r>
              <a:rPr lang="en-US" dirty="0" err="1"/>
              <a:t>png</a:t>
            </a:r>
            <a:r>
              <a:rPr lang="en-US" dirty="0"/>
              <a:t>)</a:t>
            </a:r>
            <a:br>
              <a:rPr lang="en-US" dirty="0"/>
            </a:br>
            <a:r>
              <a:rPr lang="en-US" dirty="0"/>
              <a:t>3. Right-click image and “Send to back”</a:t>
            </a:r>
          </a:p>
        </p:txBody>
      </p:sp>
      <p:sp>
        <p:nvSpPr>
          <p:cNvPr id="5" name="Confidential disclaimer">
            <a:extLst>
              <a:ext uri="{FF2B5EF4-FFF2-40B4-BE49-F238E27FC236}">
                <a16:creationId xmlns:a16="http://schemas.microsoft.com/office/drawing/2014/main" id="{5608DDC1-C01E-6D4A-6FBF-3A04BB3F9975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0798636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7" name="Copyright Line">
            <a:extLst>
              <a:ext uri="{FF2B5EF4-FFF2-40B4-BE49-F238E27FC236}">
                <a16:creationId xmlns:a16="http://schemas.microsoft.com/office/drawing/2014/main" id="{94679E81-620B-431C-44E4-1FAE9486A5E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88558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EC7B7A51-3AAD-04A0-499C-1BDCF93D6A3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3"/>
          </p:nvPr>
        </p:nvSpPr>
        <p:spPr>
          <a:xfrm>
            <a:off x="3251200" y="6485399"/>
            <a:ext cx="3716336" cy="282957"/>
          </a:xfrm>
          <a:noFill/>
        </p:spPr>
        <p:txBody>
          <a:bodyPr/>
          <a:lstStyle>
            <a:lvl1pPr algn="l" rtl="0"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2" name="Date Placeholder">
            <a:extLst>
              <a:ext uri="{FF2B5EF4-FFF2-40B4-BE49-F238E27FC236}">
                <a16:creationId xmlns:a16="http://schemas.microsoft.com/office/drawing/2014/main" id="{2FF3E537-3200-2E95-28C8-4005E0D0E4D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>
          <a:xfrm>
            <a:off x="292100" y="5036705"/>
            <a:ext cx="1744664" cy="282957"/>
          </a:xfrm>
        </p:spPr>
        <p:txBody>
          <a:bodyPr/>
          <a:lstStyle>
            <a:lvl1pPr rtl="0">
              <a:defRPr sz="1200">
                <a:solidFill>
                  <a:srgbClr val="FFFFFF"/>
                </a:solidFill>
              </a:defRPr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3" name="Title/Dept Placeholder">
            <a:extLst>
              <a:ext uri="{FF2B5EF4-FFF2-40B4-BE49-F238E27FC236}">
                <a16:creationId xmlns:a16="http://schemas.microsoft.com/office/drawing/2014/main" id="{DADB3285-032F-C5EA-E4E6-C62E075FF1F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 hasCustomPrompt="1"/>
          </p:nvPr>
        </p:nvSpPr>
        <p:spPr>
          <a:xfrm>
            <a:off x="288558" y="4560602"/>
            <a:ext cx="8642082" cy="344385"/>
          </a:xfrm>
        </p:spPr>
        <p:txBody>
          <a:bodyPr t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/Department</a:t>
            </a:r>
          </a:p>
        </p:txBody>
      </p:sp>
      <p:sp>
        <p:nvSpPr>
          <p:cNvPr id="2" name="Presenter Name Placeholder">
            <a:extLst>
              <a:ext uri="{FF2B5EF4-FFF2-40B4-BE49-F238E27FC236}">
                <a16:creationId xmlns:a16="http://schemas.microsoft.com/office/drawing/2014/main" id="{3417592A-6067-984F-549E-3833CDB76A5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288558" y="4192468"/>
            <a:ext cx="8642082" cy="344384"/>
          </a:xfrm>
        </p:spPr>
        <p:txBody>
          <a:bodyPr tIns="0" bIns="0" anchor="b" anchorCtr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17" name="Subtitle Placeholder">
            <a:extLst>
              <a:ext uri="{FF2B5EF4-FFF2-40B4-BE49-F238E27FC236}">
                <a16:creationId xmlns:a16="http://schemas.microsoft.com/office/drawing/2014/main" id="{A4501D72-EE3C-0DA6-BA4B-C1D78BA85AE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288558" y="3114710"/>
            <a:ext cx="8642082" cy="837882"/>
          </a:xfr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6" name="Title Placeholder">
            <a:extLst>
              <a:ext uri="{FF2B5EF4-FFF2-40B4-BE49-F238E27FC236}">
                <a16:creationId xmlns:a16="http://schemas.microsoft.com/office/drawing/2014/main" id="{7987C027-455E-4C45-138D-8334F13BBE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288558" y="635035"/>
            <a:ext cx="8642082" cy="238760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>
              <a:defRPr sz="5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Insert your presentation title here maximum of three lines</a:t>
            </a:r>
          </a:p>
        </p:txBody>
      </p:sp>
      <p:pic>
        <p:nvPicPr>
          <p:cNvPr id="6" name="NielsenIQ GFK lockup" hidden="1">
            <a:extLst>
              <a:ext uri="{FF2B5EF4-FFF2-40B4-BE49-F238E27FC236}">
                <a16:creationId xmlns:a16="http://schemas.microsoft.com/office/drawing/2014/main" id="{5418E13B-8AFF-E657-70EF-BADD9F33A38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86122" y="5539740"/>
            <a:ext cx="3377876" cy="753596"/>
          </a:xfrm>
          <a:prstGeom prst="rect">
            <a:avLst/>
          </a:prstGeom>
        </p:spPr>
      </p:pic>
      <p:pic>
        <p:nvPicPr>
          <p:cNvPr id="18" name="NielsenIQ logo+wordmark" hidden="1">
            <a:extLst>
              <a:ext uri="{FF2B5EF4-FFF2-40B4-BE49-F238E27FC236}">
                <a16:creationId xmlns:a16="http://schemas.microsoft.com/office/drawing/2014/main" id="{041ECC27-E626-2866-047D-40D91692A39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8559" y="5563212"/>
            <a:ext cx="2155408" cy="743616"/>
          </a:xfrm>
          <a:prstGeom prst="rect">
            <a:avLst/>
          </a:prstGeom>
        </p:spPr>
      </p:pic>
      <p:sp>
        <p:nvSpPr>
          <p:cNvPr id="38" name="Nielsen wordmark">
            <a:extLst>
              <a:ext uri="{FF2B5EF4-FFF2-40B4-BE49-F238E27FC236}">
                <a16:creationId xmlns:a16="http://schemas.microsoft.com/office/drawing/2014/main" id="{6D5C1F9E-5298-0893-F83B-8DC3C0EC17D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295274" y="5686380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bg1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2650035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ED1D766-A630-69EE-C8FF-2C06D4F147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764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D1D766-A630-69EE-C8FF-2C06D4F147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FD1F3F95-8F1D-9A9D-41FB-B771E151224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9F5B23B2-FEF2-DCC0-334E-3B80B3A03AE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35847737-8381-A612-E054-E1C098244CD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13" name="Source Placeholder">
            <a:extLst>
              <a:ext uri="{FF2B5EF4-FFF2-40B4-BE49-F238E27FC236}">
                <a16:creationId xmlns:a16="http://schemas.microsoft.com/office/drawing/2014/main" id="{81E36804-955F-07A1-88DF-9B603E5E262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3" name="Content Placeholder">
            <a:extLst>
              <a:ext uri="{FF2B5EF4-FFF2-40B4-BE49-F238E27FC236}">
                <a16:creationId xmlns:a16="http://schemas.microsoft.com/office/drawing/2014/main" id="{04974C89-D6D3-D29A-E142-BB21F4F82BF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ubtitle Placeholder">
            <a:extLst>
              <a:ext uri="{FF2B5EF4-FFF2-40B4-BE49-F238E27FC236}">
                <a16:creationId xmlns:a16="http://schemas.microsoft.com/office/drawing/2014/main" id="{D7CEFD0E-11F5-45EC-2759-A609F998C67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11" name="Title Placeholder">
            <a:extLst>
              <a:ext uri="{FF2B5EF4-FFF2-40B4-BE49-F238E27FC236}">
                <a16:creationId xmlns:a16="http://schemas.microsoft.com/office/drawing/2014/main" id="{063DF22F-A0F5-4EAA-7380-343ABC31C9B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516782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B3266AC3-82FC-876D-5F06-C1ECA847F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2294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266AC3-82FC-876D-5F06-C1ECA847F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tatic Light Bkgd">
            <a:extLst>
              <a:ext uri="{FF2B5EF4-FFF2-40B4-BE49-F238E27FC236}">
                <a16:creationId xmlns:a16="http://schemas.microsoft.com/office/drawing/2014/main" id="{D1093FDC-ACBE-C97A-79EC-30B506F3513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cxnSp>
        <p:nvCxnSpPr>
          <p:cNvPr id="10" name="Base Rule">
            <a:extLst>
              <a:ext uri="{FF2B5EF4-FFF2-40B4-BE49-F238E27FC236}">
                <a16:creationId xmlns:a16="http://schemas.microsoft.com/office/drawing/2014/main" id="{BF009615-489A-5DA8-222F-36CEB46D77B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292100" y="6395755"/>
            <a:ext cx="1160780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B92DD1CF-7FD4-0FD2-8A65-D0E8F92598D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pyright Line">
            <a:extLst>
              <a:ext uri="{FF2B5EF4-FFF2-40B4-BE49-F238E27FC236}">
                <a16:creationId xmlns:a16="http://schemas.microsoft.com/office/drawing/2014/main" id="{D18F1FC4-106D-3BF8-BC65-D648A021FC0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9167809" y="6526849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BBBBBB"/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rgbClr val="BBBBBB"/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dirty="0">
                <a:solidFill>
                  <a:srgbClr val="BBBBBB"/>
                </a:solidFill>
              </a:rPr>
              <a:t> Nielsen Consumer LLC. All Rights Reserved.</a:t>
            </a:r>
          </a:p>
        </p:txBody>
      </p:sp>
      <p:sp>
        <p:nvSpPr>
          <p:cNvPr id="9" name="Confidential disclaimer">
            <a:extLst>
              <a:ext uri="{FF2B5EF4-FFF2-40B4-BE49-F238E27FC236}">
                <a16:creationId xmlns:a16="http://schemas.microsoft.com/office/drawing/2014/main" id="{60EB3927-CDFF-ACD9-F0B3-0FEB504E449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24" name="Footer Placeholder">
            <a:extLst>
              <a:ext uri="{FF2B5EF4-FFF2-40B4-BE49-F238E27FC236}">
                <a16:creationId xmlns:a16="http://schemas.microsoft.com/office/drawing/2014/main" id="{0F37A136-F043-61EC-31AE-F924E1D07F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23" name="Date Placeholder">
            <a:extLst>
              <a:ext uri="{FF2B5EF4-FFF2-40B4-BE49-F238E27FC236}">
                <a16:creationId xmlns:a16="http://schemas.microsoft.com/office/drawing/2014/main" id="{F83B0E1B-C679-1FAD-01A8-07BEC0BB80C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811C7246-8A71-F257-DB0D-3E1F23CE69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/>
          </p:nvPr>
        </p:nvSpPr>
        <p:spPr>
          <a:xfrm>
            <a:off x="292100" y="3945964"/>
            <a:ext cx="7121979" cy="1500187"/>
          </a:xfrm>
        </p:spPr>
        <p:txBody>
          <a:bodyPr>
            <a:noAutofit/>
          </a:bodyPr>
          <a:lstStyle>
            <a:lvl1pPr marL="0" indent="0" rtl="0">
              <a:buNone/>
              <a:defRPr sz="2000">
                <a:solidFill>
                  <a:srgbClr val="55555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D9E3A23B-F3DB-B7EF-DCB8-D944C23E6D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1219200"/>
            <a:ext cx="7121979" cy="2401887"/>
          </a:xfrm>
        </p:spPr>
        <p:txBody>
          <a:bodyPr vert="horz" anchor="b">
            <a:noAutofit/>
          </a:bodyPr>
          <a:lstStyle>
            <a:lvl1pPr rtl="0">
              <a:defRPr sz="4400">
                <a:solidFill>
                  <a:srgbClr val="555555"/>
                </a:solidFill>
              </a:defRPr>
            </a:lvl1pPr>
          </a:lstStyle>
          <a:p>
            <a:r>
              <a:rPr lang="en-US" dirty="0"/>
              <a:t>Insert your section header title here maximum of </a:t>
            </a:r>
            <a:r>
              <a:rPr lang="en-US"/>
              <a:t>three lines</a:t>
            </a:r>
            <a:endParaRPr lang="en-US" dirty="0"/>
          </a:p>
        </p:txBody>
      </p:sp>
      <p:pic>
        <p:nvPicPr>
          <p:cNvPr id="4" name="NIQ GFK Lockup" hidden="1">
            <a:extLst>
              <a:ext uri="{FF2B5EF4-FFF2-40B4-BE49-F238E27FC236}">
                <a16:creationId xmlns:a16="http://schemas.microsoft.com/office/drawing/2014/main" id="{7DAD8AF9-6DCC-3308-0439-101A1738A84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02626" y="6462285"/>
            <a:ext cx="906224" cy="329184"/>
          </a:xfrm>
          <a:prstGeom prst="rect">
            <a:avLst/>
          </a:prstGeom>
        </p:spPr>
      </p:pic>
      <p:pic>
        <p:nvPicPr>
          <p:cNvPr id="26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B813BB00-9632-73B0-6654-E6FB69F66A0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130" y="6495154"/>
            <a:ext cx="781433" cy="269593"/>
          </a:xfrm>
          <a:prstGeom prst="rect">
            <a:avLst/>
          </a:prstGeom>
        </p:spPr>
      </p:pic>
      <p:pic>
        <p:nvPicPr>
          <p:cNvPr id="5" name="NIQ Logo">
            <a:extLst>
              <a:ext uri="{FF2B5EF4-FFF2-40B4-BE49-F238E27FC236}">
                <a16:creationId xmlns:a16="http://schemas.microsoft.com/office/drawing/2014/main" id="{3FE5C232-E7B5-5DDF-A7C7-8FF7A557AEE9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92100" y="6495101"/>
            <a:ext cx="645459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5101075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ED4E98AE-30C2-E4E7-E336-8B46A95DA7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946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4E98AE-30C2-E4E7-E336-8B46A95DA7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tatic Blue Bkgd">
            <a:extLst>
              <a:ext uri="{FF2B5EF4-FFF2-40B4-BE49-F238E27FC236}">
                <a16:creationId xmlns:a16="http://schemas.microsoft.com/office/drawing/2014/main" id="{D1093FDC-ACBE-C97A-79EC-30B506F3513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D6D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cxnSp>
        <p:nvCxnSpPr>
          <p:cNvPr id="10" name="Base Rule">
            <a:extLst>
              <a:ext uri="{FF2B5EF4-FFF2-40B4-BE49-F238E27FC236}">
                <a16:creationId xmlns:a16="http://schemas.microsoft.com/office/drawing/2014/main" id="{BF009615-489A-5DA8-222F-36CEB46D77B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292100" y="6395755"/>
            <a:ext cx="11607801" cy="0"/>
          </a:xfrm>
          <a:prstGeom prst="line">
            <a:avLst/>
          </a:prstGeom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4E97C96-6264-45A7-BD31-3F850D5B404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FFFFFF"/>
                </a:solidFill>
              </a:defRPr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pyright Line">
            <a:extLst>
              <a:ext uri="{FF2B5EF4-FFF2-40B4-BE49-F238E27FC236}">
                <a16:creationId xmlns:a16="http://schemas.microsoft.com/office/drawing/2014/main" id="{D18F1FC4-106D-3BF8-BC65-D648A021FC0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9167809" y="6526849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BBBBBB"/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rgbClr val="BBBBBB"/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dirty="0">
                <a:solidFill>
                  <a:srgbClr val="BBBBBB"/>
                </a:solidFill>
              </a:rPr>
              <a:t> Nielsen Consumer LLC. All Rights Reserved.</a:t>
            </a:r>
          </a:p>
        </p:txBody>
      </p:sp>
      <p:sp>
        <p:nvSpPr>
          <p:cNvPr id="11" name="Confidential disclaimer">
            <a:extLst>
              <a:ext uri="{FF2B5EF4-FFF2-40B4-BE49-F238E27FC236}">
                <a16:creationId xmlns:a16="http://schemas.microsoft.com/office/drawing/2014/main" id="{6DA018A3-AFD9-D355-AE28-82676195255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9E3F8F0F-7B47-2BB9-7F93-A25C99023E1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solidFill>
            <a:schemeClr val="accent1"/>
          </a:solidFill>
        </p:spPr>
        <p:txBody>
          <a:bodyPr/>
          <a:lstStyle>
            <a:lvl1pPr rtl="0"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51D28747-A5DD-1E44-1383-00C1095A0E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811C7246-8A71-F257-DB0D-3E1F23CE69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/>
          </p:nvPr>
        </p:nvSpPr>
        <p:spPr>
          <a:xfrm>
            <a:off x="292100" y="3945964"/>
            <a:ext cx="7121979" cy="1500187"/>
          </a:xfrm>
        </p:spPr>
        <p:txBody>
          <a:bodyPr>
            <a:noAutofit/>
          </a:bodyPr>
          <a:lstStyle>
            <a:lvl1pPr marL="0" indent="0" rtl="0">
              <a:buNone/>
              <a:defRPr sz="2000">
                <a:solidFill>
                  <a:srgbClr val="FFFFFF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D9E3A23B-F3DB-B7EF-DCB8-D944C23E6D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1219200"/>
            <a:ext cx="7121979" cy="2401887"/>
          </a:xfrm>
        </p:spPr>
        <p:txBody>
          <a:bodyPr vert="horz" anchor="b">
            <a:noAutofit/>
          </a:bodyPr>
          <a:lstStyle>
            <a:lvl1pPr rtl="0">
              <a:defRPr sz="4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Insert your section header title here maximum of </a:t>
            </a:r>
            <a:r>
              <a:rPr lang="en-US"/>
              <a:t>three lines</a:t>
            </a:r>
            <a:endParaRPr lang="en-US" dirty="0"/>
          </a:p>
        </p:txBody>
      </p:sp>
      <p:pic>
        <p:nvPicPr>
          <p:cNvPr id="14" name="NIQ GFK Lockup" hidden="1">
            <a:extLst>
              <a:ext uri="{FF2B5EF4-FFF2-40B4-BE49-F238E27FC236}">
                <a16:creationId xmlns:a16="http://schemas.microsoft.com/office/drawing/2014/main" id="{EAEBAA35-FD7E-BA1F-342A-81B244F88CF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5"/>
          <a:srcRect l="23" r="23"/>
          <a:stretch/>
        </p:blipFill>
        <p:spPr>
          <a:xfrm>
            <a:off x="302626" y="6462285"/>
            <a:ext cx="906224" cy="329184"/>
          </a:xfrm>
          <a:prstGeom prst="rect">
            <a:avLst/>
          </a:prstGeom>
        </p:spPr>
      </p:pic>
      <p:pic>
        <p:nvPicPr>
          <p:cNvPr id="25" name="NielsenIQ logo+wordmark" hidden="1">
            <a:extLst>
              <a:ext uri="{FF2B5EF4-FFF2-40B4-BE49-F238E27FC236}">
                <a16:creationId xmlns:a16="http://schemas.microsoft.com/office/drawing/2014/main" id="{598FBCD8-A3EE-4A06-6724-A1F5D702756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0132" y="6495154"/>
            <a:ext cx="781428" cy="269593"/>
          </a:xfrm>
          <a:prstGeom prst="rect">
            <a:avLst/>
          </a:prstGeom>
        </p:spPr>
      </p:pic>
      <p:pic>
        <p:nvPicPr>
          <p:cNvPr id="22" name="NIQ Logo">
            <a:extLst>
              <a:ext uri="{FF2B5EF4-FFF2-40B4-BE49-F238E27FC236}">
                <a16:creationId xmlns:a16="http://schemas.microsoft.com/office/drawing/2014/main" id="{C3AC3518-07F7-E20B-4D4C-9D6C3D043778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92100" y="6495101"/>
            <a:ext cx="645459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528179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F198668-D1C9-E85B-9C42-00E0DB7D1F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5565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198668-D1C9-E85B-9C42-00E0DB7D1F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tatic Dark Bkgd">
            <a:extLst>
              <a:ext uri="{FF2B5EF4-FFF2-40B4-BE49-F238E27FC236}">
                <a16:creationId xmlns:a16="http://schemas.microsoft.com/office/drawing/2014/main" id="{D1093FDC-ACBE-C97A-79EC-30B506F3513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60A4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cxnSp>
        <p:nvCxnSpPr>
          <p:cNvPr id="10" name="Base Rule">
            <a:extLst>
              <a:ext uri="{FF2B5EF4-FFF2-40B4-BE49-F238E27FC236}">
                <a16:creationId xmlns:a16="http://schemas.microsoft.com/office/drawing/2014/main" id="{BF009615-489A-5DA8-222F-36CEB46D77B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292100" y="6395755"/>
            <a:ext cx="11607801" cy="0"/>
          </a:xfrm>
          <a:prstGeom prst="line">
            <a:avLst/>
          </a:prstGeom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4E97C96-6264-45A7-BD31-3F850D5B404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FFFFFF"/>
                </a:solidFill>
              </a:defRPr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pyright Line">
            <a:extLst>
              <a:ext uri="{FF2B5EF4-FFF2-40B4-BE49-F238E27FC236}">
                <a16:creationId xmlns:a16="http://schemas.microsoft.com/office/drawing/2014/main" id="{D18F1FC4-106D-3BF8-BC65-D648A021FC0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9167809" y="6526849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BBBBBB"/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rgbClr val="BBBBBB"/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dirty="0">
                <a:solidFill>
                  <a:srgbClr val="BBBBBB"/>
                </a:solidFill>
              </a:rPr>
              <a:t> Nielsen Consumer LLC. All Rights Reserved.</a:t>
            </a:r>
          </a:p>
        </p:txBody>
      </p:sp>
      <p:sp>
        <p:nvSpPr>
          <p:cNvPr id="11" name="Confidential disclaimer">
            <a:extLst>
              <a:ext uri="{FF2B5EF4-FFF2-40B4-BE49-F238E27FC236}">
                <a16:creationId xmlns:a16="http://schemas.microsoft.com/office/drawing/2014/main" id="{E92240A2-16A2-92E0-CB79-8A8DDCBFE3B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9E3F8F0F-7B47-2BB9-7F93-A25C99023E1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solidFill>
            <a:schemeClr val="tx2"/>
          </a:solidFill>
        </p:spPr>
        <p:txBody>
          <a:bodyPr/>
          <a:lstStyle>
            <a:lvl1pPr rtl="0"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51D28747-A5DD-1E44-1383-00C1095A0E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811C7246-8A71-F257-DB0D-3E1F23CE69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/>
          </p:nvPr>
        </p:nvSpPr>
        <p:spPr>
          <a:xfrm>
            <a:off x="292100" y="3945964"/>
            <a:ext cx="7121979" cy="1500187"/>
          </a:xfrm>
        </p:spPr>
        <p:txBody>
          <a:bodyPr>
            <a:noAutofit/>
          </a:bodyPr>
          <a:lstStyle>
            <a:lvl1pPr marL="0" indent="0" rtl="0">
              <a:buNone/>
              <a:defRPr sz="2000">
                <a:solidFill>
                  <a:srgbClr val="FFFFFF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D9E3A23B-F3DB-B7EF-DCB8-D944C23E6D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1219200"/>
            <a:ext cx="7121979" cy="2401887"/>
          </a:xfrm>
        </p:spPr>
        <p:txBody>
          <a:bodyPr vert="horz" anchor="b">
            <a:noAutofit/>
          </a:bodyPr>
          <a:lstStyle>
            <a:lvl1pPr rtl="0">
              <a:defRPr sz="4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Insert your section header title here maximum of </a:t>
            </a:r>
            <a:r>
              <a:rPr lang="en-US"/>
              <a:t>three lines</a:t>
            </a:r>
            <a:endParaRPr lang="en-US" dirty="0"/>
          </a:p>
        </p:txBody>
      </p:sp>
      <p:pic>
        <p:nvPicPr>
          <p:cNvPr id="9" name="NIQ GFK Lockup" hidden="1">
            <a:extLst>
              <a:ext uri="{FF2B5EF4-FFF2-40B4-BE49-F238E27FC236}">
                <a16:creationId xmlns:a16="http://schemas.microsoft.com/office/drawing/2014/main" id="{F72C93F2-029A-F706-FCA1-C00C6620AA84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 rotWithShape="1">
          <a:blip r:embed="rId5"/>
          <a:srcRect l="23" r="23"/>
          <a:stretch/>
        </p:blipFill>
        <p:spPr>
          <a:xfrm>
            <a:off x="302626" y="6462285"/>
            <a:ext cx="906224" cy="329184"/>
          </a:xfrm>
          <a:prstGeom prst="rect">
            <a:avLst/>
          </a:prstGeom>
        </p:spPr>
      </p:pic>
      <p:pic>
        <p:nvPicPr>
          <p:cNvPr id="24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30EA2721-2669-7CC1-263F-E48ACB34B73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130" y="6495154"/>
            <a:ext cx="781433" cy="269593"/>
          </a:xfrm>
          <a:prstGeom prst="rect">
            <a:avLst/>
          </a:prstGeom>
        </p:spPr>
      </p:pic>
      <p:pic>
        <p:nvPicPr>
          <p:cNvPr id="22" name="NIQ Logo">
            <a:extLst>
              <a:ext uri="{FF2B5EF4-FFF2-40B4-BE49-F238E27FC236}">
                <a16:creationId xmlns:a16="http://schemas.microsoft.com/office/drawing/2014/main" id="{C2F586F8-1BDB-2AFF-F8FE-C01DC3808778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92100" y="6495101"/>
            <a:ext cx="645459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7994364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with Sideba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B988FB6-A3BC-655F-464F-69DC28B46D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3838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988FB6-A3BC-655F-464F-69DC28B46D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tatic Light Bkgd">
            <a:extLst>
              <a:ext uri="{FF2B5EF4-FFF2-40B4-BE49-F238E27FC236}">
                <a16:creationId xmlns:a16="http://schemas.microsoft.com/office/drawing/2014/main" id="{D1093FDC-ACBE-C97A-79EC-30B506F3513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1" name="Block Bkgd">
            <a:extLst>
              <a:ext uri="{FF2B5EF4-FFF2-40B4-BE49-F238E27FC236}">
                <a16:creationId xmlns:a16="http://schemas.microsoft.com/office/drawing/2014/main" id="{61051253-1566-C6AD-277E-C41693FE3B9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400291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US" dirty="0"/>
          </a:p>
        </p:txBody>
      </p:sp>
      <p:cxnSp>
        <p:nvCxnSpPr>
          <p:cNvPr id="16" name="Base Rule">
            <a:extLst>
              <a:ext uri="{FF2B5EF4-FFF2-40B4-BE49-F238E27FC236}">
                <a16:creationId xmlns:a16="http://schemas.microsoft.com/office/drawing/2014/main" id="{A76E5B64-AFD0-1002-8187-608F612A25A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237038" y="6395755"/>
            <a:ext cx="7662863" cy="0"/>
          </a:xfrm>
          <a:prstGeom prst="line">
            <a:avLst/>
          </a:prstGeom>
          <a:ln w="12700">
            <a:solidFill>
              <a:srgbClr val="5555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lide Number Placeholder">
            <a:extLst>
              <a:ext uri="{FF2B5EF4-FFF2-40B4-BE49-F238E27FC236}">
                <a16:creationId xmlns:a16="http://schemas.microsoft.com/office/drawing/2014/main" id="{6FB508FF-12E5-30CD-260F-1D79AD32367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85399"/>
            <a:ext cx="404321" cy="282957"/>
          </a:xfrm>
        </p:spPr>
        <p:txBody>
          <a:bodyPr/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Copyright Line">
            <a:extLst>
              <a:ext uri="{FF2B5EF4-FFF2-40B4-BE49-F238E27FC236}">
                <a16:creationId xmlns:a16="http://schemas.microsoft.com/office/drawing/2014/main" id="{148E64DD-C38D-F907-E20C-F3A4311DD32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9167809" y="6526850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Nielsen Consumer LLC. All Rights Reserved.</a:t>
            </a:r>
          </a:p>
        </p:txBody>
      </p:sp>
      <p:sp>
        <p:nvSpPr>
          <p:cNvPr id="14" name="Confidential disclaimer">
            <a:extLst>
              <a:ext uri="{FF2B5EF4-FFF2-40B4-BE49-F238E27FC236}">
                <a16:creationId xmlns:a16="http://schemas.microsoft.com/office/drawing/2014/main" id="{8190ED14-46E2-2B63-6E09-DC52ACE59C3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26" name="Footer Placeholder">
            <a:extLst>
              <a:ext uri="{FF2B5EF4-FFF2-40B4-BE49-F238E27FC236}">
                <a16:creationId xmlns:a16="http://schemas.microsoft.com/office/drawing/2014/main" id="{E183FCE9-1380-C908-3210-D1CC81C316C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4237038" y="6485399"/>
            <a:ext cx="3056524" cy="282957"/>
          </a:xfrm>
        </p:spPr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10" name="Source Placeholder">
            <a:extLst>
              <a:ext uri="{FF2B5EF4-FFF2-40B4-BE49-F238E27FC236}">
                <a16:creationId xmlns:a16="http://schemas.microsoft.com/office/drawing/2014/main" id="{77FED749-9C39-81DD-7428-E91EAF740A9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4237036" y="6108700"/>
            <a:ext cx="7662864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13" name="Content Placeholder">
            <a:extLst>
              <a:ext uri="{FF2B5EF4-FFF2-40B4-BE49-F238E27FC236}">
                <a16:creationId xmlns:a16="http://schemas.microsoft.com/office/drawing/2014/main" id="{4EA26CDB-5FFD-8E65-BB9F-B583607F097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5"/>
          </p:nvPr>
        </p:nvSpPr>
        <p:spPr>
          <a:xfrm>
            <a:off x="4237038" y="1219200"/>
            <a:ext cx="7662862" cy="44577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811C7246-8A71-F257-DB0D-3E1F23CE69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0" y="3945964"/>
            <a:ext cx="3409043" cy="1500187"/>
          </a:xfrm>
        </p:spPr>
        <p:txBody>
          <a:bodyPr>
            <a:noAutofit/>
          </a:bodyPr>
          <a:lstStyle>
            <a:lvl1pPr marL="0" indent="0" rtl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subtitle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D9E3A23B-F3DB-B7EF-DCB8-D944C23E6D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1219200"/>
            <a:ext cx="3409043" cy="2401887"/>
          </a:xfrm>
        </p:spPr>
        <p:txBody>
          <a:bodyPr vert="horz" anchor="b">
            <a:noAutofit/>
          </a:bodyPr>
          <a:lstStyle>
            <a:lvl1pPr rtl="0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header</a:t>
            </a:r>
            <a:endParaRPr lang="en-US" dirty="0"/>
          </a:p>
        </p:txBody>
      </p:sp>
      <p:pic>
        <p:nvPicPr>
          <p:cNvPr id="4" name="NIQ GFK Lockup" hidden="1">
            <a:extLst>
              <a:ext uri="{FF2B5EF4-FFF2-40B4-BE49-F238E27FC236}">
                <a16:creationId xmlns:a16="http://schemas.microsoft.com/office/drawing/2014/main" id="{EA4F8456-F302-1F9F-CB79-F96F7FF403B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02626" y="6462285"/>
            <a:ext cx="906224" cy="329184"/>
          </a:xfrm>
          <a:prstGeom prst="rect">
            <a:avLst/>
          </a:prstGeom>
        </p:spPr>
      </p:pic>
      <p:pic>
        <p:nvPicPr>
          <p:cNvPr id="5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E5214B10-6ABB-0EB3-4E33-9E9E477DD15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130" y="6495154"/>
            <a:ext cx="781433" cy="269593"/>
          </a:xfrm>
          <a:prstGeom prst="rect">
            <a:avLst/>
          </a:prstGeom>
        </p:spPr>
      </p:pic>
      <p:pic>
        <p:nvPicPr>
          <p:cNvPr id="6" name="NIQ Logo">
            <a:extLst>
              <a:ext uri="{FF2B5EF4-FFF2-40B4-BE49-F238E27FC236}">
                <a16:creationId xmlns:a16="http://schemas.microsoft.com/office/drawing/2014/main" id="{A9B1FD76-BF8D-8EEE-6EC7-E0AC284E58CD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92100" y="6495101"/>
            <a:ext cx="645459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0127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with Blue Sideba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709E2E49-7146-4641-7709-82F6D75E06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7362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9E2E49-7146-4641-7709-82F6D75E06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tatic Light Bkgd">
            <a:extLst>
              <a:ext uri="{FF2B5EF4-FFF2-40B4-BE49-F238E27FC236}">
                <a16:creationId xmlns:a16="http://schemas.microsoft.com/office/drawing/2014/main" id="{D1093FDC-ACBE-C97A-79EC-30B506F3513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1" name="Block Bkgd">
            <a:extLst>
              <a:ext uri="{FF2B5EF4-FFF2-40B4-BE49-F238E27FC236}">
                <a16:creationId xmlns:a16="http://schemas.microsoft.com/office/drawing/2014/main" id="{61051253-1566-C6AD-277E-C41693FE3B9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400291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US" dirty="0"/>
          </a:p>
        </p:txBody>
      </p:sp>
      <p:cxnSp>
        <p:nvCxnSpPr>
          <p:cNvPr id="16" name="Base Rule">
            <a:extLst>
              <a:ext uri="{FF2B5EF4-FFF2-40B4-BE49-F238E27FC236}">
                <a16:creationId xmlns:a16="http://schemas.microsoft.com/office/drawing/2014/main" id="{A76E5B64-AFD0-1002-8187-608F612A25A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237038" y="6395755"/>
            <a:ext cx="7662863" cy="0"/>
          </a:xfrm>
          <a:prstGeom prst="line">
            <a:avLst/>
          </a:prstGeom>
          <a:ln w="12700">
            <a:solidFill>
              <a:srgbClr val="5555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lide Number Placeholder">
            <a:extLst>
              <a:ext uri="{FF2B5EF4-FFF2-40B4-BE49-F238E27FC236}">
                <a16:creationId xmlns:a16="http://schemas.microsoft.com/office/drawing/2014/main" id="{6FB508FF-12E5-30CD-260F-1D79AD32367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pyright Line">
            <a:extLst>
              <a:ext uri="{FF2B5EF4-FFF2-40B4-BE49-F238E27FC236}">
                <a16:creationId xmlns:a16="http://schemas.microsoft.com/office/drawing/2014/main" id="{785C4202-84F8-8C2C-1D92-57E97078C48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9167809" y="6526850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Nielsen Consumer LLC. All Rights Reserved.</a:t>
            </a:r>
          </a:p>
        </p:txBody>
      </p:sp>
      <p:sp>
        <p:nvSpPr>
          <p:cNvPr id="13" name="Confidential disclaimer">
            <a:extLst>
              <a:ext uri="{FF2B5EF4-FFF2-40B4-BE49-F238E27FC236}">
                <a16:creationId xmlns:a16="http://schemas.microsoft.com/office/drawing/2014/main" id="{E096164C-17A9-3CC9-A52F-D0B4EEA62BD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26" name="Footer Placeholder">
            <a:extLst>
              <a:ext uri="{FF2B5EF4-FFF2-40B4-BE49-F238E27FC236}">
                <a16:creationId xmlns:a16="http://schemas.microsoft.com/office/drawing/2014/main" id="{E183FCE9-1380-C908-3210-D1CC81C316C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4237038" y="6485399"/>
            <a:ext cx="3056523" cy="282957"/>
          </a:xfrm>
        </p:spPr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4" name="Source Placeholder">
            <a:extLst>
              <a:ext uri="{FF2B5EF4-FFF2-40B4-BE49-F238E27FC236}">
                <a16:creationId xmlns:a16="http://schemas.microsoft.com/office/drawing/2014/main" id="{7336FA02-79CA-726F-511F-D79250B8761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4237036" y="6108700"/>
            <a:ext cx="7662864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10" name="Content Placeholder">
            <a:extLst>
              <a:ext uri="{FF2B5EF4-FFF2-40B4-BE49-F238E27FC236}">
                <a16:creationId xmlns:a16="http://schemas.microsoft.com/office/drawing/2014/main" id="{F249C353-5497-424D-4C80-DA025B85CF0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5"/>
          </p:nvPr>
        </p:nvSpPr>
        <p:spPr>
          <a:xfrm>
            <a:off x="4237038" y="1219200"/>
            <a:ext cx="7662862" cy="44577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811C7246-8A71-F257-DB0D-3E1F23CE69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0" y="3945964"/>
            <a:ext cx="3409043" cy="1500187"/>
          </a:xfrm>
        </p:spPr>
        <p:txBody>
          <a:bodyPr>
            <a:noAutofit/>
          </a:bodyPr>
          <a:lstStyle>
            <a:lvl1pPr marL="0" indent="0" rtl="0">
              <a:buNone/>
              <a:defRPr sz="2000">
                <a:solidFill>
                  <a:srgbClr val="FFFFFF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subtitle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D9E3A23B-F3DB-B7EF-DCB8-D944C23E6D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1219200"/>
            <a:ext cx="3409043" cy="2401887"/>
          </a:xfrm>
        </p:spPr>
        <p:txBody>
          <a:bodyPr vert="horz" anchor="b">
            <a:noAutofit/>
          </a:bodyPr>
          <a:lstStyle>
            <a:lvl1pPr rtl="0">
              <a:defRPr sz="4400">
                <a:solidFill>
                  <a:srgbClr val="FFFFFF"/>
                </a:solidFill>
              </a:defRPr>
            </a:lvl1pPr>
          </a:lstStyle>
          <a:p>
            <a:r>
              <a:rPr lang="en-US"/>
              <a:t>Section header</a:t>
            </a:r>
            <a:endParaRPr lang="en-US" dirty="0"/>
          </a:p>
        </p:txBody>
      </p:sp>
      <p:pic>
        <p:nvPicPr>
          <p:cNvPr id="6" name="NIQ GFK Lockup" hidden="1">
            <a:extLst>
              <a:ext uri="{FF2B5EF4-FFF2-40B4-BE49-F238E27FC236}">
                <a16:creationId xmlns:a16="http://schemas.microsoft.com/office/drawing/2014/main" id="{EF6F7CF4-822A-D8B2-DFDA-1C3EAA869029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 rotWithShape="1">
          <a:blip r:embed="rId5"/>
          <a:srcRect l="23" r="23"/>
          <a:stretch/>
        </p:blipFill>
        <p:spPr>
          <a:xfrm>
            <a:off x="302626" y="6462285"/>
            <a:ext cx="906224" cy="329184"/>
          </a:xfrm>
          <a:prstGeom prst="rect">
            <a:avLst/>
          </a:prstGeom>
        </p:spPr>
      </p:pic>
      <p:pic>
        <p:nvPicPr>
          <p:cNvPr id="5" name="NielsenIQ logo+wordmark" hidden="1">
            <a:extLst>
              <a:ext uri="{FF2B5EF4-FFF2-40B4-BE49-F238E27FC236}">
                <a16:creationId xmlns:a16="http://schemas.microsoft.com/office/drawing/2014/main" id="{32C28E02-2118-88F0-2B78-22254A5F217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0132" y="6495154"/>
            <a:ext cx="781428" cy="269593"/>
          </a:xfrm>
          <a:prstGeom prst="rect">
            <a:avLst/>
          </a:prstGeom>
        </p:spPr>
      </p:pic>
      <p:pic>
        <p:nvPicPr>
          <p:cNvPr id="9" name="NIQ Logo">
            <a:extLst>
              <a:ext uri="{FF2B5EF4-FFF2-40B4-BE49-F238E27FC236}">
                <a16:creationId xmlns:a16="http://schemas.microsoft.com/office/drawing/2014/main" id="{557F1CC3-9C99-3BC3-AD92-FB8503D927CF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92100" y="6495101"/>
            <a:ext cx="645459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3183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with Dark Sideba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F8228E36-6F79-7346-6F2D-053277AC7B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9689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228E36-6F79-7346-6F2D-053277AC7B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tatic Light Bkgd">
            <a:extLst>
              <a:ext uri="{FF2B5EF4-FFF2-40B4-BE49-F238E27FC236}">
                <a16:creationId xmlns:a16="http://schemas.microsoft.com/office/drawing/2014/main" id="{D1093FDC-ACBE-C97A-79EC-30B506F3513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1" name="Block Bkgd">
            <a:extLst>
              <a:ext uri="{FF2B5EF4-FFF2-40B4-BE49-F238E27FC236}">
                <a16:creationId xmlns:a16="http://schemas.microsoft.com/office/drawing/2014/main" id="{61051253-1566-C6AD-277E-C41693FE3B9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4002916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US" dirty="0"/>
          </a:p>
        </p:txBody>
      </p:sp>
      <p:cxnSp>
        <p:nvCxnSpPr>
          <p:cNvPr id="16" name="Base Rule">
            <a:extLst>
              <a:ext uri="{FF2B5EF4-FFF2-40B4-BE49-F238E27FC236}">
                <a16:creationId xmlns:a16="http://schemas.microsoft.com/office/drawing/2014/main" id="{A76E5B64-AFD0-1002-8187-608F612A25A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237038" y="6395755"/>
            <a:ext cx="7662863" cy="0"/>
          </a:xfrm>
          <a:prstGeom prst="line">
            <a:avLst/>
          </a:prstGeom>
          <a:ln w="12700">
            <a:solidFill>
              <a:srgbClr val="5555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lide Number Placeholder">
            <a:extLst>
              <a:ext uri="{FF2B5EF4-FFF2-40B4-BE49-F238E27FC236}">
                <a16:creationId xmlns:a16="http://schemas.microsoft.com/office/drawing/2014/main" id="{6FB508FF-12E5-30CD-260F-1D79AD32367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pyright Line">
            <a:extLst>
              <a:ext uri="{FF2B5EF4-FFF2-40B4-BE49-F238E27FC236}">
                <a16:creationId xmlns:a16="http://schemas.microsoft.com/office/drawing/2014/main" id="{ABBC6E03-863D-FD63-7C57-491D7ADA71A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9167809" y="6526850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Nielsen Consumer LLC. All Rights Reserved.</a:t>
            </a:r>
          </a:p>
        </p:txBody>
      </p:sp>
      <p:sp>
        <p:nvSpPr>
          <p:cNvPr id="4" name="Confidential disclaimer">
            <a:extLst>
              <a:ext uri="{FF2B5EF4-FFF2-40B4-BE49-F238E27FC236}">
                <a16:creationId xmlns:a16="http://schemas.microsoft.com/office/drawing/2014/main" id="{C0846810-8BC5-01F8-F631-25773D83754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26" name="Footer Placeholder">
            <a:extLst>
              <a:ext uri="{FF2B5EF4-FFF2-40B4-BE49-F238E27FC236}">
                <a16:creationId xmlns:a16="http://schemas.microsoft.com/office/drawing/2014/main" id="{E183FCE9-1380-C908-3210-D1CC81C316C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4237038" y="6485399"/>
            <a:ext cx="3056524" cy="282957"/>
          </a:xfrm>
        </p:spPr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10" name="Source Placeholder">
            <a:extLst>
              <a:ext uri="{FF2B5EF4-FFF2-40B4-BE49-F238E27FC236}">
                <a16:creationId xmlns:a16="http://schemas.microsoft.com/office/drawing/2014/main" id="{77FED749-9C39-81DD-7428-E91EAF740A9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4237036" y="6108700"/>
            <a:ext cx="7662864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13" name="Content Placeholder">
            <a:extLst>
              <a:ext uri="{FF2B5EF4-FFF2-40B4-BE49-F238E27FC236}">
                <a16:creationId xmlns:a16="http://schemas.microsoft.com/office/drawing/2014/main" id="{4EA26CDB-5FFD-8E65-BB9F-B583607F097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5"/>
          </p:nvPr>
        </p:nvSpPr>
        <p:spPr>
          <a:xfrm>
            <a:off x="4237038" y="1219200"/>
            <a:ext cx="7662862" cy="44577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811C7246-8A71-F257-DB0D-3E1F23CE69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0" y="3945964"/>
            <a:ext cx="3409043" cy="1500187"/>
          </a:xfrm>
        </p:spPr>
        <p:txBody>
          <a:bodyPr>
            <a:noAutofit/>
          </a:bodyPr>
          <a:lstStyle>
            <a:lvl1pPr marL="0" indent="0" rtl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subtitle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D9E3A23B-F3DB-B7EF-DCB8-D944C23E6D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1219200"/>
            <a:ext cx="3409043" cy="2401887"/>
          </a:xfrm>
        </p:spPr>
        <p:txBody>
          <a:bodyPr vert="horz" anchor="b">
            <a:noAutofit/>
          </a:bodyPr>
          <a:lstStyle>
            <a:lvl1pPr rtl="0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header</a:t>
            </a:r>
            <a:endParaRPr lang="en-US" dirty="0"/>
          </a:p>
        </p:txBody>
      </p:sp>
      <p:pic>
        <p:nvPicPr>
          <p:cNvPr id="8" name="NIQ GFK Lockup" hidden="1">
            <a:extLst>
              <a:ext uri="{FF2B5EF4-FFF2-40B4-BE49-F238E27FC236}">
                <a16:creationId xmlns:a16="http://schemas.microsoft.com/office/drawing/2014/main" id="{23E903F1-B6FB-BED6-3501-293C1130DA4F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 rotWithShape="1">
          <a:blip r:embed="rId5"/>
          <a:srcRect l="23" r="23"/>
          <a:stretch/>
        </p:blipFill>
        <p:spPr>
          <a:xfrm>
            <a:off x="302626" y="6462285"/>
            <a:ext cx="906224" cy="329184"/>
          </a:xfrm>
          <a:prstGeom prst="rect">
            <a:avLst/>
          </a:prstGeom>
        </p:spPr>
      </p:pic>
      <p:pic>
        <p:nvPicPr>
          <p:cNvPr id="5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E5214B10-6ABB-0EB3-4E33-9E9E477DD15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130" y="6495154"/>
            <a:ext cx="781433" cy="269593"/>
          </a:xfrm>
          <a:prstGeom prst="rect">
            <a:avLst/>
          </a:prstGeom>
        </p:spPr>
      </p:pic>
      <p:pic>
        <p:nvPicPr>
          <p:cNvPr id="6" name="NIQ Logo">
            <a:extLst>
              <a:ext uri="{FF2B5EF4-FFF2-40B4-BE49-F238E27FC236}">
                <a16:creationId xmlns:a16="http://schemas.microsoft.com/office/drawing/2014/main" id="{A9B1FD76-BF8D-8EEE-6EC7-E0AC284E58CD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92100" y="6495101"/>
            <a:ext cx="645459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45406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44DD6788-387A-8235-8EA1-4EF79E4611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8298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DD6788-387A-8235-8EA1-4EF79E4611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48587361-5CC7-9C7F-BD1C-0A8CE32B90E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889C55DD-275C-EFE2-8883-9CF82493650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Date Placeholder">
            <a:extLst>
              <a:ext uri="{FF2B5EF4-FFF2-40B4-BE49-F238E27FC236}">
                <a16:creationId xmlns:a16="http://schemas.microsoft.com/office/drawing/2014/main" id="{66F49418-AA9F-5CA7-31F1-168499F3D8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12" name="Source Placeholder">
            <a:extLst>
              <a:ext uri="{FF2B5EF4-FFF2-40B4-BE49-F238E27FC236}">
                <a16:creationId xmlns:a16="http://schemas.microsoft.com/office/drawing/2014/main" id="{E0FBE8A5-CBE4-7896-370D-0C351238E6E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6" name="Content 2 Placeholder">
            <a:extLst>
              <a:ext uri="{FF2B5EF4-FFF2-40B4-BE49-F238E27FC236}">
                <a16:creationId xmlns:a16="http://schemas.microsoft.com/office/drawing/2014/main" id="{F2EB2B90-CA72-0453-8C46-7140538197A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4" hasCustomPrompt="1"/>
          </p:nvPr>
        </p:nvSpPr>
        <p:spPr>
          <a:xfrm>
            <a:off x="6210300" y="2019300"/>
            <a:ext cx="5673720" cy="36576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Header 2 Placeholder">
            <a:extLst>
              <a:ext uri="{FF2B5EF4-FFF2-40B4-BE49-F238E27FC236}">
                <a16:creationId xmlns:a16="http://schemas.microsoft.com/office/drawing/2014/main" id="{ADF8391B-E110-2D12-ED6A-D8681E86875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" hasCustomPrompt="1"/>
          </p:nvPr>
        </p:nvSpPr>
        <p:spPr>
          <a:xfrm>
            <a:off x="6210300" y="1308100"/>
            <a:ext cx="5689598" cy="620525"/>
          </a:xfrm>
        </p:spPr>
        <p:txBody>
          <a:bodyPr anchor="b">
            <a:noAutofit/>
          </a:bodyPr>
          <a:lstStyle>
            <a:lvl1pPr marL="0" indent="0" rtl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column header</a:t>
            </a:r>
          </a:p>
        </p:txBody>
      </p:sp>
      <p:sp>
        <p:nvSpPr>
          <p:cNvPr id="4" name="Content 1 Placeholder">
            <a:extLst>
              <a:ext uri="{FF2B5EF4-FFF2-40B4-BE49-F238E27FC236}">
                <a16:creationId xmlns:a16="http://schemas.microsoft.com/office/drawing/2014/main" id="{984C70C1-C2F6-EFE6-3AEB-EEEE97D8D82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292101" y="2019300"/>
            <a:ext cx="5673721" cy="36576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Header 1 Placeholder">
            <a:extLst>
              <a:ext uri="{FF2B5EF4-FFF2-40B4-BE49-F238E27FC236}">
                <a16:creationId xmlns:a16="http://schemas.microsoft.com/office/drawing/2014/main" id="{E16F9965-5453-60FF-D1EB-3A608CF7F7B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1" y="1308100"/>
            <a:ext cx="5689598" cy="620525"/>
          </a:xfrm>
        </p:spPr>
        <p:txBody>
          <a:bodyPr anchor="b">
            <a:noAutofit/>
          </a:bodyPr>
          <a:lstStyle>
            <a:lvl1pPr marL="0" indent="0" rtl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column header</a:t>
            </a:r>
          </a:p>
        </p:txBody>
      </p:sp>
      <p:sp>
        <p:nvSpPr>
          <p:cNvPr id="14" name="Subtitle Placeholder">
            <a:extLst>
              <a:ext uri="{FF2B5EF4-FFF2-40B4-BE49-F238E27FC236}">
                <a16:creationId xmlns:a16="http://schemas.microsoft.com/office/drawing/2014/main" id="{3C3EBBEC-21F2-1AF3-1FA2-6C8052756C7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13" name="Title Placeholder">
            <a:extLst>
              <a:ext uri="{FF2B5EF4-FFF2-40B4-BE49-F238E27FC236}">
                <a16:creationId xmlns:a16="http://schemas.microsoft.com/office/drawing/2014/main" id="{31A8EC3A-084E-1F49-0F96-E9263F03E1F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038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768">
          <p15:clr>
            <a:srgbClr val="A4A3A4"/>
          </p15:clr>
        </p15:guide>
        <p15:guide id="5" pos="3912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 |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umber">
            <a:extLst>
              <a:ext uri="{FF2B5EF4-FFF2-40B4-BE49-F238E27FC236}">
                <a16:creationId xmlns:a16="http://schemas.microsoft.com/office/drawing/2014/main" id="{0FFF7464-F835-4DB7-98C4-101D2DE12D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5360" y="2061128"/>
            <a:ext cx="3528392" cy="252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 baseline="0">
                <a:solidFill>
                  <a:srgbClr val="519FBC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519FBC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519FBC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519FBC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519FBC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519FBC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519FBC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519FBC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519FBC"/>
                </a:solidFill>
                <a:latin typeface="+mj-lt"/>
              </a:defRPr>
            </a:lvl9pPr>
          </a:lstStyle>
          <a:p>
            <a:r>
              <a:rPr lang="en-GB"/>
              <a:t>00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4944376" y="1989072"/>
            <a:ext cx="4608008" cy="1727960"/>
          </a:xfrm>
          <a:prstGeom prst="rect">
            <a:avLst/>
          </a:prstGeom>
        </p:spPr>
        <p:txBody>
          <a:bodyPr tIns="36000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Divider slide | Insert your headline in maximal three lines her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46297C-A90E-4725-9584-F26D2B59D3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943872" y="3717032"/>
            <a:ext cx="4608512" cy="864096"/>
          </a:xfrm>
          <a:prstGeom prst="rect">
            <a:avLst/>
          </a:prstGeom>
          <a:noFill/>
          <a:ln w="0">
            <a:noFill/>
          </a:ln>
        </p:spPr>
        <p:txBody>
          <a:bodyPr lIns="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8" name="Source">
            <a:extLst>
              <a:ext uri="{FF2B5EF4-FFF2-40B4-BE49-F238E27FC236}">
                <a16:creationId xmlns:a16="http://schemas.microsoft.com/office/drawing/2014/main" id="{F83C2111-A5BF-43B2-BF9D-B55B24083C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487488" y="6525000"/>
            <a:ext cx="9144512" cy="144000"/>
          </a:xfrm>
        </p:spPr>
        <p:txBody>
          <a:bodyPr anchor="b"/>
          <a:lstStyle>
            <a:lvl1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/>
              <a:t>Source, Footnot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F624230-35E9-86B7-1C1F-F066F4A3A1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77D577E-19A1-4996-931D-75C9D3B7CEAB}" type="datetime1">
              <a:rPr lang="en-GB" smtClean="0"/>
              <a:t>12/02/2026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E8ECE22-627B-46ED-CA7A-667359FF7A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A8CF00-F35E-06AA-5858-C368341ADD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40913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B9DFF63F-027E-C377-68DE-7CB4DE7D61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3989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DFF63F-027E-C377-68DE-7CB4DE7D61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E94EA2D6-F376-E5FB-864F-2472964B121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4898322A-6CDF-75C0-CCAE-9F91633E2F5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Date Placeholder">
            <a:extLst>
              <a:ext uri="{FF2B5EF4-FFF2-40B4-BE49-F238E27FC236}">
                <a16:creationId xmlns:a16="http://schemas.microsoft.com/office/drawing/2014/main" id="{339D1539-DC5B-675F-DCC6-5BBCE25FC7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2EA71DC4-3628-4313-321C-9A95F89CAB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4" name="Content 2 Placeholder">
            <a:extLst>
              <a:ext uri="{FF2B5EF4-FFF2-40B4-BE49-F238E27FC236}">
                <a16:creationId xmlns:a16="http://schemas.microsoft.com/office/drawing/2014/main" id="{5D43A841-AD92-4556-21E4-9939D57FC0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6211892" y="1638301"/>
            <a:ext cx="5688008" cy="40386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conten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1 Placeholder">
            <a:extLst>
              <a:ext uri="{FF2B5EF4-FFF2-40B4-BE49-F238E27FC236}">
                <a16:creationId xmlns:a16="http://schemas.microsoft.com/office/drawing/2014/main" id="{BBF77ABD-CA9D-F0FB-47F7-ABF58A85B72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" hasCustomPrompt="1"/>
          </p:nvPr>
        </p:nvSpPr>
        <p:spPr>
          <a:xfrm>
            <a:off x="292100" y="1638301"/>
            <a:ext cx="5688010" cy="40386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conten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ubtitle Placeholder">
            <a:extLst>
              <a:ext uri="{FF2B5EF4-FFF2-40B4-BE49-F238E27FC236}">
                <a16:creationId xmlns:a16="http://schemas.microsoft.com/office/drawing/2014/main" id="{4DF2806F-470A-D63D-6287-2D96392FDB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330527F2-4E92-075E-0582-2535F1B4C69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70532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680">
          <p15:clr>
            <a:srgbClr val="FBAE40"/>
          </p15:clr>
        </p15:guide>
        <p15:guide id="4" pos="3768">
          <p15:clr>
            <a:srgbClr val="A4A3A4"/>
          </p15:clr>
        </p15:guide>
        <p15:guide id="5" pos="3912">
          <p15:clr>
            <a:srgbClr val="A4A3A4"/>
          </p15:clr>
        </p15:guide>
        <p15:guide id="6" pos="7495">
          <p15:clr>
            <a:srgbClr val="FBAE40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EE706ACD-494F-78A7-B75A-5B0998816C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6246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706ACD-494F-78A7-B75A-5B0998816C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E94EA2D6-F376-E5FB-864F-2472964B121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4898322A-6CDF-75C0-CCAE-9F91633E2F5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Date Placeholder">
            <a:extLst>
              <a:ext uri="{FF2B5EF4-FFF2-40B4-BE49-F238E27FC236}">
                <a16:creationId xmlns:a16="http://schemas.microsoft.com/office/drawing/2014/main" id="{339D1539-DC5B-675F-DCC6-5BBCE25FC7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2EA71DC4-3628-4313-321C-9A95F89CAB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4" name="Content 2 Placeholder">
            <a:extLst>
              <a:ext uri="{FF2B5EF4-FFF2-40B4-BE49-F238E27FC236}">
                <a16:creationId xmlns:a16="http://schemas.microsoft.com/office/drawing/2014/main" id="{5D43A841-AD92-4556-21E4-9939D57FC0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6211892" y="3771899"/>
            <a:ext cx="5688008" cy="1905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conten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Image/Content 2 Placeholder">
            <a:extLst>
              <a:ext uri="{FF2B5EF4-FFF2-40B4-BE49-F238E27FC236}">
                <a16:creationId xmlns:a16="http://schemas.microsoft.com/office/drawing/2014/main" id="{F551C892-6720-FE2B-D337-A46B9C4D713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6" hasCustomPrompt="1"/>
          </p:nvPr>
        </p:nvSpPr>
        <p:spPr>
          <a:xfrm>
            <a:off x="6211892" y="1638300"/>
            <a:ext cx="5688009" cy="1905000"/>
          </a:xfrm>
          <a:solidFill>
            <a:srgbClr val="F0F0F0"/>
          </a:solidFill>
        </p:spPr>
        <p:txBody>
          <a:bodyPr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lvl="0"/>
            <a:r>
              <a:rPr lang="en-US"/>
              <a:t>Insert content</a:t>
            </a:r>
            <a:endParaRPr lang="en-US" dirty="0"/>
          </a:p>
        </p:txBody>
      </p:sp>
      <p:sp>
        <p:nvSpPr>
          <p:cNvPr id="3" name="Content 1 Placeholder">
            <a:extLst>
              <a:ext uri="{FF2B5EF4-FFF2-40B4-BE49-F238E27FC236}">
                <a16:creationId xmlns:a16="http://schemas.microsoft.com/office/drawing/2014/main" id="{BBF77ABD-CA9D-F0FB-47F7-ABF58A85B72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" hasCustomPrompt="1"/>
          </p:nvPr>
        </p:nvSpPr>
        <p:spPr>
          <a:xfrm>
            <a:off x="292100" y="3771899"/>
            <a:ext cx="5688010" cy="1905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conten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Image/Content 1 Placeholder">
            <a:extLst>
              <a:ext uri="{FF2B5EF4-FFF2-40B4-BE49-F238E27FC236}">
                <a16:creationId xmlns:a16="http://schemas.microsoft.com/office/drawing/2014/main" id="{A3759FC6-112A-A989-2E57-F664AD59A35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5" hasCustomPrompt="1"/>
          </p:nvPr>
        </p:nvSpPr>
        <p:spPr>
          <a:xfrm>
            <a:off x="292100" y="1638300"/>
            <a:ext cx="5688009" cy="1905000"/>
          </a:xfrm>
          <a:solidFill>
            <a:srgbClr val="F0F0F0"/>
          </a:solidFill>
        </p:spPr>
        <p:txBody>
          <a:bodyPr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lvl="0"/>
            <a:r>
              <a:rPr lang="en-US"/>
              <a:t>Insert content</a:t>
            </a:r>
            <a:endParaRPr lang="en-US" dirty="0"/>
          </a:p>
        </p:txBody>
      </p:sp>
      <p:sp>
        <p:nvSpPr>
          <p:cNvPr id="10" name="Subtitle Placeholder">
            <a:extLst>
              <a:ext uri="{FF2B5EF4-FFF2-40B4-BE49-F238E27FC236}">
                <a16:creationId xmlns:a16="http://schemas.microsoft.com/office/drawing/2014/main" id="{4DF2806F-470A-D63D-6287-2D96392FDB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330527F2-4E92-075E-0582-2535F1B4C69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1022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680">
          <p15:clr>
            <a:srgbClr val="FBAE40"/>
          </p15:clr>
        </p15:guide>
        <p15:guide id="4" pos="3768">
          <p15:clr>
            <a:srgbClr val="A4A3A4"/>
          </p15:clr>
        </p15:guide>
        <p15:guide id="5" pos="3912">
          <p15:clr>
            <a:srgbClr val="A4A3A4"/>
          </p15:clr>
        </p15:guide>
        <p15:guide id="6" pos="7495">
          <p15:clr>
            <a:srgbClr val="FBAE40"/>
          </p15:clr>
        </p15:guide>
        <p15:guide id="7" orient="horz" pos="2232">
          <p15:clr>
            <a:srgbClr val="A4A3A4"/>
          </p15:clr>
        </p15:guide>
        <p15:guide id="8" orient="horz" pos="2376">
          <p15:clr>
            <a:srgbClr val="A4A3A4"/>
          </p15:clr>
        </p15:guide>
        <p15:guide id="9" orient="horz" pos="2304">
          <p15:clr>
            <a:srgbClr val="A4A3A4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Half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5537FBC-735E-616A-F662-DC0CE443D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5732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537FBC-735E-616A-F662-DC0CE443D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lock Bkgd">
            <a:extLst>
              <a:ext uri="{FF2B5EF4-FFF2-40B4-BE49-F238E27FC236}">
                <a16:creationId xmlns:a16="http://schemas.microsoft.com/office/drawing/2014/main" id="{EF28BEE6-A3B9-F3EC-053D-F000E1C0334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E94EA2D6-F376-E5FB-864F-2472964B121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pyright Line">
            <a:extLst>
              <a:ext uri="{FF2B5EF4-FFF2-40B4-BE49-F238E27FC236}">
                <a16:creationId xmlns:a16="http://schemas.microsoft.com/office/drawing/2014/main" id="{9C89E4B4-9DF8-8FBA-0988-31F1C70E415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9167809" y="6536551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BBBBBB"/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rgbClr val="BBBBBB"/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dirty="0">
                <a:solidFill>
                  <a:srgbClr val="BBBBBB"/>
                </a:solidFill>
              </a:rPr>
              <a:t> Nielsen Consumer LLC. All Rights Reserved.</a:t>
            </a:r>
          </a:p>
        </p:txBody>
      </p:sp>
      <p:sp>
        <p:nvSpPr>
          <p:cNvPr id="12" name="Confidential disclaimer">
            <a:extLst>
              <a:ext uri="{FF2B5EF4-FFF2-40B4-BE49-F238E27FC236}">
                <a16:creationId xmlns:a16="http://schemas.microsoft.com/office/drawing/2014/main" id="{96AB6125-A385-529E-E151-BDF1D0C7EF7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id="{E1297F61-9D45-2558-68F0-C18078DF95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3251200" y="6495102"/>
            <a:ext cx="2551110" cy="282957"/>
          </a:xfrm>
        </p:spPr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Date Placeholder">
            <a:extLst>
              <a:ext uri="{FF2B5EF4-FFF2-40B4-BE49-F238E27FC236}">
                <a16:creationId xmlns:a16="http://schemas.microsoft.com/office/drawing/2014/main" id="{339D1539-DC5B-675F-DCC6-5BBCE25FC7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cxnSp>
        <p:nvCxnSpPr>
          <p:cNvPr id="17" name="Base Rule">
            <a:extLst>
              <a:ext uri="{FF2B5EF4-FFF2-40B4-BE49-F238E27FC236}">
                <a16:creationId xmlns:a16="http://schemas.microsoft.com/office/drawing/2014/main" id="{0DFE5D64-C53A-A500-F0A7-C09857B818AB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292100" y="6395755"/>
            <a:ext cx="1160780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2EA71DC4-3628-4313-321C-9A95F89CAB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4" name="Content 2 Placeholder">
            <a:extLst>
              <a:ext uri="{FF2B5EF4-FFF2-40B4-BE49-F238E27FC236}">
                <a16:creationId xmlns:a16="http://schemas.microsoft.com/office/drawing/2014/main" id="{5D43A841-AD92-4556-21E4-9939D57FC0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6388100" y="1638301"/>
            <a:ext cx="5511800" cy="40386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conten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Subtitle 2 Placeholder">
            <a:extLst>
              <a:ext uri="{FF2B5EF4-FFF2-40B4-BE49-F238E27FC236}">
                <a16:creationId xmlns:a16="http://schemas.microsoft.com/office/drawing/2014/main" id="{9B24A1DB-1E99-30C3-D014-5A6DEDB3C66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 hasCustomPrompt="1"/>
          </p:nvPr>
        </p:nvSpPr>
        <p:spPr>
          <a:xfrm>
            <a:off x="6388895" y="579495"/>
            <a:ext cx="5511005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11" name="Title 2 Placeholder">
            <a:extLst>
              <a:ext uri="{FF2B5EF4-FFF2-40B4-BE49-F238E27FC236}">
                <a16:creationId xmlns:a16="http://schemas.microsoft.com/office/drawing/2014/main" id="{A1808D7B-A584-646A-5554-EA7041352FF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6383895" y="274634"/>
            <a:ext cx="5514418" cy="295756"/>
          </a:xfrm>
        </p:spPr>
        <p:txBody>
          <a:bodyPr anchor="t" anchorCtr="0">
            <a:noAutofit/>
          </a:bodyPr>
          <a:lstStyle>
            <a:lvl1pPr marL="0" indent="0" rtl="0">
              <a:buFont typeface="Arial" panose="020B0604020202020204" pitchFamily="34" charset="0"/>
              <a:buNone/>
              <a:defRPr sz="2000" b="1"/>
            </a:lvl1pPr>
          </a:lstStyle>
          <a:p>
            <a:pPr lvl="0"/>
            <a:r>
              <a:rPr lang="en-US" dirty="0"/>
              <a:t>Insert your slide title in Arial Bold 20pt</a:t>
            </a:r>
          </a:p>
        </p:txBody>
      </p:sp>
      <p:sp>
        <p:nvSpPr>
          <p:cNvPr id="3" name="Content 1 Placeholder">
            <a:extLst>
              <a:ext uri="{FF2B5EF4-FFF2-40B4-BE49-F238E27FC236}">
                <a16:creationId xmlns:a16="http://schemas.microsoft.com/office/drawing/2014/main" id="{BBF77ABD-CA9D-F0FB-47F7-ABF58A85B72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" hasCustomPrompt="1"/>
          </p:nvPr>
        </p:nvSpPr>
        <p:spPr>
          <a:xfrm>
            <a:off x="292100" y="1638301"/>
            <a:ext cx="5510210" cy="40386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conten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ubtitle 1 Placeholder">
            <a:extLst>
              <a:ext uri="{FF2B5EF4-FFF2-40B4-BE49-F238E27FC236}">
                <a16:creationId xmlns:a16="http://schemas.microsoft.com/office/drawing/2014/main" id="{4DF2806F-470A-D63D-6287-2D96392FDB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5511005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2" name="Title 1 Placeholder">
            <a:extLst>
              <a:ext uri="{FF2B5EF4-FFF2-40B4-BE49-F238E27FC236}">
                <a16:creationId xmlns:a16="http://schemas.microsoft.com/office/drawing/2014/main" id="{330527F2-4E92-075E-0582-2535F1B4C69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5513623" cy="26559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011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680">
          <p15:clr>
            <a:srgbClr val="FBAE40"/>
          </p15:clr>
        </p15:guide>
        <p15:guide id="4" pos="3768">
          <p15:clr>
            <a:srgbClr val="A4A3A4"/>
          </p15:clr>
        </p15:guide>
        <p15:guide id="5" pos="3912">
          <p15:clr>
            <a:srgbClr val="A4A3A4"/>
          </p15:clr>
        </p15:guide>
        <p15:guide id="6" pos="7495">
          <p15:clr>
            <a:srgbClr val="FBAE40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Half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7196951D-6F96-0AE0-5EC6-73DCB7E72B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5849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96951D-6F96-0AE0-5EC6-73DCB7E72B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lock Bkgd">
            <a:extLst>
              <a:ext uri="{FF2B5EF4-FFF2-40B4-BE49-F238E27FC236}">
                <a16:creationId xmlns:a16="http://schemas.microsoft.com/office/drawing/2014/main" id="{EF28BEE6-A3B9-F3EC-053D-F000E1C0334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E94EA2D6-F376-E5FB-864F-2472964B121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85399"/>
            <a:ext cx="404321" cy="282957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pyright Line">
            <a:extLst>
              <a:ext uri="{FF2B5EF4-FFF2-40B4-BE49-F238E27FC236}">
                <a16:creationId xmlns:a16="http://schemas.microsoft.com/office/drawing/2014/main" id="{9C89E4B4-9DF8-8FBA-0988-31F1C70E415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9167809" y="6536551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Nielsen Consumer LLC. All Rights Reserved.</a:t>
            </a:r>
          </a:p>
        </p:txBody>
      </p:sp>
      <p:sp>
        <p:nvSpPr>
          <p:cNvPr id="8" name="Confidential disclaimer">
            <a:extLst>
              <a:ext uri="{FF2B5EF4-FFF2-40B4-BE49-F238E27FC236}">
                <a16:creationId xmlns:a16="http://schemas.microsoft.com/office/drawing/2014/main" id="{23E65464-19C9-DB30-2F4C-D472D2E89EB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id="{E1297F61-9D45-2558-68F0-C18078DF95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3251200" y="6485399"/>
            <a:ext cx="2551110" cy="282957"/>
          </a:xfrm>
        </p:spPr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Date Placeholder">
            <a:extLst>
              <a:ext uri="{FF2B5EF4-FFF2-40B4-BE49-F238E27FC236}">
                <a16:creationId xmlns:a16="http://schemas.microsoft.com/office/drawing/2014/main" id="{339D1539-DC5B-675F-DCC6-5BBCE25FC7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85399"/>
            <a:ext cx="757238" cy="282957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cxnSp>
        <p:nvCxnSpPr>
          <p:cNvPr id="17" name="Base Rule">
            <a:extLst>
              <a:ext uri="{FF2B5EF4-FFF2-40B4-BE49-F238E27FC236}">
                <a16:creationId xmlns:a16="http://schemas.microsoft.com/office/drawing/2014/main" id="{0DFE5D64-C53A-A500-F0A7-C09857B818AB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6096000" y="6395755"/>
            <a:ext cx="580390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2EA71DC4-3628-4313-321C-9A95F89CAB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4" name="Content 2 Placeholder">
            <a:extLst>
              <a:ext uri="{FF2B5EF4-FFF2-40B4-BE49-F238E27FC236}">
                <a16:creationId xmlns:a16="http://schemas.microsoft.com/office/drawing/2014/main" id="{5D43A841-AD92-4556-21E4-9939D57FC0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6388100" y="1638301"/>
            <a:ext cx="5511800" cy="4038600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conten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Subtitle 2 Placeholder">
            <a:extLst>
              <a:ext uri="{FF2B5EF4-FFF2-40B4-BE49-F238E27FC236}">
                <a16:creationId xmlns:a16="http://schemas.microsoft.com/office/drawing/2014/main" id="{9B24A1DB-1E99-30C3-D014-5A6DEDB3C66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 hasCustomPrompt="1"/>
          </p:nvPr>
        </p:nvSpPr>
        <p:spPr>
          <a:xfrm>
            <a:off x="6388895" y="579495"/>
            <a:ext cx="5511005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6" name="Title 2 Placeholder">
            <a:extLst>
              <a:ext uri="{FF2B5EF4-FFF2-40B4-BE49-F238E27FC236}">
                <a16:creationId xmlns:a16="http://schemas.microsoft.com/office/drawing/2014/main" id="{A36FABAF-7E80-EFD2-0E01-79E8B041B9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6383895" y="274634"/>
            <a:ext cx="5514418" cy="295756"/>
          </a:xfrm>
        </p:spPr>
        <p:txBody>
          <a:bodyPr anchor="t" anchorCtr="0">
            <a:noAutofit/>
          </a:bodyPr>
          <a:lstStyle>
            <a:lvl1pPr marL="0" indent="0" rtl="0">
              <a:buFont typeface="Arial" panose="020B0604020202020204" pitchFamily="34" charset="0"/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your slide title in Arial Bold 20pt</a:t>
            </a:r>
          </a:p>
        </p:txBody>
      </p:sp>
      <p:sp>
        <p:nvSpPr>
          <p:cNvPr id="3" name="Content 1 Placeholder">
            <a:extLst>
              <a:ext uri="{FF2B5EF4-FFF2-40B4-BE49-F238E27FC236}">
                <a16:creationId xmlns:a16="http://schemas.microsoft.com/office/drawing/2014/main" id="{BBF77ABD-CA9D-F0FB-47F7-ABF58A85B72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" hasCustomPrompt="1"/>
          </p:nvPr>
        </p:nvSpPr>
        <p:spPr>
          <a:xfrm>
            <a:off x="292100" y="1638301"/>
            <a:ext cx="5510210" cy="40386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conten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ubtitle 1 Placeholder">
            <a:extLst>
              <a:ext uri="{FF2B5EF4-FFF2-40B4-BE49-F238E27FC236}">
                <a16:creationId xmlns:a16="http://schemas.microsoft.com/office/drawing/2014/main" id="{4DF2806F-470A-D63D-6287-2D96392FDB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5511005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2" name="Title 1 Placeholder">
            <a:extLst>
              <a:ext uri="{FF2B5EF4-FFF2-40B4-BE49-F238E27FC236}">
                <a16:creationId xmlns:a16="http://schemas.microsoft.com/office/drawing/2014/main" id="{330527F2-4E92-075E-0582-2535F1B4C69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5513623" cy="26559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64598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680">
          <p15:clr>
            <a:srgbClr val="FBAE40"/>
          </p15:clr>
        </p15:guide>
        <p15:guide id="4" pos="3768">
          <p15:clr>
            <a:srgbClr val="A4A3A4"/>
          </p15:clr>
        </p15:guide>
        <p15:guide id="5" pos="3912">
          <p15:clr>
            <a:srgbClr val="A4A3A4"/>
          </p15:clr>
        </p15:guide>
        <p15:guide id="6" pos="7495">
          <p15:clr>
            <a:srgbClr val="FBAE40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Half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8DC6D3BF-1964-4225-15DD-6502FD5B0B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8286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C6D3BF-1964-4225-15DD-6502FD5B0B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lock Bkgd">
            <a:extLst>
              <a:ext uri="{FF2B5EF4-FFF2-40B4-BE49-F238E27FC236}">
                <a16:creationId xmlns:a16="http://schemas.microsoft.com/office/drawing/2014/main" id="{EF28BEE6-A3B9-F3EC-053D-F000E1C0334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E94EA2D6-F376-E5FB-864F-2472964B121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pyright Line">
            <a:extLst>
              <a:ext uri="{FF2B5EF4-FFF2-40B4-BE49-F238E27FC236}">
                <a16:creationId xmlns:a16="http://schemas.microsoft.com/office/drawing/2014/main" id="{9C89E4B4-9DF8-8FBA-0988-31F1C70E415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9167809" y="6536551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Nielsen Consumer LLC. All Rights Reserved.</a:t>
            </a:r>
          </a:p>
        </p:txBody>
      </p:sp>
      <p:sp>
        <p:nvSpPr>
          <p:cNvPr id="8" name="Confidential disclaimer">
            <a:extLst>
              <a:ext uri="{FF2B5EF4-FFF2-40B4-BE49-F238E27FC236}">
                <a16:creationId xmlns:a16="http://schemas.microsoft.com/office/drawing/2014/main" id="{96D5C3C7-B3B0-FB86-5907-4E244DADEAE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id="{E1297F61-9D45-2558-68F0-C18078DF95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3251200" y="6485399"/>
            <a:ext cx="2551110" cy="282957"/>
          </a:xfrm>
        </p:spPr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Date Placeholder">
            <a:extLst>
              <a:ext uri="{FF2B5EF4-FFF2-40B4-BE49-F238E27FC236}">
                <a16:creationId xmlns:a16="http://schemas.microsoft.com/office/drawing/2014/main" id="{339D1539-DC5B-675F-DCC6-5BBCE25FC7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cxnSp>
        <p:nvCxnSpPr>
          <p:cNvPr id="17" name="Base Rule">
            <a:extLst>
              <a:ext uri="{FF2B5EF4-FFF2-40B4-BE49-F238E27FC236}">
                <a16:creationId xmlns:a16="http://schemas.microsoft.com/office/drawing/2014/main" id="{0DFE5D64-C53A-A500-F0A7-C09857B818AB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6096000" y="6395755"/>
            <a:ext cx="580390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2EA71DC4-3628-4313-321C-9A95F89CAB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4" name="Content 2 Placeholder">
            <a:extLst>
              <a:ext uri="{FF2B5EF4-FFF2-40B4-BE49-F238E27FC236}">
                <a16:creationId xmlns:a16="http://schemas.microsoft.com/office/drawing/2014/main" id="{5D43A841-AD92-4556-21E4-9939D57FC0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6388100" y="1638301"/>
            <a:ext cx="5511800" cy="4038600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conten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Subtitle 2 Placeholder">
            <a:extLst>
              <a:ext uri="{FF2B5EF4-FFF2-40B4-BE49-F238E27FC236}">
                <a16:creationId xmlns:a16="http://schemas.microsoft.com/office/drawing/2014/main" id="{9B24A1DB-1E99-30C3-D014-5A6DEDB3C66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 hasCustomPrompt="1"/>
          </p:nvPr>
        </p:nvSpPr>
        <p:spPr>
          <a:xfrm>
            <a:off x="6388895" y="579495"/>
            <a:ext cx="5511005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6" name="Title 2 Placeholder">
            <a:extLst>
              <a:ext uri="{FF2B5EF4-FFF2-40B4-BE49-F238E27FC236}">
                <a16:creationId xmlns:a16="http://schemas.microsoft.com/office/drawing/2014/main" id="{2D03B6C0-C08D-EDFA-F4C8-01772C443E6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6383895" y="274634"/>
            <a:ext cx="5514418" cy="295756"/>
          </a:xfrm>
        </p:spPr>
        <p:txBody>
          <a:bodyPr anchor="t" anchorCtr="0">
            <a:noAutofit/>
          </a:bodyPr>
          <a:lstStyle>
            <a:lvl1pPr marL="0" indent="0" rtl="0">
              <a:buFont typeface="Arial" panose="020B0604020202020204" pitchFamily="34" charset="0"/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your slide title in Arial Bold 20pt</a:t>
            </a:r>
          </a:p>
        </p:txBody>
      </p:sp>
      <p:sp>
        <p:nvSpPr>
          <p:cNvPr id="3" name="Content 1 Placeholder">
            <a:extLst>
              <a:ext uri="{FF2B5EF4-FFF2-40B4-BE49-F238E27FC236}">
                <a16:creationId xmlns:a16="http://schemas.microsoft.com/office/drawing/2014/main" id="{BBF77ABD-CA9D-F0FB-47F7-ABF58A85B72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" hasCustomPrompt="1"/>
          </p:nvPr>
        </p:nvSpPr>
        <p:spPr>
          <a:xfrm>
            <a:off x="292100" y="1638301"/>
            <a:ext cx="5510210" cy="40386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conten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ubtitle 1 Placeholder">
            <a:extLst>
              <a:ext uri="{FF2B5EF4-FFF2-40B4-BE49-F238E27FC236}">
                <a16:creationId xmlns:a16="http://schemas.microsoft.com/office/drawing/2014/main" id="{4DF2806F-470A-D63D-6287-2D96392FDB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5511005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2" name="Title 1 Placeholder">
            <a:extLst>
              <a:ext uri="{FF2B5EF4-FFF2-40B4-BE49-F238E27FC236}">
                <a16:creationId xmlns:a16="http://schemas.microsoft.com/office/drawing/2014/main" id="{330527F2-4E92-075E-0582-2535F1B4C69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5513623" cy="26559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1820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680">
          <p15:clr>
            <a:srgbClr val="FBAE40"/>
          </p15:clr>
        </p15:guide>
        <p15:guide id="4" pos="3768">
          <p15:clr>
            <a:srgbClr val="A4A3A4"/>
          </p15:clr>
        </p15:guide>
        <p15:guide id="5" pos="3912">
          <p15:clr>
            <a:srgbClr val="A4A3A4"/>
          </p15:clr>
        </p15:guide>
        <p15:guide id="6" pos="7495">
          <p15:clr>
            <a:srgbClr val="FBAE40"/>
          </p15:clr>
        </p15:guide>
      </p15:sldGuideLst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70A4699-3AC9-5684-091C-E0C024A326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116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0A4699-3AC9-5684-091C-E0C024A326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ule Block">
            <a:extLst>
              <a:ext uri="{FF2B5EF4-FFF2-40B4-BE49-F238E27FC236}">
                <a16:creationId xmlns:a16="http://schemas.microsoft.com/office/drawing/2014/main" id="{658D6E94-1F36-94B6-33A7-7C708E049D3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802310" y="6299199"/>
            <a:ext cx="293690" cy="1861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US" dirty="0"/>
          </a:p>
        </p:txBody>
      </p:sp>
      <p:sp>
        <p:nvSpPr>
          <p:cNvPr id="12" name="Picture Placeholder">
            <a:extLst>
              <a:ext uri="{FF2B5EF4-FFF2-40B4-BE49-F238E27FC236}">
                <a16:creationId xmlns:a16="http://schemas.microsoft.com/office/drawing/2014/main" id="{7A78F6A2-6801-C5FD-6F85-67A9BBDEF53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7" hasCustomPrompt="1"/>
          </p:nvPr>
        </p:nvSpPr>
        <p:spPr>
          <a:xfrm>
            <a:off x="6096000" y="0"/>
            <a:ext cx="6096000" cy="6858000"/>
          </a:xfrm>
          <a:solidFill>
            <a:schemeClr val="tx1">
              <a:lumMod val="60000"/>
              <a:lumOff val="40000"/>
            </a:schemeClr>
          </a:solidFill>
        </p:spPr>
        <p:txBody>
          <a:bodyPr lIns="182880" tIns="91440" rIns="274320" anchor="t">
            <a:normAutofit/>
          </a:bodyPr>
          <a:lstStyle>
            <a:lvl1pPr marL="174625" indent="-174625" algn="l" rtl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rgbClr val="FFFF00"/>
                </a:solidFill>
              </a:defRPr>
            </a:lvl1pPr>
          </a:lstStyle>
          <a:p>
            <a:r>
              <a:rPr lang="en-US" dirty="0"/>
              <a:t>To add image: </a:t>
            </a:r>
            <a:br>
              <a:rPr lang="en-US" dirty="0"/>
            </a:br>
            <a:r>
              <a:rPr lang="en-US" dirty="0"/>
              <a:t>1. Select image placeholder </a:t>
            </a:r>
            <a:br>
              <a:rPr lang="en-US" dirty="0"/>
            </a:br>
            <a:r>
              <a:rPr lang="en-US" dirty="0"/>
              <a:t>2. Drag/drop file or copy/paste image into slide (.jpg, .gif, .</a:t>
            </a:r>
            <a:r>
              <a:rPr lang="en-US" dirty="0" err="1"/>
              <a:t>png</a:t>
            </a:r>
            <a:r>
              <a:rPr lang="en-US" dirty="0"/>
              <a:t>) </a:t>
            </a:r>
            <a:br>
              <a:rPr lang="en-US" dirty="0"/>
            </a:br>
            <a:r>
              <a:rPr lang="en-US" dirty="0"/>
              <a:t>3. Right-click image and “Send to back”</a:t>
            </a:r>
          </a:p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E94EA2D6-F376-E5FB-864F-2472964B121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pyright Line">
            <a:extLst>
              <a:ext uri="{FF2B5EF4-FFF2-40B4-BE49-F238E27FC236}">
                <a16:creationId xmlns:a16="http://schemas.microsoft.com/office/drawing/2014/main" id="{9C89E4B4-9DF8-8FBA-0988-31F1C70E415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9167809" y="6536551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Nielsen Consumer LLC. All Rights Reserved.</a:t>
            </a:r>
          </a:p>
        </p:txBody>
      </p:sp>
      <p:sp>
        <p:nvSpPr>
          <p:cNvPr id="8" name="Confidential disclaimer">
            <a:extLst>
              <a:ext uri="{FF2B5EF4-FFF2-40B4-BE49-F238E27FC236}">
                <a16:creationId xmlns:a16="http://schemas.microsoft.com/office/drawing/2014/main" id="{96D5C3C7-B3B0-FB86-5907-4E244DADEAE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id="{E1297F61-9D45-2558-68F0-C18078DF95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3251200" y="6485399"/>
            <a:ext cx="2551110" cy="282957"/>
          </a:xfrm>
        </p:spPr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Date Placeholder">
            <a:extLst>
              <a:ext uri="{FF2B5EF4-FFF2-40B4-BE49-F238E27FC236}">
                <a16:creationId xmlns:a16="http://schemas.microsoft.com/office/drawing/2014/main" id="{339D1539-DC5B-675F-DCC6-5BBCE25FC7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2EA71DC4-3628-4313-321C-9A95F89CAB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551021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3" name="Content 1 Placeholder">
            <a:extLst>
              <a:ext uri="{FF2B5EF4-FFF2-40B4-BE49-F238E27FC236}">
                <a16:creationId xmlns:a16="http://schemas.microsoft.com/office/drawing/2014/main" id="{BBF77ABD-CA9D-F0FB-47F7-ABF58A85B72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" hasCustomPrompt="1"/>
          </p:nvPr>
        </p:nvSpPr>
        <p:spPr>
          <a:xfrm>
            <a:off x="292100" y="1638301"/>
            <a:ext cx="5510210" cy="40386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conten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ubtitle 1 Placeholder">
            <a:extLst>
              <a:ext uri="{FF2B5EF4-FFF2-40B4-BE49-F238E27FC236}">
                <a16:creationId xmlns:a16="http://schemas.microsoft.com/office/drawing/2014/main" id="{4DF2806F-470A-D63D-6287-2D96392FDB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5511005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2" name="Title 1 Placeholder">
            <a:extLst>
              <a:ext uri="{FF2B5EF4-FFF2-40B4-BE49-F238E27FC236}">
                <a16:creationId xmlns:a16="http://schemas.microsoft.com/office/drawing/2014/main" id="{330527F2-4E92-075E-0582-2535F1B4C69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5513623" cy="26559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  <p:sp>
        <p:nvSpPr>
          <p:cNvPr id="22" name="Off-slide Instructions">
            <a:extLst>
              <a:ext uri="{FF2B5EF4-FFF2-40B4-BE49-F238E27FC236}">
                <a16:creationId xmlns:a16="http://schemas.microsoft.com/office/drawing/2014/main" id="{960CB651-6B1A-3200-5D2F-A4891428ED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2338614" y="0"/>
            <a:ext cx="2812486" cy="2373888"/>
          </a:xfrm>
          <a:prstGeom prst="bracketPair">
            <a:avLst>
              <a:gd name="adj" fmla="val 4083"/>
            </a:avLst>
          </a:prstGeom>
          <a:solidFill>
            <a:srgbClr val="FFFF00">
              <a:alpha val="80000"/>
            </a:srgbClr>
          </a:solidFill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spAutoFit/>
          </a:bodyPr>
          <a:lstStyle/>
          <a:p>
            <a:pPr marL="0" indent="0" algn="l" defTabSz="914400" rtl="0" eaLnBrk="1" latinLnBrk="0" hangingPunct="1">
              <a:spcAft>
                <a:spcPts val="400"/>
              </a:spcAft>
              <a:buFont typeface="+mj-lt"/>
              <a:buNone/>
            </a:pPr>
            <a:r>
              <a:rPr lang="en-US" sz="1200" b="1" kern="1200" dirty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If copyright line, disclaimer, slide #, etc. are missing:</a:t>
            </a:r>
          </a:p>
          <a:p>
            <a:pPr marL="177800" lvl="0" indent="-177800" rtl="0">
              <a:spcAft>
                <a:spcPts val="400"/>
              </a:spcAft>
              <a:buFont typeface="+mj-lt"/>
              <a:buAutoNum type="arabicPeriod"/>
            </a:pPr>
            <a:r>
              <a:rPr lang="en-US" sz="800" dirty="0">
                <a:solidFill>
                  <a:srgbClr val="000000"/>
                </a:solidFill>
              </a:rPr>
              <a:t>Go to </a:t>
            </a:r>
            <a:r>
              <a:rPr lang="en-US" sz="800" b="1" dirty="0">
                <a:solidFill>
                  <a:srgbClr val="000000"/>
                </a:solidFill>
              </a:rPr>
              <a:t>View &gt; Slide Master</a:t>
            </a:r>
          </a:p>
          <a:p>
            <a:pPr marL="177800" lvl="0" indent="-177800" rtl="0">
              <a:spcAft>
                <a:spcPts val="400"/>
              </a:spcAft>
              <a:buFont typeface="+mj-lt"/>
              <a:buAutoNum type="arabicPeriod"/>
            </a:pPr>
            <a:r>
              <a:rPr lang="en-US" sz="800" dirty="0">
                <a:solidFill>
                  <a:srgbClr val="000000"/>
                </a:solidFill>
              </a:rPr>
              <a:t>Copy missing elements from Layout Master</a:t>
            </a:r>
          </a:p>
          <a:p>
            <a:pPr marL="177800" lvl="0" indent="-177800" rtl="0">
              <a:spcAft>
                <a:spcPts val="400"/>
              </a:spcAft>
              <a:buFont typeface="+mj-lt"/>
              <a:buAutoNum type="arabicPeriod"/>
            </a:pPr>
            <a:r>
              <a:rPr lang="en-US" sz="800" dirty="0">
                <a:solidFill>
                  <a:srgbClr val="000000"/>
                </a:solidFill>
              </a:rPr>
              <a:t>Close Master View</a:t>
            </a:r>
          </a:p>
          <a:p>
            <a:pPr marL="177800" lvl="0" indent="-177800" rtl="0">
              <a:spcAft>
                <a:spcPts val="400"/>
              </a:spcAft>
              <a:buFont typeface="+mj-lt"/>
              <a:buAutoNum type="arabicPeriod"/>
            </a:pPr>
            <a:r>
              <a:rPr lang="en-US" sz="800" dirty="0">
                <a:solidFill>
                  <a:srgbClr val="000000"/>
                </a:solidFill>
              </a:rPr>
              <a:t>Paste on slide</a:t>
            </a:r>
            <a:endParaRPr lang="en-US" sz="1200" b="1" dirty="0">
              <a:solidFill>
                <a:srgbClr val="000000"/>
              </a:solidFill>
            </a:endParaRPr>
          </a:p>
          <a:p>
            <a:pPr rtl="0">
              <a:spcAft>
                <a:spcPts val="400"/>
              </a:spcAft>
            </a:pPr>
            <a:endParaRPr lang="en-US" sz="1200" b="1" dirty="0">
              <a:solidFill>
                <a:srgbClr val="000000"/>
              </a:solidFill>
            </a:endParaRPr>
          </a:p>
          <a:p>
            <a:pPr rtl="0">
              <a:spcAft>
                <a:spcPts val="400"/>
              </a:spcAft>
            </a:pPr>
            <a:r>
              <a:rPr lang="en-US" sz="1200" b="1" dirty="0">
                <a:solidFill>
                  <a:srgbClr val="000000"/>
                </a:solidFill>
              </a:rPr>
              <a:t>To replace existing image:</a:t>
            </a:r>
          </a:p>
          <a:p>
            <a:pPr marL="174625" indent="-174625" rtl="0">
              <a:spcAft>
                <a:spcPts val="400"/>
              </a:spcAft>
              <a:buFont typeface="+mj-lt"/>
              <a:buAutoNum type="arabicPeriod"/>
            </a:pPr>
            <a:r>
              <a:rPr lang="en-US" sz="800" dirty="0">
                <a:solidFill>
                  <a:srgbClr val="000000"/>
                </a:solidFill>
              </a:rPr>
              <a:t>Right-click image placeholder</a:t>
            </a:r>
          </a:p>
          <a:p>
            <a:pPr marL="174625" indent="-174625" rtl="0">
              <a:spcAft>
                <a:spcPts val="400"/>
              </a:spcAft>
              <a:buFont typeface="+mj-lt"/>
              <a:buAutoNum type="arabicPeriod"/>
            </a:pPr>
            <a:r>
              <a:rPr lang="en-US" sz="800" dirty="0">
                <a:solidFill>
                  <a:srgbClr val="000000"/>
                </a:solidFill>
              </a:rPr>
              <a:t>Select </a:t>
            </a:r>
            <a:r>
              <a:rPr lang="en-US" sz="800" b="1" dirty="0">
                <a:solidFill>
                  <a:srgbClr val="000000"/>
                </a:solidFill>
              </a:rPr>
              <a:t>Change Picture</a:t>
            </a:r>
          </a:p>
          <a:p>
            <a:pPr marL="174625" indent="-174625" rtl="0">
              <a:spcAft>
                <a:spcPts val="400"/>
              </a:spcAft>
              <a:buFont typeface="+mj-lt"/>
              <a:buAutoNum type="arabicPeriod"/>
            </a:pPr>
            <a:r>
              <a:rPr lang="en-US" sz="800" dirty="0">
                <a:solidFill>
                  <a:srgbClr val="000000"/>
                </a:solidFill>
              </a:rPr>
              <a:t>Select</a:t>
            </a:r>
            <a:r>
              <a:rPr lang="en-US" sz="800" b="1" dirty="0">
                <a:solidFill>
                  <a:srgbClr val="000000"/>
                </a:solidFill>
              </a:rPr>
              <a:t> desired </a:t>
            </a:r>
            <a:r>
              <a:rPr lang="en-US" sz="800" dirty="0">
                <a:solidFill>
                  <a:srgbClr val="000000"/>
                </a:solidFill>
              </a:rPr>
              <a:t>image file (.jpg, .</a:t>
            </a:r>
            <a:r>
              <a:rPr lang="en-US" sz="800" dirty="0" err="1">
                <a:solidFill>
                  <a:srgbClr val="000000"/>
                </a:solidFill>
              </a:rPr>
              <a:t>png</a:t>
            </a:r>
            <a:r>
              <a:rPr lang="en-US" sz="800" dirty="0">
                <a:solidFill>
                  <a:srgbClr val="000000"/>
                </a:solidFill>
              </a:rPr>
              <a:t>, .gif)</a:t>
            </a:r>
          </a:p>
          <a:p>
            <a:pPr marL="174625" indent="-174625" rtl="0">
              <a:spcAft>
                <a:spcPts val="400"/>
              </a:spcAft>
              <a:buFont typeface="+mj-lt"/>
              <a:buAutoNum type="arabicPeriod"/>
            </a:pPr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06758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680">
          <p15:clr>
            <a:srgbClr val="FBAE40"/>
          </p15:clr>
        </p15:guide>
        <p15:guide id="4" pos="3768">
          <p15:clr>
            <a:srgbClr val="A4A3A4"/>
          </p15:clr>
        </p15:guide>
        <p15:guide id="5" pos="3912">
          <p15:clr>
            <a:srgbClr val="A4A3A4"/>
          </p15:clr>
        </p15:guide>
        <p15:guide id="6" pos="7495">
          <p15:clr>
            <a:srgbClr val="FBAE40"/>
          </p15:clr>
        </p15:guide>
      </p15:sldGuideLst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502B11B0-B954-460D-398E-1470F7D6E8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468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2B11B0-B954-460D-398E-1470F7D6E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334999CC-B0E8-932E-3334-1667B3798F0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CFA438E1-E88D-115E-D3AC-C02C6E11C4B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3" name="Date Placeholder">
            <a:extLst>
              <a:ext uri="{FF2B5EF4-FFF2-40B4-BE49-F238E27FC236}">
                <a16:creationId xmlns:a16="http://schemas.microsoft.com/office/drawing/2014/main" id="{A9C7E5F4-8ACB-AE44-BEFF-CFE9E0596F3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12" name="Source Placeholder">
            <a:extLst>
              <a:ext uri="{FF2B5EF4-FFF2-40B4-BE49-F238E27FC236}">
                <a16:creationId xmlns:a16="http://schemas.microsoft.com/office/drawing/2014/main" id="{C3339F06-F87A-3EB3-4646-D4F9A9AC27A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6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11" name="Content 3 Placeholder">
            <a:extLst>
              <a:ext uri="{FF2B5EF4-FFF2-40B4-BE49-F238E27FC236}">
                <a16:creationId xmlns:a16="http://schemas.microsoft.com/office/drawing/2014/main" id="{F0ADA552-6794-0F4D-013E-A6DA97DBFF4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5" hasCustomPrompt="1"/>
          </p:nvPr>
        </p:nvSpPr>
        <p:spPr>
          <a:xfrm>
            <a:off x="8199441" y="2019300"/>
            <a:ext cx="3700459" cy="36576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Header 3 Placeholder">
            <a:extLst>
              <a:ext uri="{FF2B5EF4-FFF2-40B4-BE49-F238E27FC236}">
                <a16:creationId xmlns:a16="http://schemas.microsoft.com/office/drawing/2014/main" id="{2E94C2A3-89CF-36E6-BD07-E465D92FB48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8199441" y="1308100"/>
            <a:ext cx="3710815" cy="620525"/>
          </a:xfrm>
        </p:spPr>
        <p:txBody>
          <a:bodyPr anchor="b">
            <a:noAutofit/>
          </a:bodyPr>
          <a:lstStyle>
            <a:lvl1pPr marL="0" indent="0" rtl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column header</a:t>
            </a:r>
          </a:p>
        </p:txBody>
      </p:sp>
      <p:sp>
        <p:nvSpPr>
          <p:cNvPr id="9" name="Content 2 Placeholder">
            <a:extLst>
              <a:ext uri="{FF2B5EF4-FFF2-40B4-BE49-F238E27FC236}">
                <a16:creationId xmlns:a16="http://schemas.microsoft.com/office/drawing/2014/main" id="{EEE356A3-4F73-532E-E901-63F8001F850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4" hasCustomPrompt="1"/>
          </p:nvPr>
        </p:nvSpPr>
        <p:spPr>
          <a:xfrm>
            <a:off x="4245770" y="2019300"/>
            <a:ext cx="3700459" cy="36576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Header 2 Placeholder">
            <a:extLst>
              <a:ext uri="{FF2B5EF4-FFF2-40B4-BE49-F238E27FC236}">
                <a16:creationId xmlns:a16="http://schemas.microsoft.com/office/drawing/2014/main" id="{BC5A4612-F020-83E1-2D4D-D6D0BB5148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" hasCustomPrompt="1"/>
          </p:nvPr>
        </p:nvSpPr>
        <p:spPr>
          <a:xfrm>
            <a:off x="4240592" y="1308100"/>
            <a:ext cx="3710815" cy="620525"/>
          </a:xfrm>
        </p:spPr>
        <p:txBody>
          <a:bodyPr anchor="b">
            <a:noAutofit/>
          </a:bodyPr>
          <a:lstStyle>
            <a:lvl1pPr marL="0" indent="0" rtl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column header</a:t>
            </a:r>
          </a:p>
        </p:txBody>
      </p:sp>
      <p:sp>
        <p:nvSpPr>
          <p:cNvPr id="7" name="Content 1 Placeholder">
            <a:extLst>
              <a:ext uri="{FF2B5EF4-FFF2-40B4-BE49-F238E27FC236}">
                <a16:creationId xmlns:a16="http://schemas.microsoft.com/office/drawing/2014/main" id="{2EA745BA-CA14-8FD0-05BA-8977508264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292101" y="2019300"/>
            <a:ext cx="3700460" cy="36576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Header 1 Placeholder">
            <a:extLst>
              <a:ext uri="{FF2B5EF4-FFF2-40B4-BE49-F238E27FC236}">
                <a16:creationId xmlns:a16="http://schemas.microsoft.com/office/drawing/2014/main" id="{97696C2F-B753-BD09-3B16-F91EAC65E0F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1" y="1308100"/>
            <a:ext cx="3710815" cy="620525"/>
          </a:xfrm>
        </p:spPr>
        <p:txBody>
          <a:bodyPr anchor="b">
            <a:noAutofit/>
          </a:bodyPr>
          <a:lstStyle>
            <a:lvl1pPr marL="0" indent="0" rtl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column header</a:t>
            </a:r>
          </a:p>
        </p:txBody>
      </p:sp>
      <p:sp>
        <p:nvSpPr>
          <p:cNvPr id="28" name="Subtitle Placeholder">
            <a:extLst>
              <a:ext uri="{FF2B5EF4-FFF2-40B4-BE49-F238E27FC236}">
                <a16:creationId xmlns:a16="http://schemas.microsoft.com/office/drawing/2014/main" id="{8C1BA443-5E48-08B0-7F06-D0960B1340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54DD3914-9029-5BF1-3AFD-5FCA9538DDA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6232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525">
          <p15:clr>
            <a:srgbClr val="FDE53C"/>
          </p15:clr>
        </p15:guide>
        <p15:guide id="11" pos="2669">
          <p15:clr>
            <a:srgbClr val="FDE53C"/>
          </p15:clr>
        </p15:guide>
        <p15:guide id="18" pos="5010">
          <p15:clr>
            <a:srgbClr val="FDE53C"/>
          </p15:clr>
        </p15:guide>
        <p15:guide id="19" pos="5154">
          <p15:clr>
            <a:srgbClr val="FDE53C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m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430827B-A7BA-9C79-C1C8-BDB98DC985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7203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30827B-A7BA-9C79-C1C8-BDB98DC98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">
            <a:extLst>
              <a:ext uri="{FF2B5EF4-FFF2-40B4-BE49-F238E27FC236}">
                <a16:creationId xmlns:a16="http://schemas.microsoft.com/office/drawing/2014/main" id="{12CCAFAE-C3C1-93DF-1738-B04D08AAA19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95100"/>
            <a:ext cx="404321" cy="282957"/>
          </a:xfrm>
        </p:spPr>
        <p:txBody>
          <a:bodyPr/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">
            <a:extLst>
              <a:ext uri="{FF2B5EF4-FFF2-40B4-BE49-F238E27FC236}">
                <a16:creationId xmlns:a16="http://schemas.microsoft.com/office/drawing/2014/main" id="{55FFC31E-E405-EE5D-84F4-271FC2E1F99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7" y="6495102"/>
            <a:ext cx="3716341" cy="282957"/>
          </a:xfrm>
        </p:spPr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12" name="Date Placeholder">
            <a:extLst>
              <a:ext uri="{FF2B5EF4-FFF2-40B4-BE49-F238E27FC236}">
                <a16:creationId xmlns:a16="http://schemas.microsoft.com/office/drawing/2014/main" id="{96FC01CD-E391-B88C-4294-55474F60DE8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2"/>
            <a:ext cx="757238" cy="282957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16" name="Source Placeholder">
            <a:extLst>
              <a:ext uri="{FF2B5EF4-FFF2-40B4-BE49-F238E27FC236}">
                <a16:creationId xmlns:a16="http://schemas.microsoft.com/office/drawing/2014/main" id="{DC33EFBA-9F80-C4A6-4F52-04BD9D8AD5B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6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17" name="Content 3 Placeholder">
            <a:extLst>
              <a:ext uri="{FF2B5EF4-FFF2-40B4-BE49-F238E27FC236}">
                <a16:creationId xmlns:a16="http://schemas.microsoft.com/office/drawing/2014/main" id="{19AC42AA-357A-BBCD-7082-438C23F9891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7" hasCustomPrompt="1"/>
          </p:nvPr>
        </p:nvSpPr>
        <p:spPr>
          <a:xfrm>
            <a:off x="8199441" y="3771900"/>
            <a:ext cx="3700459" cy="19050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Image/Content 3 Placeholder">
            <a:extLst>
              <a:ext uri="{FF2B5EF4-FFF2-40B4-BE49-F238E27FC236}">
                <a16:creationId xmlns:a16="http://schemas.microsoft.com/office/drawing/2014/main" id="{F0ADA552-6794-0F4D-013E-A6DA97DBFF4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5" hasCustomPrompt="1"/>
          </p:nvPr>
        </p:nvSpPr>
        <p:spPr>
          <a:xfrm>
            <a:off x="8199441" y="1638300"/>
            <a:ext cx="3700459" cy="1905000"/>
          </a:xfrm>
          <a:solidFill>
            <a:srgbClr val="F0F0F0"/>
          </a:solidFill>
        </p:spPr>
        <p:txBody>
          <a:bodyPr vert="horz" lIns="0" tIns="0" rIns="0" bIns="0" rtlCol="0" anchor="ctr">
            <a:noAutofit/>
          </a:bodyPr>
          <a:lstStyle>
            <a:lvl1pPr rtl="0">
              <a:defRPr lang="en-US" dirty="0"/>
            </a:lvl1pPr>
            <a:lvl2pPr marL="285750" indent="0">
              <a:buNone/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0" lvl="0" indent="0" algn="ctr">
              <a:buNone/>
            </a:pPr>
            <a:r>
              <a:rPr lang="en-US" dirty="0"/>
              <a:t>Insert your copy here</a:t>
            </a:r>
          </a:p>
        </p:txBody>
      </p:sp>
      <p:sp>
        <p:nvSpPr>
          <p:cNvPr id="18" name="Content 2 Placeholder">
            <a:extLst>
              <a:ext uri="{FF2B5EF4-FFF2-40B4-BE49-F238E27FC236}">
                <a16:creationId xmlns:a16="http://schemas.microsoft.com/office/drawing/2014/main" id="{91174CB4-C42A-BB81-5C74-7EAE27158E3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8" hasCustomPrompt="1"/>
          </p:nvPr>
        </p:nvSpPr>
        <p:spPr>
          <a:xfrm>
            <a:off x="4245770" y="3771900"/>
            <a:ext cx="3700459" cy="19050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Image/Content 2 Placeholder">
            <a:extLst>
              <a:ext uri="{FF2B5EF4-FFF2-40B4-BE49-F238E27FC236}">
                <a16:creationId xmlns:a16="http://schemas.microsoft.com/office/drawing/2014/main" id="{EEE356A3-4F73-532E-E901-63F8001F850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4" hasCustomPrompt="1"/>
          </p:nvPr>
        </p:nvSpPr>
        <p:spPr>
          <a:xfrm>
            <a:off x="4245770" y="1638300"/>
            <a:ext cx="3700459" cy="1905000"/>
          </a:xfrm>
          <a:solidFill>
            <a:srgbClr val="F0F0F0"/>
          </a:solidFill>
        </p:spPr>
        <p:txBody>
          <a:bodyPr vert="horz" lIns="0" tIns="0" rIns="0" bIns="0" rtlCol="0" anchor="ctr">
            <a:noAutofit/>
          </a:bodyPr>
          <a:lstStyle>
            <a:lvl1pPr rtl="0"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0" lvl="0" indent="0" algn="ctr">
              <a:buNone/>
            </a:pPr>
            <a:r>
              <a:rPr lang="en-US" dirty="0"/>
              <a:t>Insert your copy here</a:t>
            </a:r>
          </a:p>
        </p:txBody>
      </p:sp>
      <p:sp>
        <p:nvSpPr>
          <p:cNvPr id="19" name="Content 1 Placeholder">
            <a:extLst>
              <a:ext uri="{FF2B5EF4-FFF2-40B4-BE49-F238E27FC236}">
                <a16:creationId xmlns:a16="http://schemas.microsoft.com/office/drawing/2014/main" id="{20DCDE7D-AA2C-B7B3-8FBD-202D432B2BC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9" hasCustomPrompt="1"/>
          </p:nvPr>
        </p:nvSpPr>
        <p:spPr>
          <a:xfrm>
            <a:off x="292101" y="3771900"/>
            <a:ext cx="3700460" cy="19050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Image/Content 1 Placeholder">
            <a:extLst>
              <a:ext uri="{FF2B5EF4-FFF2-40B4-BE49-F238E27FC236}">
                <a16:creationId xmlns:a16="http://schemas.microsoft.com/office/drawing/2014/main" id="{2EA745BA-CA14-8FD0-05BA-8977508264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292101" y="1638300"/>
            <a:ext cx="3700460" cy="1905000"/>
          </a:xfrm>
          <a:solidFill>
            <a:srgbClr val="F0F0F0"/>
          </a:solidFill>
        </p:spPr>
        <p:txBody>
          <a:bodyPr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lvl="0"/>
            <a:r>
              <a:rPr lang="en-US"/>
              <a:t>Insert content</a:t>
            </a:r>
            <a:endParaRPr lang="en-US" dirty="0"/>
          </a:p>
        </p:txBody>
      </p:sp>
      <p:sp>
        <p:nvSpPr>
          <p:cNvPr id="20" name="Subtitle Placeholder">
            <a:extLst>
              <a:ext uri="{FF2B5EF4-FFF2-40B4-BE49-F238E27FC236}">
                <a16:creationId xmlns:a16="http://schemas.microsoft.com/office/drawing/2014/main" id="{54C4B065-17A6-1D25-422B-92271767584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21" name="Title Placeholder">
            <a:extLst>
              <a:ext uri="{FF2B5EF4-FFF2-40B4-BE49-F238E27FC236}">
                <a16:creationId xmlns:a16="http://schemas.microsoft.com/office/drawing/2014/main" id="{F79F3FC7-37DD-5A7A-D505-4F22DDE2487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11613314" cy="26559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160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525">
          <p15:clr>
            <a:srgbClr val="FDE53C"/>
          </p15:clr>
        </p15:guide>
        <p15:guide id="11" pos="2669">
          <p15:clr>
            <a:srgbClr val="FDE53C"/>
          </p15:clr>
        </p15:guide>
        <p15:guide id="18" pos="5010">
          <p15:clr>
            <a:srgbClr val="FDE53C"/>
          </p15:clr>
        </p15:guide>
        <p15:guide id="19" pos="5154">
          <p15:clr>
            <a:srgbClr val="FDE53C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8B7652A-90AC-6FA7-4E08-2B44E80572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4763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B7652A-90AC-6FA7-4E08-2B44E80572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Slide Number Placeholder">
            <a:extLst>
              <a:ext uri="{FF2B5EF4-FFF2-40B4-BE49-F238E27FC236}">
                <a16:creationId xmlns:a16="http://schemas.microsoft.com/office/drawing/2014/main" id="{D495B8CC-E8CB-7F1A-1316-9781EDA1285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95100"/>
            <a:ext cx="40432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ooter Placeholder">
            <a:extLst>
              <a:ext uri="{FF2B5EF4-FFF2-40B4-BE49-F238E27FC236}">
                <a16:creationId xmlns:a16="http://schemas.microsoft.com/office/drawing/2014/main" id="{755874C6-354E-0479-18AF-0B5B6F2D8DB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7" y="6495102"/>
            <a:ext cx="371634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17" name="Date Placeholder">
            <a:extLst>
              <a:ext uri="{FF2B5EF4-FFF2-40B4-BE49-F238E27FC236}">
                <a16:creationId xmlns:a16="http://schemas.microsoft.com/office/drawing/2014/main" id="{7C2D774A-7DFB-C505-8D80-D8FC261E954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2"/>
            <a:ext cx="757238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18" name="Source Placeholder">
            <a:extLst>
              <a:ext uri="{FF2B5EF4-FFF2-40B4-BE49-F238E27FC236}">
                <a16:creationId xmlns:a16="http://schemas.microsoft.com/office/drawing/2014/main" id="{1D1442CA-AA80-3CCA-30CB-BC1CBF625A1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6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27" name="Content 4 Placeholder">
            <a:extLst>
              <a:ext uri="{FF2B5EF4-FFF2-40B4-BE49-F238E27FC236}">
                <a16:creationId xmlns:a16="http://schemas.microsoft.com/office/drawing/2014/main" id="{7C2B5AD6-A6E3-3B28-9679-4CAA49FFC4B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7" hasCustomPrompt="1"/>
          </p:nvPr>
        </p:nvSpPr>
        <p:spPr>
          <a:xfrm>
            <a:off x="9169401" y="2019300"/>
            <a:ext cx="2725320" cy="36576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Header 4 Placeholder">
            <a:extLst>
              <a:ext uri="{FF2B5EF4-FFF2-40B4-BE49-F238E27FC236}">
                <a16:creationId xmlns:a16="http://schemas.microsoft.com/office/drawing/2014/main" id="{46CE2237-C386-E5C2-9850-234FCD6F556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8" hasCustomPrompt="1"/>
          </p:nvPr>
        </p:nvSpPr>
        <p:spPr>
          <a:xfrm>
            <a:off x="9169401" y="1308100"/>
            <a:ext cx="2730499" cy="620525"/>
          </a:xfrm>
        </p:spPr>
        <p:txBody>
          <a:bodyPr anchor="b">
            <a:noAutofit/>
          </a:bodyPr>
          <a:lstStyle>
            <a:lvl1pPr marL="0" indent="0" rtl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column header</a:t>
            </a:r>
          </a:p>
        </p:txBody>
      </p:sp>
      <p:sp>
        <p:nvSpPr>
          <p:cNvPr id="19" name="Content 3 Placeholder">
            <a:extLst>
              <a:ext uri="{FF2B5EF4-FFF2-40B4-BE49-F238E27FC236}">
                <a16:creationId xmlns:a16="http://schemas.microsoft.com/office/drawing/2014/main" id="{9D282216-D102-1092-A42F-C09C78C616B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5" hasCustomPrompt="1"/>
          </p:nvPr>
        </p:nvSpPr>
        <p:spPr>
          <a:xfrm>
            <a:off x="6215481" y="2019300"/>
            <a:ext cx="2725320" cy="36576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Header 3 Placeholder">
            <a:extLst>
              <a:ext uri="{FF2B5EF4-FFF2-40B4-BE49-F238E27FC236}">
                <a16:creationId xmlns:a16="http://schemas.microsoft.com/office/drawing/2014/main" id="{DF86DE8F-0F64-3718-C7A3-3C0DA008E36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6215481" y="1308100"/>
            <a:ext cx="2730499" cy="620525"/>
          </a:xfrm>
        </p:spPr>
        <p:txBody>
          <a:bodyPr anchor="b">
            <a:noAutofit/>
          </a:bodyPr>
          <a:lstStyle>
            <a:lvl1pPr marL="0" indent="0" rtl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column header</a:t>
            </a:r>
          </a:p>
        </p:txBody>
      </p:sp>
      <p:sp>
        <p:nvSpPr>
          <p:cNvPr id="21" name="Content 2 Placeholder">
            <a:extLst>
              <a:ext uri="{FF2B5EF4-FFF2-40B4-BE49-F238E27FC236}">
                <a16:creationId xmlns:a16="http://schemas.microsoft.com/office/drawing/2014/main" id="{0C107B28-6253-BBE5-A677-D106A288FC6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4" hasCustomPrompt="1"/>
          </p:nvPr>
        </p:nvSpPr>
        <p:spPr>
          <a:xfrm>
            <a:off x="3251201" y="2019300"/>
            <a:ext cx="2725320" cy="36576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er 2 Placeholder">
            <a:extLst>
              <a:ext uri="{FF2B5EF4-FFF2-40B4-BE49-F238E27FC236}">
                <a16:creationId xmlns:a16="http://schemas.microsoft.com/office/drawing/2014/main" id="{F576DA41-4177-FBCB-15CA-5D5CFC03D6E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" hasCustomPrompt="1"/>
          </p:nvPr>
        </p:nvSpPr>
        <p:spPr>
          <a:xfrm>
            <a:off x="3251201" y="1308100"/>
            <a:ext cx="2730499" cy="620525"/>
          </a:xfrm>
        </p:spPr>
        <p:txBody>
          <a:bodyPr anchor="b">
            <a:noAutofit/>
          </a:bodyPr>
          <a:lstStyle>
            <a:lvl1pPr marL="0" indent="0" rtl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column header</a:t>
            </a:r>
          </a:p>
        </p:txBody>
      </p:sp>
      <p:sp>
        <p:nvSpPr>
          <p:cNvPr id="23" name="Content 1 Placeholder">
            <a:extLst>
              <a:ext uri="{FF2B5EF4-FFF2-40B4-BE49-F238E27FC236}">
                <a16:creationId xmlns:a16="http://schemas.microsoft.com/office/drawing/2014/main" id="{798BF9BC-09E8-98E1-3853-58189E5CB99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292101" y="2019300"/>
            <a:ext cx="2725321" cy="36576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Header 1 Placeholder">
            <a:extLst>
              <a:ext uri="{FF2B5EF4-FFF2-40B4-BE49-F238E27FC236}">
                <a16:creationId xmlns:a16="http://schemas.microsoft.com/office/drawing/2014/main" id="{3DBA9534-E843-A204-0F9A-0F01FA42573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1" y="1308100"/>
            <a:ext cx="2730499" cy="620525"/>
          </a:xfrm>
        </p:spPr>
        <p:txBody>
          <a:bodyPr anchor="b">
            <a:noAutofit/>
          </a:bodyPr>
          <a:lstStyle>
            <a:lvl1pPr marL="0" indent="0" rtl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column header</a:t>
            </a:r>
          </a:p>
        </p:txBody>
      </p:sp>
      <p:sp>
        <p:nvSpPr>
          <p:cNvPr id="25" name="Subtitle Placeholder">
            <a:extLst>
              <a:ext uri="{FF2B5EF4-FFF2-40B4-BE49-F238E27FC236}">
                <a16:creationId xmlns:a16="http://schemas.microsoft.com/office/drawing/2014/main" id="{F84E48B2-4370-582F-FBFE-E1DA1A8B91C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26" name="Title Placeholder">
            <a:extLst>
              <a:ext uri="{FF2B5EF4-FFF2-40B4-BE49-F238E27FC236}">
                <a16:creationId xmlns:a16="http://schemas.microsoft.com/office/drawing/2014/main" id="{3E0B6312-F182-139F-C3A4-F69C900CC48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11613314" cy="265590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6677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904">
          <p15:clr>
            <a:srgbClr val="5ACBF0"/>
          </p15:clr>
        </p15:guide>
        <p15:guide id="9" pos="2048">
          <p15:clr>
            <a:srgbClr val="5ACBF0"/>
          </p15:clr>
        </p15:guide>
        <p15:guide id="14" pos="3768">
          <p15:clr>
            <a:srgbClr val="A4A3A4"/>
          </p15:clr>
        </p15:guide>
        <p15:guide id="15" pos="3912">
          <p15:clr>
            <a:srgbClr val="A4A3A4"/>
          </p15:clr>
        </p15:guide>
        <p15:guide id="20" pos="5631">
          <p15:clr>
            <a:srgbClr val="5ACBF0"/>
          </p15:clr>
        </p15:guide>
        <p15:guide id="21" pos="5775">
          <p15:clr>
            <a:srgbClr val="5ACBF0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191669E-879D-E619-8CB9-881DF81C89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7256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91669E-879D-E619-8CB9-881DF81C8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">
            <a:extLst>
              <a:ext uri="{FF2B5EF4-FFF2-40B4-BE49-F238E27FC236}">
                <a16:creationId xmlns:a16="http://schemas.microsoft.com/office/drawing/2014/main" id="{63BBECEB-ADAD-567C-0E7F-32D5DD73D22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95100"/>
            <a:ext cx="40432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">
            <a:extLst>
              <a:ext uri="{FF2B5EF4-FFF2-40B4-BE49-F238E27FC236}">
                <a16:creationId xmlns:a16="http://schemas.microsoft.com/office/drawing/2014/main" id="{4CE5B1DD-3293-4063-F7F1-B70B9765EBB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7" y="6495102"/>
            <a:ext cx="371634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12" name="Date Placeholder">
            <a:extLst>
              <a:ext uri="{FF2B5EF4-FFF2-40B4-BE49-F238E27FC236}">
                <a16:creationId xmlns:a16="http://schemas.microsoft.com/office/drawing/2014/main" id="{2B42008E-A492-279B-2ED3-A175F4B4468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2"/>
            <a:ext cx="757238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18" name="Source Placeholder">
            <a:extLst>
              <a:ext uri="{FF2B5EF4-FFF2-40B4-BE49-F238E27FC236}">
                <a16:creationId xmlns:a16="http://schemas.microsoft.com/office/drawing/2014/main" id="{B58D918B-E5ED-CEFD-AC78-E2B63F48FCB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6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27" name="Content 4 Placeholder">
            <a:extLst>
              <a:ext uri="{FF2B5EF4-FFF2-40B4-BE49-F238E27FC236}">
                <a16:creationId xmlns:a16="http://schemas.microsoft.com/office/drawing/2014/main" id="{144A1808-BD26-954C-7A7D-83EEA82BA69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20" hasCustomPrompt="1"/>
          </p:nvPr>
        </p:nvSpPr>
        <p:spPr>
          <a:xfrm>
            <a:off x="9169398" y="3771900"/>
            <a:ext cx="2730499" cy="19050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Image/Content 4 Placeholder">
            <a:extLst>
              <a:ext uri="{FF2B5EF4-FFF2-40B4-BE49-F238E27FC236}">
                <a16:creationId xmlns:a16="http://schemas.microsoft.com/office/drawing/2014/main" id="{8FC58B79-91D4-E705-AA46-09881D8F6B6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21" hasCustomPrompt="1"/>
          </p:nvPr>
        </p:nvSpPr>
        <p:spPr>
          <a:xfrm>
            <a:off x="9169398" y="1638300"/>
            <a:ext cx="2730499" cy="1905000"/>
          </a:xfrm>
          <a:solidFill>
            <a:srgbClr val="F0F0F0"/>
          </a:solidFill>
        </p:spPr>
        <p:txBody>
          <a:bodyPr vert="horz" lIns="0" tIns="0" rIns="0" bIns="0" rtlCol="0" anchor="ctr">
            <a:noAutofit/>
          </a:bodyPr>
          <a:lstStyle>
            <a:lvl1pPr rtl="0">
              <a:defRPr lang="en-US" dirty="0"/>
            </a:lvl1pPr>
            <a:lvl2pPr marL="285750" indent="0">
              <a:buNone/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0" lvl="0" indent="0" algn="ctr">
              <a:buNone/>
            </a:pPr>
            <a:r>
              <a:rPr lang="en-US" dirty="0"/>
              <a:t>Insert your copy here</a:t>
            </a:r>
          </a:p>
        </p:txBody>
      </p:sp>
      <p:sp>
        <p:nvSpPr>
          <p:cNvPr id="19" name="Content 3 Placeholder">
            <a:extLst>
              <a:ext uri="{FF2B5EF4-FFF2-40B4-BE49-F238E27FC236}">
                <a16:creationId xmlns:a16="http://schemas.microsoft.com/office/drawing/2014/main" id="{1C68F5D6-927B-1890-8237-531EC33D821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7" hasCustomPrompt="1"/>
          </p:nvPr>
        </p:nvSpPr>
        <p:spPr>
          <a:xfrm>
            <a:off x="6210300" y="3771900"/>
            <a:ext cx="2730499" cy="19050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Image/Content 3 Placeholder">
            <a:extLst>
              <a:ext uri="{FF2B5EF4-FFF2-40B4-BE49-F238E27FC236}">
                <a16:creationId xmlns:a16="http://schemas.microsoft.com/office/drawing/2014/main" id="{6A6CF041-3B02-7A63-A899-5A7D01696A1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5" hasCustomPrompt="1"/>
          </p:nvPr>
        </p:nvSpPr>
        <p:spPr>
          <a:xfrm>
            <a:off x="6210300" y="1638300"/>
            <a:ext cx="2730499" cy="1905000"/>
          </a:xfrm>
          <a:solidFill>
            <a:srgbClr val="F0F0F0"/>
          </a:solidFill>
        </p:spPr>
        <p:txBody>
          <a:bodyPr vert="horz" lIns="0" tIns="0" rIns="0" bIns="0" rtlCol="0" anchor="ctr">
            <a:noAutofit/>
          </a:bodyPr>
          <a:lstStyle>
            <a:lvl1pPr rtl="0">
              <a:defRPr lang="en-US" dirty="0"/>
            </a:lvl1pPr>
            <a:lvl2pPr marL="285750" indent="0">
              <a:buNone/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0" lvl="0" indent="0" algn="ctr">
              <a:buNone/>
            </a:pPr>
            <a:r>
              <a:rPr lang="en-US" dirty="0"/>
              <a:t>Insert your copy here</a:t>
            </a:r>
          </a:p>
        </p:txBody>
      </p:sp>
      <p:sp>
        <p:nvSpPr>
          <p:cNvPr id="21" name="Content 2 Placeholder">
            <a:extLst>
              <a:ext uri="{FF2B5EF4-FFF2-40B4-BE49-F238E27FC236}">
                <a16:creationId xmlns:a16="http://schemas.microsoft.com/office/drawing/2014/main" id="{D738D949-C558-6B16-B96A-624CAABF5C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8" hasCustomPrompt="1"/>
          </p:nvPr>
        </p:nvSpPr>
        <p:spPr>
          <a:xfrm>
            <a:off x="3251202" y="3771900"/>
            <a:ext cx="2730499" cy="19050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Image/Content 2 Placeholder">
            <a:extLst>
              <a:ext uri="{FF2B5EF4-FFF2-40B4-BE49-F238E27FC236}">
                <a16:creationId xmlns:a16="http://schemas.microsoft.com/office/drawing/2014/main" id="{5F2A25EF-6714-B247-2DB2-B0DC035CA2A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4" hasCustomPrompt="1"/>
          </p:nvPr>
        </p:nvSpPr>
        <p:spPr>
          <a:xfrm>
            <a:off x="3251202" y="1638300"/>
            <a:ext cx="2730499" cy="1905000"/>
          </a:xfrm>
          <a:solidFill>
            <a:srgbClr val="F0F0F0"/>
          </a:solidFill>
        </p:spPr>
        <p:txBody>
          <a:bodyPr vert="horz" lIns="0" tIns="0" rIns="0" bIns="0" rtlCol="0" anchor="ctr">
            <a:noAutofit/>
          </a:bodyPr>
          <a:lstStyle>
            <a:lvl1pPr rtl="0"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0" lvl="0" indent="0" algn="ctr">
              <a:buNone/>
            </a:pPr>
            <a:r>
              <a:rPr lang="en-US" dirty="0"/>
              <a:t>Insert your copy here</a:t>
            </a:r>
          </a:p>
        </p:txBody>
      </p:sp>
      <p:sp>
        <p:nvSpPr>
          <p:cNvPr id="23" name="Content 1 Placeholder">
            <a:extLst>
              <a:ext uri="{FF2B5EF4-FFF2-40B4-BE49-F238E27FC236}">
                <a16:creationId xmlns:a16="http://schemas.microsoft.com/office/drawing/2014/main" id="{9B7A0767-D64A-2252-7ED8-79BDD2A285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9" hasCustomPrompt="1"/>
          </p:nvPr>
        </p:nvSpPr>
        <p:spPr>
          <a:xfrm>
            <a:off x="292101" y="3771900"/>
            <a:ext cx="2730500" cy="19050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Image/Content 1 Placeholder">
            <a:extLst>
              <a:ext uri="{FF2B5EF4-FFF2-40B4-BE49-F238E27FC236}">
                <a16:creationId xmlns:a16="http://schemas.microsoft.com/office/drawing/2014/main" id="{ACCC2EE9-2558-5373-EC90-280A39D1898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292101" y="1638300"/>
            <a:ext cx="2730500" cy="1905000"/>
          </a:xfrm>
          <a:solidFill>
            <a:srgbClr val="F0F0F0"/>
          </a:solidFill>
        </p:spPr>
        <p:txBody>
          <a:bodyPr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lvl="0"/>
            <a:r>
              <a:rPr lang="en-US"/>
              <a:t>Insert content</a:t>
            </a:r>
            <a:endParaRPr lang="en-US" dirty="0"/>
          </a:p>
        </p:txBody>
      </p:sp>
      <p:sp>
        <p:nvSpPr>
          <p:cNvPr id="25" name="Subtitle Placeholder">
            <a:extLst>
              <a:ext uri="{FF2B5EF4-FFF2-40B4-BE49-F238E27FC236}">
                <a16:creationId xmlns:a16="http://schemas.microsoft.com/office/drawing/2014/main" id="{377C48EF-B0F0-FB83-53E1-3E98D8DF928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26" name="Title Placeholder">
            <a:extLst>
              <a:ext uri="{FF2B5EF4-FFF2-40B4-BE49-F238E27FC236}">
                <a16:creationId xmlns:a16="http://schemas.microsoft.com/office/drawing/2014/main" id="{11AA0F79-4C10-AAB7-4E1A-A1143BCD44D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11613314" cy="265590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9367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904">
          <p15:clr>
            <a:srgbClr val="5ACBF0"/>
          </p15:clr>
        </p15:guide>
        <p15:guide id="9" pos="2048">
          <p15:clr>
            <a:srgbClr val="5ACBF0"/>
          </p15:clr>
        </p15:guide>
        <p15:guide id="14" pos="3768">
          <p15:clr>
            <a:srgbClr val="A4A3A4"/>
          </p15:clr>
        </p15:guide>
        <p15:guide id="15" pos="3912">
          <p15:clr>
            <a:srgbClr val="A4A3A4"/>
          </p15:clr>
        </p15:guide>
        <p15:guide id="20" pos="5631">
          <p15:clr>
            <a:srgbClr val="5ACBF0"/>
          </p15:clr>
        </p15:guide>
        <p15:guide id="21" pos="5775">
          <p15:clr>
            <a:srgbClr val="5ACBF0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3372D55B-DF5B-878B-E270-AF68BF7A02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2D8B8CD0-A918-4D9A-8B83-4ECDE9349120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4D232B53-FA76-C372-3BF1-A3898B6069E4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0888B918-6E26-ACE0-6591-802C1DE1E8E9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FE0242B6-0FBE-72E8-3E25-FB5C49CEF0DC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FA1E7E2B-C8FC-2239-2546-337821C4600B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0ADFB1E6-79D8-89DD-8D5C-F82DED503C58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46FA6F38-1DA4-AA00-F367-D0CA9A98715F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F724538F-38F7-645C-E1B4-1FBC14617EC6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2AC44F23-B7E2-840E-FEED-D96E175CE5D4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AE38ECB5-54D1-EC05-6215-8740B88199BE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646006D9-EE5B-2F94-1D8A-C6EEA552C8DB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B0A5F9AC-8389-A8CE-E4DD-8869D3A81E3A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96568FFC-C6BB-467C-E4A6-676B8F962DCC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6B1188E5-CD61-B5C4-E327-BAA6594C86CE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0" name="Rechteck 79">
              <a:extLst>
                <a:ext uri="{FF2B5EF4-FFF2-40B4-BE49-F238E27FC236}">
                  <a16:creationId xmlns:a16="http://schemas.microsoft.com/office/drawing/2014/main" id="{1AD7256D-513A-1217-C823-686EDCDC4C55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386E3984-4E0A-D44C-4536-039C63764A35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4AAB3199-8192-D440-F367-E6E081128F06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23F0D60B-D04B-1620-E74A-036B17559A8C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FBC92A60-2945-BF6A-207F-7D0DCF7C253F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7479D1E8-90F5-BC18-C772-8A37F9D7DCE7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67F22A96-F741-177E-6808-1D213256B87E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7" name="Rechteck 86">
              <a:extLst>
                <a:ext uri="{FF2B5EF4-FFF2-40B4-BE49-F238E27FC236}">
                  <a16:creationId xmlns:a16="http://schemas.microsoft.com/office/drawing/2014/main" id="{24A2538C-392B-F1AA-8609-0800E6D2E4B1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8" name="Rechteck 87">
              <a:extLst>
                <a:ext uri="{FF2B5EF4-FFF2-40B4-BE49-F238E27FC236}">
                  <a16:creationId xmlns:a16="http://schemas.microsoft.com/office/drawing/2014/main" id="{3F5659DA-0A75-D48A-F057-4FB594532732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9" name="Rechteck 88">
              <a:extLst>
                <a:ext uri="{FF2B5EF4-FFF2-40B4-BE49-F238E27FC236}">
                  <a16:creationId xmlns:a16="http://schemas.microsoft.com/office/drawing/2014/main" id="{3D69D1FB-1AF7-9904-CC3E-6C5BF76BDEA4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5" name="Rechteck 94">
              <a:extLst>
                <a:ext uri="{FF2B5EF4-FFF2-40B4-BE49-F238E27FC236}">
                  <a16:creationId xmlns:a16="http://schemas.microsoft.com/office/drawing/2014/main" id="{E6208661-5DD3-173A-6D41-5CBA60DEA8A5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D82AB69E-5578-9110-CFDA-61BA984B0779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272E29DC-6BFF-A01F-8A0C-D70AABC1A353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3AB14283-8B29-E816-14AA-75CA7C23B6B5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A59908C2-F446-90CF-1869-93DB553B2A6F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95D3DDE8-51DA-8833-AF8F-9DBD0424E38B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18" name="Rechteck 117">
              <a:extLst>
                <a:ext uri="{FF2B5EF4-FFF2-40B4-BE49-F238E27FC236}">
                  <a16:creationId xmlns:a16="http://schemas.microsoft.com/office/drawing/2014/main" id="{654CABEC-8C4A-13E3-3669-7FB553156B80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19" name="Rechteck 118">
              <a:extLst>
                <a:ext uri="{FF2B5EF4-FFF2-40B4-BE49-F238E27FC236}">
                  <a16:creationId xmlns:a16="http://schemas.microsoft.com/office/drawing/2014/main" id="{CF754393-5B8F-DDC5-ED92-040760E53368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20" name="Rechteck 119">
              <a:extLst>
                <a:ext uri="{FF2B5EF4-FFF2-40B4-BE49-F238E27FC236}">
                  <a16:creationId xmlns:a16="http://schemas.microsoft.com/office/drawing/2014/main" id="{9046C57E-EE1B-E95D-2AB3-3094B74E95FC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21" name="Rechteck 120">
              <a:extLst>
                <a:ext uri="{FF2B5EF4-FFF2-40B4-BE49-F238E27FC236}">
                  <a16:creationId xmlns:a16="http://schemas.microsoft.com/office/drawing/2014/main" id="{319A762A-3854-B9EA-9316-E199584AA481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22" name="Rechteck 121">
              <a:extLst>
                <a:ext uri="{FF2B5EF4-FFF2-40B4-BE49-F238E27FC236}">
                  <a16:creationId xmlns:a16="http://schemas.microsoft.com/office/drawing/2014/main" id="{388AD491-9200-ACB9-6257-E440148C38B1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23" name="Rechteck 122">
              <a:extLst>
                <a:ext uri="{FF2B5EF4-FFF2-40B4-BE49-F238E27FC236}">
                  <a16:creationId xmlns:a16="http://schemas.microsoft.com/office/drawing/2014/main" id="{C335B5AA-8542-09F4-A16C-90BDD1A97220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1" name="Rechteck 140">
              <a:extLst>
                <a:ext uri="{FF2B5EF4-FFF2-40B4-BE49-F238E27FC236}">
                  <a16:creationId xmlns:a16="http://schemas.microsoft.com/office/drawing/2014/main" id="{3A37C102-D5BC-66A4-C15C-CB9DCBB6BB8C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E2087D6C-C560-89A3-D930-60315114736D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3" name="Rechteck 142">
              <a:extLst>
                <a:ext uri="{FF2B5EF4-FFF2-40B4-BE49-F238E27FC236}">
                  <a16:creationId xmlns:a16="http://schemas.microsoft.com/office/drawing/2014/main" id="{C1754029-10DC-6D4B-1269-4F32947FDF03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4" name="Rechteck 143">
              <a:extLst>
                <a:ext uri="{FF2B5EF4-FFF2-40B4-BE49-F238E27FC236}">
                  <a16:creationId xmlns:a16="http://schemas.microsoft.com/office/drawing/2014/main" id="{E9940C7B-8575-13FA-60C2-4739B45183F2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5" name="Rechteck 144">
              <a:extLst>
                <a:ext uri="{FF2B5EF4-FFF2-40B4-BE49-F238E27FC236}">
                  <a16:creationId xmlns:a16="http://schemas.microsoft.com/office/drawing/2014/main" id="{20CEE341-266F-B5A1-D5FE-42A1165600C9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6" name="Rechteck 145">
              <a:extLst>
                <a:ext uri="{FF2B5EF4-FFF2-40B4-BE49-F238E27FC236}">
                  <a16:creationId xmlns:a16="http://schemas.microsoft.com/office/drawing/2014/main" id="{07C11134-46C1-378E-6C42-90D51CFE1C1C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4" name="Rechteck 163">
              <a:extLst>
                <a:ext uri="{FF2B5EF4-FFF2-40B4-BE49-F238E27FC236}">
                  <a16:creationId xmlns:a16="http://schemas.microsoft.com/office/drawing/2014/main" id="{03CA6F13-3D99-C26E-9BD4-BE7C5B8D1C73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5" name="Rechteck 164">
              <a:extLst>
                <a:ext uri="{FF2B5EF4-FFF2-40B4-BE49-F238E27FC236}">
                  <a16:creationId xmlns:a16="http://schemas.microsoft.com/office/drawing/2014/main" id="{71FB9E06-94FF-1460-6A2E-271178AF7C48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6" name="Rechteck 165">
              <a:extLst>
                <a:ext uri="{FF2B5EF4-FFF2-40B4-BE49-F238E27FC236}">
                  <a16:creationId xmlns:a16="http://schemas.microsoft.com/office/drawing/2014/main" id="{57421275-5BF0-BA0F-5FA3-52105BE88709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7" name="Rechteck 166">
              <a:extLst>
                <a:ext uri="{FF2B5EF4-FFF2-40B4-BE49-F238E27FC236}">
                  <a16:creationId xmlns:a16="http://schemas.microsoft.com/office/drawing/2014/main" id="{2897480A-8BE6-89E6-93D1-2974D9965314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8" name="Rechteck 167">
              <a:extLst>
                <a:ext uri="{FF2B5EF4-FFF2-40B4-BE49-F238E27FC236}">
                  <a16:creationId xmlns:a16="http://schemas.microsoft.com/office/drawing/2014/main" id="{88A18E1C-6F1B-8823-1AF7-F785426782D2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9" name="Rechteck 168">
              <a:extLst>
                <a:ext uri="{FF2B5EF4-FFF2-40B4-BE49-F238E27FC236}">
                  <a16:creationId xmlns:a16="http://schemas.microsoft.com/office/drawing/2014/main" id="{05E5C208-77D8-6492-C8DE-89EA89879893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87" name="Rechteck 186">
              <a:extLst>
                <a:ext uri="{FF2B5EF4-FFF2-40B4-BE49-F238E27FC236}">
                  <a16:creationId xmlns:a16="http://schemas.microsoft.com/office/drawing/2014/main" id="{454D55A6-69AC-1982-41BF-2E0985DF19D0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88" name="Rechteck 187">
              <a:extLst>
                <a:ext uri="{FF2B5EF4-FFF2-40B4-BE49-F238E27FC236}">
                  <a16:creationId xmlns:a16="http://schemas.microsoft.com/office/drawing/2014/main" id="{06582C43-AE5B-3B69-4563-EDDCAF718E59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89" name="Rechteck 188">
              <a:extLst>
                <a:ext uri="{FF2B5EF4-FFF2-40B4-BE49-F238E27FC236}">
                  <a16:creationId xmlns:a16="http://schemas.microsoft.com/office/drawing/2014/main" id="{C5F26964-2EF2-08E5-8B07-7CE7881B2602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0" name="Rechteck 189">
              <a:extLst>
                <a:ext uri="{FF2B5EF4-FFF2-40B4-BE49-F238E27FC236}">
                  <a16:creationId xmlns:a16="http://schemas.microsoft.com/office/drawing/2014/main" id="{32291D88-A86A-9ED7-BABB-581F278604F6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AC4A2243-3EE1-37CC-3060-F5152EC38B36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2" name="Rechteck 191">
              <a:extLst>
                <a:ext uri="{FF2B5EF4-FFF2-40B4-BE49-F238E27FC236}">
                  <a16:creationId xmlns:a16="http://schemas.microsoft.com/office/drawing/2014/main" id="{0071C46D-302D-F6F4-3302-8270870508F7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C99B72C5-A0F3-3612-A7C7-31307866317A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C6528FD0-20BD-0EA8-87EC-1637072049BB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76621617-2F7B-2DB5-55DF-FEF1185E45B8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3" name="Rechteck 212">
              <a:extLst>
                <a:ext uri="{FF2B5EF4-FFF2-40B4-BE49-F238E27FC236}">
                  <a16:creationId xmlns:a16="http://schemas.microsoft.com/office/drawing/2014/main" id="{6E72D813-520F-D096-D3CB-76918D5D3478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569D4C52-FBB8-7F1A-9887-8CCFA267AA3C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5" name="Rechteck 214">
              <a:extLst>
                <a:ext uri="{FF2B5EF4-FFF2-40B4-BE49-F238E27FC236}">
                  <a16:creationId xmlns:a16="http://schemas.microsoft.com/office/drawing/2014/main" id="{AA99D5DB-5D3D-53DB-FC50-FF05F4CA47CB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6" name="Rechteck 215">
              <a:extLst>
                <a:ext uri="{FF2B5EF4-FFF2-40B4-BE49-F238E27FC236}">
                  <a16:creationId xmlns:a16="http://schemas.microsoft.com/office/drawing/2014/main" id="{1CF58A24-8656-5AA7-BEBD-55AAF3281A9E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5" name="Rechteck 254">
              <a:extLst>
                <a:ext uri="{FF2B5EF4-FFF2-40B4-BE49-F238E27FC236}">
                  <a16:creationId xmlns:a16="http://schemas.microsoft.com/office/drawing/2014/main" id="{69378F78-BE02-36F9-9023-8B7C5B2F2436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3434AA33-A769-86A2-6267-1CF67CF17D43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8869885B-A7CF-271D-2250-95783ED628A0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8D0B4205-9279-7C9E-2F0A-417BE63DAF5C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5F450C99-3248-5FDD-C05D-86AA682D4362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B6D1B5C1-AF37-49AE-9F7F-CCEDDAA93A43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C16D46F4-21D9-DCAA-3DAA-F1BDF69307B6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8E7E6966-718B-5862-42E4-82F4DED3BFA0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882706A7-29E2-E3EA-3408-17FB4E919900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1986A5D7-AF82-63C9-76D6-3CD59BCC432A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B100A660-F65E-74C3-B8DE-B5A350550FC3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43AE1A6A-F453-940E-1A0F-A077354ECB6F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713A0AA1-8A1F-26A5-E085-EFB1F50DCAB0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FA868219-BA8A-F8F2-1C8D-91C81ACA2868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D710CC4C-4F6D-A657-1C23-851B85A1B88D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28C7E710-B287-0276-B5D0-9AC91AE76B04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4D7961F2-2D57-EF97-3102-83BED17525BF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59C89E42-25CB-61BD-7141-68BDBED9D90E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7F33EE8E-E2F8-E8EF-9703-27A22655F370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E4A7170D-3492-8300-B639-2C7AC2F8EA76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AECAC77B-ABD1-6CE4-DEE1-88D77F673984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D27BB99E-2DF4-FFC5-8F50-887F493E3897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BDB0758F-AD28-37D2-6A38-0882F101DE64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7284447C-1797-503D-1FC1-CFA604F478A9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18C0657A-BDC9-8FBB-C472-A788927282AA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880227BA-B206-6CAD-9E32-C145EE6B7994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8394C89A-81E9-F5F0-BE8E-82BD5F606F50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394C4797-166C-3476-924D-8EF06C923D78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F3C31654-44C7-8F70-BF1C-E5ABB7741035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D5D0FC4A-1EF1-3BBE-298F-5446B6D51AC2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A2ADC623-2998-16BC-56B2-FA94B84D6001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321AE098-CA64-068C-CC2C-D282BE8148BD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80D2BB41-03C2-53F0-2B74-E7FCF2FD5156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7DF3ACFD-3460-C73B-839C-8920B7552081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1CDE75C6-07C8-CE29-025A-DB237B0F3AF6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241B3B4C-9ECE-368B-9D94-A2BE024C7937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A16A0B79-A142-3E79-3B0A-4E1EA505B189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D577F498-B8D3-08C5-E878-B7E821CEAF39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1C3EF8F6-ABFE-AA2F-6C28-36CD95B7D9A3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C347EAC4-72C3-2CAE-9FFF-BDB25FF8DC30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FEAAF333-DE99-4917-CA33-E7AD0594E4DA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395322F4-8E13-7525-0825-B77152A5E9BA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2E4BCE7D-430C-EB46-2336-78184AE373DC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F9197531-0CE3-EEA0-A786-C7ACC76B6FEA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29D836FB-421E-5A23-0A6E-96F40839B215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FFDD4D6F-CDA5-46B9-8EC5-8773123EE433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F1303005-1F7A-2E13-C105-3CBEF3523DCF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81234DFF-CE84-C948-8DE0-5DF82C5965E7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3B32A862-10D4-4D4E-7BD2-70DAAD12E80F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F1163D25-E28F-54C4-73A5-A37AD66971CE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0CA61BC7-2833-A5C9-EE7A-CF391DF04DEA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D5EAD328-D76D-795D-A9FE-99A7848B7E74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5CA3622D-8875-D7A8-0F45-6D0F90AD63EB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F3C3628F-FA0E-4F6D-0290-8DBB0A3F5CEB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EE6AD1DD-42E5-DA63-4C35-3F0180863667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97ACB3D7-EC4D-D285-EE70-D8779852026F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7A4E2BED-DD1E-A167-F13B-E79130A657CC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369058B3-CEFF-970F-5452-83F1338D26C5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FA4FB7CF-A102-7C04-F0E3-9DB54D7A1102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84D017E9-EF37-8BEB-C454-4A23FE97DA18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7A10C9A8-2C41-4FB5-65B6-1AB97CB35E5D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15A7D076-C072-B087-8792-59BBF8752FE0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860BBBF7-64EF-F134-4687-A66135E0032C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20D2A556-4BC4-9FF4-B737-128865F18DB4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A06018B4-8610-BA59-3553-B5609CA73793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48D84B21-A2BD-94D4-664D-7E2103A9CE42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66B05253-9CF4-B9A7-AF59-511F1FB3DA32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6BB2F306-1C42-0FB4-BB74-DF92811409C4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7FA55D82-DBA1-B52A-24FF-912A475ED64C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506E4F1B-2773-1131-D5D8-411ED8F02B3B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A7B3BEBF-F9C7-2241-BF37-30738B71C0BF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DC31AEC3-3DAF-6F56-6CA5-0D60E4C74006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27DFD8FC-3912-4D6D-C614-D3A8BE539520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E9B839FE-FE05-99AE-542A-721B7116CADC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E3285C68-92DF-85C7-8DCB-B423E9A2A3BD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E515F063-FB68-43A6-A3C4-654126F6C57E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A503810D-91CD-A3D2-221F-325F1C1C85A0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97836359-C74D-FF29-7F62-171611C093F3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0A529F40-D224-6D54-6E4C-463E5C3DDD28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BFF58E3C-DAAC-1C09-2514-478922900C2A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CC149E58-1E7E-93D0-DE88-89E0B5ABC050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7FBDE90E-73C6-B107-DF5F-BF487168163C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9135A243-80FC-5DDA-A700-0CEF5276F3E1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7305426B-0B6F-1BE5-30B9-FCC22C3A34F9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35A09146-AC3F-E42D-B122-FF3C23D40CA3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7F2F7172-EB0B-9CDC-6482-FA13357AC659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15EC83F0-EBF6-8834-E43F-EB67146C9492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3F429A80-0E6C-F4D8-172B-842FFA87622A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ED9AEF9E-62F7-25CF-CEC6-9D6F4647E8C0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C5DF8A29-E5D5-7C51-284F-BE37D4A610EA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F81AD4B4-7961-CEDE-2947-5CC65D58B1CB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C2823A4F-8F72-F503-8B61-23864271ACFF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7B36D97B-50BA-48CA-8871-9A536C543D57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80B05F53-08F1-1D12-3A1D-DD60DDD3DA76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89AAFE3C-0F36-7172-6338-0EEB58807A68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677B3EE0-B872-B54A-1B18-B89F9A60DAEE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B60A87EF-94C5-C241-5CA4-EEF22991C934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2BF9ECE5-5439-7EC8-0129-CD9BAA53C9FE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8395A401-4D93-FB41-42D2-B8DFC1D4C43A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1BBE461E-F474-6FA6-7D4A-54F2B9FE1731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C8C21DEC-76A9-2058-7C4B-74272E1D6203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89917A50-9281-08A7-274E-B94E187406B5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3504F114-FAB3-7B4E-F093-F0954EB61D97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CB5DA9F0-E8DD-D14A-6D99-7E7D0E3206B1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DD6C3BF7-A666-E2AC-0F02-5D3C5EA2F79B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A4712CA9-630F-36FA-EA14-2ADA0DA9A2E2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E35D1BF7-D982-87F9-092F-E35FA703EC65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93531C64-D3AA-05DB-6DB4-577B6FC7EE45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0" name="Rechteck 389">
              <a:extLst>
                <a:ext uri="{FF2B5EF4-FFF2-40B4-BE49-F238E27FC236}">
                  <a16:creationId xmlns:a16="http://schemas.microsoft.com/office/drawing/2014/main" id="{BC8244CE-843A-6115-5907-FCB991729FC1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1" name="Rechteck 390">
              <a:extLst>
                <a:ext uri="{FF2B5EF4-FFF2-40B4-BE49-F238E27FC236}">
                  <a16:creationId xmlns:a16="http://schemas.microsoft.com/office/drawing/2014/main" id="{82773620-C3C6-43FC-963E-F517F3C783A5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2" name="Rechteck 391">
              <a:extLst>
                <a:ext uri="{FF2B5EF4-FFF2-40B4-BE49-F238E27FC236}">
                  <a16:creationId xmlns:a16="http://schemas.microsoft.com/office/drawing/2014/main" id="{C0376B1B-810E-35BE-7A8C-7E4712F5A0DF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3" name="Rechteck 392">
              <a:extLst>
                <a:ext uri="{FF2B5EF4-FFF2-40B4-BE49-F238E27FC236}">
                  <a16:creationId xmlns:a16="http://schemas.microsoft.com/office/drawing/2014/main" id="{19305C83-D340-7216-6BF5-E7FA14A805D4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4" name="Rechteck 393">
              <a:extLst>
                <a:ext uri="{FF2B5EF4-FFF2-40B4-BE49-F238E27FC236}">
                  <a16:creationId xmlns:a16="http://schemas.microsoft.com/office/drawing/2014/main" id="{E4C43581-3F7B-1CA6-6FA3-18D4E9B05433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5" name="Rechteck 394">
              <a:extLst>
                <a:ext uri="{FF2B5EF4-FFF2-40B4-BE49-F238E27FC236}">
                  <a16:creationId xmlns:a16="http://schemas.microsoft.com/office/drawing/2014/main" id="{123E9A19-9462-A424-FA87-F057F460A7C6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6" name="Rechteck 395">
              <a:extLst>
                <a:ext uri="{FF2B5EF4-FFF2-40B4-BE49-F238E27FC236}">
                  <a16:creationId xmlns:a16="http://schemas.microsoft.com/office/drawing/2014/main" id="{0D8AC7E5-CF7C-CB1C-88B4-E7BDA333788D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7" name="Rechteck 396">
              <a:extLst>
                <a:ext uri="{FF2B5EF4-FFF2-40B4-BE49-F238E27FC236}">
                  <a16:creationId xmlns:a16="http://schemas.microsoft.com/office/drawing/2014/main" id="{40DBBE19-11B4-7ACA-19BD-5C1645454E9C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65B37948-EF9C-97D6-FF1C-4C9C15EC7C5C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402F9EB8-5A86-0326-F840-7535332F0475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1ACA4C6B-E7B8-1946-EF86-82C1D62B01B4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8F220E69-3A4D-C58E-629A-7DF83E42250A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E9945FD2-F476-3F9F-A02C-11DF7A407052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3" name="Rechteck 402">
              <a:extLst>
                <a:ext uri="{FF2B5EF4-FFF2-40B4-BE49-F238E27FC236}">
                  <a16:creationId xmlns:a16="http://schemas.microsoft.com/office/drawing/2014/main" id="{5A12B1F6-0096-BB24-E4CE-C20A3B7004B2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79AF5BA9-44A5-833E-4BA7-2DC7DB51808C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5" name="Rechteck 404">
              <a:extLst>
                <a:ext uri="{FF2B5EF4-FFF2-40B4-BE49-F238E27FC236}">
                  <a16:creationId xmlns:a16="http://schemas.microsoft.com/office/drawing/2014/main" id="{AE34CF66-6C51-25A5-86B5-F5DE6F65001F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6" name="Rechteck 405">
              <a:extLst>
                <a:ext uri="{FF2B5EF4-FFF2-40B4-BE49-F238E27FC236}">
                  <a16:creationId xmlns:a16="http://schemas.microsoft.com/office/drawing/2014/main" id="{4DBDF2F8-0DF6-47B3-A16C-2554740A5EC2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1093060E-B60B-0BB0-F871-CA9C2FD30631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F15B94B1-CCCA-90DB-3334-6B36EFD86BA0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4F044852-AA77-C66E-7D12-81DFEE03C134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sp>
        <p:nvSpPr>
          <p:cNvPr id="411" name="Freihandform: Form 410">
            <a:extLst>
              <a:ext uri="{FF2B5EF4-FFF2-40B4-BE49-F238E27FC236}">
                <a16:creationId xmlns:a16="http://schemas.microsoft.com/office/drawing/2014/main" id="{8095DEE7-CADB-5AC6-5F3E-2AA481A650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1424" y="2060848"/>
            <a:ext cx="2892425" cy="2879303"/>
          </a:xfrm>
          <a:custGeom>
            <a:avLst/>
            <a:gdLst>
              <a:gd name="connsiteX0" fmla="*/ 0 w 2892425"/>
              <a:gd name="connsiteY0" fmla="*/ 0 h 2879303"/>
              <a:gd name="connsiteX1" fmla="*/ 2892425 w 2892425"/>
              <a:gd name="connsiteY1" fmla="*/ 0 h 2879303"/>
              <a:gd name="connsiteX2" fmla="*/ 2307742 w 2892425"/>
              <a:gd name="connsiteY2" fmla="*/ 2298575 h 2879303"/>
              <a:gd name="connsiteX3" fmla="*/ 0 w 2892425"/>
              <a:gd name="connsiteY3" fmla="*/ 2879303 h 2879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92425" h="2879303">
                <a:moveTo>
                  <a:pt x="0" y="0"/>
                </a:moveTo>
                <a:lnTo>
                  <a:pt x="2892425" y="0"/>
                </a:lnTo>
                <a:lnTo>
                  <a:pt x="2307742" y="2298575"/>
                </a:lnTo>
                <a:lnTo>
                  <a:pt x="0" y="2879303"/>
                </a:lnTo>
                <a:close/>
              </a:path>
            </a:pathLst>
          </a:custGeom>
          <a:solidFill>
            <a:schemeClr val="bg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en-GB" sz="1600" err="1"/>
          </a:p>
        </p:txBody>
      </p:sp>
      <p:sp>
        <p:nvSpPr>
          <p:cNvPr id="283" name="Number">
            <a:extLst>
              <a:ext uri="{FF2B5EF4-FFF2-40B4-BE49-F238E27FC236}">
                <a16:creationId xmlns:a16="http://schemas.microsoft.com/office/drawing/2014/main" id="{4C4966BF-C099-498A-89EE-FA463EDE83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11424" y="2060997"/>
            <a:ext cx="2889051" cy="2880171"/>
          </a:xfrm>
          <a:custGeom>
            <a:avLst/>
            <a:gdLst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517775 w 3022600"/>
              <a:gd name="connsiteY2" fmla="*/ 2520950 h 3024187"/>
              <a:gd name="connsiteX3" fmla="*/ 0 w 3022600"/>
              <a:gd name="connsiteY3" fmla="*/ 3024187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328434 w 3022600"/>
              <a:gd name="connsiteY2" fmla="*/ 2311783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398191 w 3022600"/>
              <a:gd name="connsiteY2" fmla="*/ 2414707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411479 w 3022600"/>
              <a:gd name="connsiteY2" fmla="*/ 2408067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2600" h="3024187">
                <a:moveTo>
                  <a:pt x="0" y="0"/>
                </a:moveTo>
                <a:lnTo>
                  <a:pt x="3022600" y="0"/>
                </a:lnTo>
                <a:lnTo>
                  <a:pt x="2411479" y="2408067"/>
                </a:lnTo>
                <a:lnTo>
                  <a:pt x="0" y="3024187"/>
                </a:lnTo>
                <a:lnTo>
                  <a:pt x="0" y="0"/>
                </a:lnTo>
                <a:close/>
              </a:path>
            </a:pathLst>
          </a:custGeom>
          <a:solidFill>
            <a:srgbClr val="FFA52F"/>
          </a:solidFill>
          <a:ln w="127">
            <a:solidFill>
              <a:srgbClr val="FFA52F">
                <a:alpha val="0"/>
              </a:srgbClr>
            </a:solidFill>
          </a:ln>
        </p:spPr>
        <p:txBody>
          <a:bodyPr wrap="square" lIns="21600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9pPr>
          </a:lstStyle>
          <a:p>
            <a:r>
              <a:rPr lang="en-GB"/>
              <a:t>00</a:t>
            </a:r>
          </a:p>
        </p:txBody>
      </p:sp>
      <p:sp>
        <p:nvSpPr>
          <p:cNvPr id="2" name="Title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4727849" y="1988840"/>
            <a:ext cx="5040000" cy="18002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tIns="36000" rIns="216000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Divider slide | Insert your headline in maximal three lines her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46297C-A90E-4725-9584-F26D2B59D3D8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4727848" y="3717033"/>
            <a:ext cx="5040000" cy="936104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281" name="Source">
            <a:extLst>
              <a:ext uri="{FF2B5EF4-FFF2-40B4-BE49-F238E27FC236}">
                <a16:creationId xmlns:a16="http://schemas.microsoft.com/office/drawing/2014/main" id="{74C57727-E1DA-4BD0-945F-B1C68DF669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87488" y="6525000"/>
            <a:ext cx="9144512" cy="144000"/>
          </a:xfrm>
        </p:spPr>
        <p:txBody>
          <a:bodyPr anchor="b"/>
          <a:lstStyle>
            <a:lvl1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2pPr>
            <a:lvl3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3pPr>
            <a:lvl4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6pPr>
            <a:lvl7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7pPr>
            <a:lvl8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8pPr>
            <a:lvl9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/>
              <a:t>Source, Footnot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F7303E1-146B-0384-2FA3-7C5951CD5B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7699DB1-F292-4593-9AD7-FD7A5FBE0ABD}" type="datetime1">
              <a:rPr lang="en-GB" smtClean="0"/>
              <a:t>12/02/2026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407EE75-92A3-F67F-F222-CE3DBB104B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EAF306-FDA4-0211-6F94-84B5B67EF9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16078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741086C-A16C-D241-56BA-5C9403FAD0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4411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41086C-A16C-D241-56BA-5C9403FAD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Laptop Frame">
            <a:extLst>
              <a:ext uri="{FF2B5EF4-FFF2-40B4-BE49-F238E27FC236}">
                <a16:creationId xmlns:a16="http://schemas.microsoft.com/office/drawing/2014/main" id="{28CA7E52-1DEF-001D-23AD-F3A1C94F9472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4124687" y="1638300"/>
            <a:ext cx="7893777" cy="4138018"/>
            <a:chOff x="3936001" y="1448418"/>
            <a:chExt cx="8256000" cy="4327900"/>
          </a:xfrm>
        </p:grpSpPr>
        <p:pic>
          <p:nvPicPr>
            <p:cNvPr id="13" name="Shape">
              <a:extLst>
                <a:ext uri="{FF2B5EF4-FFF2-40B4-BE49-F238E27FC236}">
                  <a16:creationId xmlns:a16="http://schemas.microsoft.com/office/drawing/2014/main" id="{2AB0D041-303A-5AF4-862E-A74ACD791CB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3936001" y="1448418"/>
              <a:ext cx="8256000" cy="4327900"/>
            </a:xfrm>
            <a:prstGeom prst="rect">
              <a:avLst/>
            </a:prstGeom>
          </p:spPr>
        </p:pic>
        <p:sp>
          <p:nvSpPr>
            <p:cNvPr id="14" name="Redact">
              <a:extLst>
                <a:ext uri="{FF2B5EF4-FFF2-40B4-BE49-F238E27FC236}">
                  <a16:creationId xmlns:a16="http://schemas.microsoft.com/office/drawing/2014/main" id="{A4E3EFDE-C5ED-BDD5-F21C-80D4CA71AD8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7892321" y="5403954"/>
              <a:ext cx="329784" cy="74951"/>
            </a:xfrm>
            <a:prstGeom prst="rect">
              <a:avLst/>
            </a:prstGeom>
            <a:solidFill>
              <a:srgbClr val="2D2D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rtl="0"/>
              <a:endParaRPr lang="en-US" dirty="0"/>
            </a:p>
          </p:txBody>
        </p:sp>
      </p:grpSp>
      <p:sp>
        <p:nvSpPr>
          <p:cNvPr id="15" name="Picture Placeholder">
            <a:extLst>
              <a:ext uri="{FF2B5EF4-FFF2-40B4-BE49-F238E27FC236}">
                <a16:creationId xmlns:a16="http://schemas.microsoft.com/office/drawing/2014/main" id="{74F0AE2B-B9B7-3100-37FB-FCDFB48EDE7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7" hasCustomPrompt="1"/>
          </p:nvPr>
        </p:nvSpPr>
        <p:spPr bwMode="gray">
          <a:xfrm>
            <a:off x="5290128" y="1739900"/>
            <a:ext cx="5566620" cy="3619500"/>
          </a:xfrm>
          <a:prstGeom prst="roundRect">
            <a:avLst>
              <a:gd name="adj" fmla="val 1482"/>
            </a:avLst>
          </a:prstGeom>
          <a:solidFill>
            <a:schemeClr val="tx1"/>
          </a:solidFill>
        </p:spPr>
        <p:txBody>
          <a:bodyPr anchor="ctr" anchorCtr="0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 Click picture icon to add photo</a:t>
            </a:r>
            <a:endParaRPr lang="en-US" dirty="0"/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F40ED59A-96CE-38E9-B955-808CAC1BBE9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95100"/>
            <a:ext cx="40432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">
            <a:extLst>
              <a:ext uri="{FF2B5EF4-FFF2-40B4-BE49-F238E27FC236}">
                <a16:creationId xmlns:a16="http://schemas.microsoft.com/office/drawing/2014/main" id="{12ABF694-3377-ED1E-A0A9-F03E499ECE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7" y="6495102"/>
            <a:ext cx="371634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11" name="Date Placeholder">
            <a:extLst>
              <a:ext uri="{FF2B5EF4-FFF2-40B4-BE49-F238E27FC236}">
                <a16:creationId xmlns:a16="http://schemas.microsoft.com/office/drawing/2014/main" id="{6C70B518-71FA-524B-8A6C-76B2F1192A0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2"/>
            <a:ext cx="757238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16" name="Source Placeholder">
            <a:extLst>
              <a:ext uri="{FF2B5EF4-FFF2-40B4-BE49-F238E27FC236}">
                <a16:creationId xmlns:a16="http://schemas.microsoft.com/office/drawing/2014/main" id="{92349AC3-43C9-A349-AF2E-C029A34491C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7" name="Content Placeholder">
            <a:extLst>
              <a:ext uri="{FF2B5EF4-FFF2-40B4-BE49-F238E27FC236}">
                <a16:creationId xmlns:a16="http://schemas.microsoft.com/office/drawing/2014/main" id="{2EA745BA-CA14-8FD0-05BA-8977508264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292101" y="2019300"/>
            <a:ext cx="3700460" cy="36576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Header Placeholder">
            <a:extLst>
              <a:ext uri="{FF2B5EF4-FFF2-40B4-BE49-F238E27FC236}">
                <a16:creationId xmlns:a16="http://schemas.microsoft.com/office/drawing/2014/main" id="{97696C2F-B753-BD09-3B16-F91EAC65E0F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1" y="1308100"/>
            <a:ext cx="3710815" cy="620525"/>
          </a:xfrm>
        </p:spPr>
        <p:txBody>
          <a:bodyPr anchor="b">
            <a:noAutofit/>
          </a:bodyPr>
          <a:lstStyle>
            <a:lvl1pPr marL="0" indent="0" rtl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column header</a:t>
            </a:r>
          </a:p>
        </p:txBody>
      </p:sp>
      <p:sp>
        <p:nvSpPr>
          <p:cNvPr id="17" name="Subtitle Placeholder">
            <a:extLst>
              <a:ext uri="{FF2B5EF4-FFF2-40B4-BE49-F238E27FC236}">
                <a16:creationId xmlns:a16="http://schemas.microsoft.com/office/drawing/2014/main" id="{73234507-5FFE-AB0B-1739-6DC3FB8BBDB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18" name="Title Placeholder">
            <a:extLst>
              <a:ext uri="{FF2B5EF4-FFF2-40B4-BE49-F238E27FC236}">
                <a16:creationId xmlns:a16="http://schemas.microsoft.com/office/drawing/2014/main" id="{173559CA-3B9C-F323-35EC-DBADE1584BE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11613314" cy="265590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4175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525">
          <p15:clr>
            <a:srgbClr val="FDE53C"/>
          </p15:clr>
        </p15:guide>
        <p15:guide id="11" pos="2669">
          <p15:clr>
            <a:srgbClr val="FDE53C"/>
          </p15:clr>
        </p15:guide>
        <p15:guide id="18" pos="5010">
          <p15:clr>
            <a:srgbClr val="FDE53C"/>
          </p15:clr>
        </p15:guide>
        <p15:guide id="19" pos="5154">
          <p15:clr>
            <a:srgbClr val="FDE53C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794D5A3-884F-5F17-A1B5-238FF42D04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34130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94D5A3-884F-5F17-A1B5-238FF42D04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">
            <a:extLst>
              <a:ext uri="{FF2B5EF4-FFF2-40B4-BE49-F238E27FC236}">
                <a16:creationId xmlns:a16="http://schemas.microsoft.com/office/drawing/2014/main" id="{D855F1A0-B3DE-8CBB-753A-EBAB8DE25C2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95100"/>
            <a:ext cx="40432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">
            <a:extLst>
              <a:ext uri="{FF2B5EF4-FFF2-40B4-BE49-F238E27FC236}">
                <a16:creationId xmlns:a16="http://schemas.microsoft.com/office/drawing/2014/main" id="{ED39D506-68E8-D832-DF39-5B6BE145087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7" y="6495102"/>
            <a:ext cx="371634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14" name="Date Placeholder">
            <a:extLst>
              <a:ext uri="{FF2B5EF4-FFF2-40B4-BE49-F238E27FC236}">
                <a16:creationId xmlns:a16="http://schemas.microsoft.com/office/drawing/2014/main" id="{462487FC-31D3-3400-936D-53E132CBF69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2"/>
            <a:ext cx="757238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15" name="Source Placeholder">
            <a:extLst>
              <a:ext uri="{FF2B5EF4-FFF2-40B4-BE49-F238E27FC236}">
                <a16:creationId xmlns:a16="http://schemas.microsoft.com/office/drawing/2014/main" id="{99790FFB-129C-6DB8-7083-44E68EB4BF7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pic>
        <p:nvPicPr>
          <p:cNvPr id="9" name="Tablet Frame">
            <a:extLst>
              <a:ext uri="{FF2B5EF4-FFF2-40B4-BE49-F238E27FC236}">
                <a16:creationId xmlns:a16="http://schemas.microsoft.com/office/drawing/2014/main" id="{9489571B-A37B-8754-6A0A-0144963120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767"/>
          <a:stretch/>
        </p:blipFill>
        <p:spPr bwMode="gray">
          <a:xfrm>
            <a:off x="3784635" y="1606014"/>
            <a:ext cx="8139891" cy="4434024"/>
          </a:xfrm>
          <a:prstGeom prst="rect">
            <a:avLst/>
          </a:prstGeom>
        </p:spPr>
      </p:pic>
      <p:sp>
        <p:nvSpPr>
          <p:cNvPr id="10" name="Picture Placeholder">
            <a:extLst>
              <a:ext uri="{FF2B5EF4-FFF2-40B4-BE49-F238E27FC236}">
                <a16:creationId xmlns:a16="http://schemas.microsoft.com/office/drawing/2014/main" id="{2B100C95-A8AE-9316-439D-4F2A091DD08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7" hasCustomPrompt="1"/>
          </p:nvPr>
        </p:nvSpPr>
        <p:spPr bwMode="gray">
          <a:xfrm>
            <a:off x="5149851" y="1765300"/>
            <a:ext cx="5753100" cy="3797300"/>
          </a:xfrm>
          <a:prstGeom prst="roundRect">
            <a:avLst>
              <a:gd name="adj" fmla="val 5312"/>
            </a:avLst>
          </a:prstGeom>
          <a:solidFill>
            <a:schemeClr val="tx1"/>
          </a:solidFill>
        </p:spPr>
        <p:txBody>
          <a:bodyPr vert="horz" lIns="0" tIns="0" rIns="0" bIns="0" rtlCol="0" anchor="ctr" anchorCtr="0">
            <a:noAutofit/>
          </a:bodyPr>
          <a:lstStyle>
            <a:lvl1pPr rtl="0">
              <a:defRPr lang="en-GB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 Click to add photo</a:t>
            </a:r>
            <a:endParaRPr lang="en-US" dirty="0"/>
          </a:p>
        </p:txBody>
      </p:sp>
      <p:sp>
        <p:nvSpPr>
          <p:cNvPr id="7" name="Content Placeholder">
            <a:extLst>
              <a:ext uri="{FF2B5EF4-FFF2-40B4-BE49-F238E27FC236}">
                <a16:creationId xmlns:a16="http://schemas.microsoft.com/office/drawing/2014/main" id="{2EA745BA-CA14-8FD0-05BA-8977508264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292101" y="2019300"/>
            <a:ext cx="3700460" cy="36576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Header Placeholder">
            <a:extLst>
              <a:ext uri="{FF2B5EF4-FFF2-40B4-BE49-F238E27FC236}">
                <a16:creationId xmlns:a16="http://schemas.microsoft.com/office/drawing/2014/main" id="{97696C2F-B753-BD09-3B16-F91EAC65E0F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1" y="1308100"/>
            <a:ext cx="3710815" cy="620525"/>
          </a:xfrm>
        </p:spPr>
        <p:txBody>
          <a:bodyPr anchor="b">
            <a:noAutofit/>
          </a:bodyPr>
          <a:lstStyle>
            <a:lvl1pPr marL="0" indent="0" rtl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column header</a:t>
            </a:r>
          </a:p>
        </p:txBody>
      </p:sp>
      <p:sp>
        <p:nvSpPr>
          <p:cNvPr id="16" name="Subtitle Placeholder">
            <a:extLst>
              <a:ext uri="{FF2B5EF4-FFF2-40B4-BE49-F238E27FC236}">
                <a16:creationId xmlns:a16="http://schemas.microsoft.com/office/drawing/2014/main" id="{54C4987E-C48B-8EC9-E43A-A8293855B44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17" name="Title Placeholder">
            <a:extLst>
              <a:ext uri="{FF2B5EF4-FFF2-40B4-BE49-F238E27FC236}">
                <a16:creationId xmlns:a16="http://schemas.microsoft.com/office/drawing/2014/main" id="{36465407-29C7-E82D-8FA8-8F0F4FCCD26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11613314" cy="265590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6158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525">
          <p15:clr>
            <a:srgbClr val="FDE53C"/>
          </p15:clr>
        </p15:guide>
        <p15:guide id="11" pos="2669">
          <p15:clr>
            <a:srgbClr val="FDE53C"/>
          </p15:clr>
        </p15:guide>
        <p15:guide id="18" pos="5010">
          <p15:clr>
            <a:srgbClr val="FDE53C"/>
          </p15:clr>
        </p15:guide>
        <p15:guide id="19" pos="5154">
          <p15:clr>
            <a:srgbClr val="FDE53C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ADEF04F-3BA0-64C1-8996-5DE760B4D2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0911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DEF04F-3BA0-64C1-8996-5DE760B4D2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0D075AAD-92E8-E876-C437-4DA760B06A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95100"/>
            <a:ext cx="40432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7F6973E-B506-459C-8409-EDC0F9FEB64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7" y="6495102"/>
            <a:ext cx="371634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11" name="Date Placeholder">
            <a:extLst>
              <a:ext uri="{FF2B5EF4-FFF2-40B4-BE49-F238E27FC236}">
                <a16:creationId xmlns:a16="http://schemas.microsoft.com/office/drawing/2014/main" id="{D92AE263-867A-3BFE-D77F-172427CCFD5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2"/>
            <a:ext cx="757238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15" name="Source Placeholder">
            <a:extLst>
              <a:ext uri="{FF2B5EF4-FFF2-40B4-BE49-F238E27FC236}">
                <a16:creationId xmlns:a16="http://schemas.microsoft.com/office/drawing/2014/main" id="{4CF2C7F5-1F44-0A19-3182-4B375AB6F89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pic>
        <p:nvPicPr>
          <p:cNvPr id="2" name="Smartphone Frame">
            <a:extLst>
              <a:ext uri="{FF2B5EF4-FFF2-40B4-BE49-F238E27FC236}">
                <a16:creationId xmlns:a16="http://schemas.microsoft.com/office/drawing/2014/main" id="{8FEE0E6E-6D89-CD10-D4A2-0D249DEDC1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500502" y="1197507"/>
            <a:ext cx="3096000" cy="4787820"/>
          </a:xfrm>
          <a:prstGeom prst="rect">
            <a:avLst/>
          </a:prstGeom>
        </p:spPr>
      </p:pic>
      <p:sp>
        <p:nvSpPr>
          <p:cNvPr id="10" name="Picture Placeholder">
            <a:extLst>
              <a:ext uri="{FF2B5EF4-FFF2-40B4-BE49-F238E27FC236}">
                <a16:creationId xmlns:a16="http://schemas.microsoft.com/office/drawing/2014/main" id="{7F98CD2C-62E2-FC8B-548B-D3ADCC2F9CD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7" hasCustomPrompt="1"/>
          </p:nvPr>
        </p:nvSpPr>
        <p:spPr bwMode="gray">
          <a:xfrm>
            <a:off x="8018062" y="1288629"/>
            <a:ext cx="2057400" cy="4450080"/>
          </a:xfrm>
          <a:prstGeom prst="roundRect">
            <a:avLst>
              <a:gd name="adj" fmla="val 12964"/>
            </a:avLst>
          </a:prstGeom>
          <a:solidFill>
            <a:schemeClr val="tx1"/>
          </a:solidFill>
        </p:spPr>
        <p:txBody>
          <a:bodyPr anchor="ctr" anchorCtr="0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 Click picture icon to add photo</a:t>
            </a:r>
            <a:endParaRPr lang="en-US" dirty="0"/>
          </a:p>
        </p:txBody>
      </p:sp>
      <p:sp>
        <p:nvSpPr>
          <p:cNvPr id="4" name="Content Placeholder">
            <a:extLst>
              <a:ext uri="{FF2B5EF4-FFF2-40B4-BE49-F238E27FC236}">
                <a16:creationId xmlns:a16="http://schemas.microsoft.com/office/drawing/2014/main" id="{984C70C1-C2F6-EFE6-3AEB-EEEE97D8D82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292101" y="2019300"/>
            <a:ext cx="5673721" cy="36576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Header Placeholder">
            <a:extLst>
              <a:ext uri="{FF2B5EF4-FFF2-40B4-BE49-F238E27FC236}">
                <a16:creationId xmlns:a16="http://schemas.microsoft.com/office/drawing/2014/main" id="{E16F9965-5453-60FF-D1EB-3A608CF7F7B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1" y="1308100"/>
            <a:ext cx="5689598" cy="620525"/>
          </a:xfrm>
        </p:spPr>
        <p:txBody>
          <a:bodyPr anchor="b">
            <a:noAutofit/>
          </a:bodyPr>
          <a:lstStyle>
            <a:lvl1pPr marL="0" indent="0" rtl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column header</a:t>
            </a:r>
          </a:p>
        </p:txBody>
      </p:sp>
      <p:sp>
        <p:nvSpPr>
          <p:cNvPr id="16" name="Subtitle Placeholder">
            <a:extLst>
              <a:ext uri="{FF2B5EF4-FFF2-40B4-BE49-F238E27FC236}">
                <a16:creationId xmlns:a16="http://schemas.microsoft.com/office/drawing/2014/main" id="{1177695A-5838-D1AD-85A0-C2DC4AE6192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17" name="Title Placeholder">
            <a:extLst>
              <a:ext uri="{FF2B5EF4-FFF2-40B4-BE49-F238E27FC236}">
                <a16:creationId xmlns:a16="http://schemas.microsoft.com/office/drawing/2014/main" id="{6438D16E-D0B0-429C-0E43-66D0F19014E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11613314" cy="265590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5990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768">
          <p15:clr>
            <a:srgbClr val="A4A3A4"/>
          </p15:clr>
        </p15:guide>
        <p15:guide id="5" pos="3912">
          <p15:clr>
            <a:srgbClr val="A4A3A4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eature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3092586-F269-3507-F254-1F76AD44FB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5353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092586-F269-3507-F254-1F76AD44FB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">
            <a:extLst>
              <a:ext uri="{FF2B5EF4-FFF2-40B4-BE49-F238E27FC236}">
                <a16:creationId xmlns:a16="http://schemas.microsoft.com/office/drawing/2014/main" id="{7880336B-6551-8B18-CD4D-52CF1537E46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95100"/>
            <a:ext cx="40432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">
            <a:extLst>
              <a:ext uri="{FF2B5EF4-FFF2-40B4-BE49-F238E27FC236}">
                <a16:creationId xmlns:a16="http://schemas.microsoft.com/office/drawing/2014/main" id="{D5E23E6B-A969-B922-443C-DB4B673F14C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7" y="6495102"/>
            <a:ext cx="371634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12" name="Date Placeholder">
            <a:extLst>
              <a:ext uri="{FF2B5EF4-FFF2-40B4-BE49-F238E27FC236}">
                <a16:creationId xmlns:a16="http://schemas.microsoft.com/office/drawing/2014/main" id="{3E682D3C-E320-394E-C615-424A83B576A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2"/>
            <a:ext cx="757238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13" name="Source Placeholder">
            <a:extLst>
              <a:ext uri="{FF2B5EF4-FFF2-40B4-BE49-F238E27FC236}">
                <a16:creationId xmlns:a16="http://schemas.microsoft.com/office/drawing/2014/main" id="{F5E18C3F-FDED-E3BC-CB25-E414E35DA8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7" name="Content Placeholder">
            <a:extLst>
              <a:ext uri="{FF2B5EF4-FFF2-40B4-BE49-F238E27FC236}">
                <a16:creationId xmlns:a16="http://schemas.microsoft.com/office/drawing/2014/main" id="{2EA745BA-CA14-8FD0-05BA-8977508264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8168315" y="2019300"/>
            <a:ext cx="3700460" cy="36576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Header Placeholder">
            <a:extLst>
              <a:ext uri="{FF2B5EF4-FFF2-40B4-BE49-F238E27FC236}">
                <a16:creationId xmlns:a16="http://schemas.microsoft.com/office/drawing/2014/main" id="{97696C2F-B753-BD09-3B16-F91EAC65E0F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8168315" y="1308100"/>
            <a:ext cx="3710815" cy="620525"/>
          </a:xfrm>
        </p:spPr>
        <p:txBody>
          <a:bodyPr anchor="b">
            <a:noAutofit/>
          </a:bodyPr>
          <a:lstStyle>
            <a:lvl1pPr marL="0" indent="0" rtl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column header</a:t>
            </a:r>
          </a:p>
        </p:txBody>
      </p:sp>
      <p:sp>
        <p:nvSpPr>
          <p:cNvPr id="9" name="Image/Content Placeholder">
            <a:extLst>
              <a:ext uri="{FF2B5EF4-FFF2-40B4-BE49-F238E27FC236}">
                <a16:creationId xmlns:a16="http://schemas.microsoft.com/office/drawing/2014/main" id="{E7FED7F9-B9AF-8E1D-D4E4-E0925BDC1C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4" hasCustomPrompt="1"/>
          </p:nvPr>
        </p:nvSpPr>
        <p:spPr>
          <a:xfrm>
            <a:off x="292100" y="1638300"/>
            <a:ext cx="7661275" cy="4038600"/>
          </a:xfrm>
          <a:solidFill>
            <a:srgbClr val="F0F0F0"/>
          </a:solidFill>
        </p:spPr>
        <p:txBody>
          <a:bodyPr vert="horz" lIns="0" tIns="0" rIns="0" bIns="0" rtlCol="0" anchor="ctr">
            <a:noAutofit/>
          </a:bodyPr>
          <a:lstStyle>
            <a:lvl1pPr rtl="0"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0" lvl="0" indent="0" algn="ctr">
              <a:buNone/>
            </a:pPr>
            <a:r>
              <a:rPr lang="en-US" dirty="0"/>
              <a:t>Insert content</a:t>
            </a:r>
          </a:p>
        </p:txBody>
      </p:sp>
      <p:sp>
        <p:nvSpPr>
          <p:cNvPr id="14" name="Subtitle Placeholder">
            <a:extLst>
              <a:ext uri="{FF2B5EF4-FFF2-40B4-BE49-F238E27FC236}">
                <a16:creationId xmlns:a16="http://schemas.microsoft.com/office/drawing/2014/main" id="{F55BBEAC-F3EB-AF73-371A-E2F90A4E7CD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15" name="Title Placeholder">
            <a:extLst>
              <a:ext uri="{FF2B5EF4-FFF2-40B4-BE49-F238E27FC236}">
                <a16:creationId xmlns:a16="http://schemas.microsoft.com/office/drawing/2014/main" id="{A568B237-249F-A08F-E259-9BD8E276671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11613314" cy="265590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055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525">
          <p15:clr>
            <a:srgbClr val="FDE53C"/>
          </p15:clr>
        </p15:guide>
        <p15:guide id="11" pos="2669">
          <p15:clr>
            <a:srgbClr val="FDE53C"/>
          </p15:clr>
        </p15:guide>
        <p15:guide id="18" pos="5010">
          <p15:clr>
            <a:srgbClr val="FDE53C"/>
          </p15:clr>
        </p15:guide>
        <p15:guide id="19" pos="5154">
          <p15:clr>
            <a:srgbClr val="FDE53C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1F39CA-10FA-126E-F5AA-642A068879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1275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1F39CA-10FA-126E-F5AA-642A068879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80A15201-F299-04EA-E6CE-E722641959C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95100"/>
            <a:ext cx="40432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8C02E2E7-130F-8E98-F5E2-0E052FB5C9B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7" y="6495102"/>
            <a:ext cx="371634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688318DD-F239-9F43-D086-9EBEC3E5402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2"/>
            <a:ext cx="757238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C6CEF957-D49F-C931-2F5D-3BEC205BBE4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10" name="Subtitle Placeholder">
            <a:extLst>
              <a:ext uri="{FF2B5EF4-FFF2-40B4-BE49-F238E27FC236}">
                <a16:creationId xmlns:a16="http://schemas.microsoft.com/office/drawing/2014/main" id="{6C1C9672-42DD-57E9-416C-57C076682C6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11" name="Title Placeholder">
            <a:extLst>
              <a:ext uri="{FF2B5EF4-FFF2-40B4-BE49-F238E27FC236}">
                <a16:creationId xmlns:a16="http://schemas.microsoft.com/office/drawing/2014/main" id="{85B153CC-4B6C-85AB-FFEB-0F2CD0DA990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11613314" cy="265590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0327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904">
          <p15:clr>
            <a:srgbClr val="5ACBF0"/>
          </p15:clr>
        </p15:guide>
        <p15:guide id="9" pos="2048">
          <p15:clr>
            <a:srgbClr val="5ACBF0"/>
          </p15:clr>
        </p15:guide>
        <p15:guide id="10" pos="2525">
          <p15:clr>
            <a:srgbClr val="FDE53C"/>
          </p15:clr>
        </p15:guide>
        <p15:guide id="11" pos="2669">
          <p15:clr>
            <a:srgbClr val="FDE53C"/>
          </p15:clr>
        </p15:guide>
        <p15:guide id="14" pos="3768">
          <p15:clr>
            <a:srgbClr val="A4A3A4"/>
          </p15:clr>
        </p15:guide>
        <p15:guide id="15" pos="3912">
          <p15:clr>
            <a:srgbClr val="A4A3A4"/>
          </p15:clr>
        </p15:guide>
        <p15:guide id="18" pos="5010">
          <p15:clr>
            <a:srgbClr val="FDE53C"/>
          </p15:clr>
        </p15:guide>
        <p15:guide id="19" pos="5154">
          <p15:clr>
            <a:srgbClr val="FDE53C"/>
          </p15:clr>
        </p15:guide>
        <p15:guide id="20" pos="5631">
          <p15:clr>
            <a:srgbClr val="5ACBF0"/>
          </p15:clr>
        </p15:guide>
        <p15:guide id="21" pos="5775">
          <p15:clr>
            <a:srgbClr val="5ACBF0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A8E14B8-66D2-3065-E84C-F44A5C76F0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9108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8E14B8-66D2-3065-E84C-F44A5C76F0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FF1CCD16-E874-4575-C807-467DA234694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95100"/>
            <a:ext cx="40432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B4915FF7-2EBE-0DA1-DDC3-CE3F3E028DF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7" y="6495102"/>
            <a:ext cx="371634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BC0175EF-749F-C86F-818F-8A61B862153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2"/>
            <a:ext cx="757238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3D2B748D-0569-6BAA-D751-0BE3B75C09E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2130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904">
          <p15:clr>
            <a:srgbClr val="5ACBF0"/>
          </p15:clr>
        </p15:guide>
        <p15:guide id="9" pos="2048">
          <p15:clr>
            <a:srgbClr val="5ACBF0"/>
          </p15:clr>
        </p15:guide>
        <p15:guide id="10" pos="2525">
          <p15:clr>
            <a:srgbClr val="FDE53C"/>
          </p15:clr>
        </p15:guide>
        <p15:guide id="11" pos="2669">
          <p15:clr>
            <a:srgbClr val="FDE53C"/>
          </p15:clr>
        </p15:guide>
        <p15:guide id="14" pos="3768">
          <p15:clr>
            <a:srgbClr val="A4A3A4"/>
          </p15:clr>
        </p15:guide>
        <p15:guide id="15" pos="3912">
          <p15:clr>
            <a:srgbClr val="A4A3A4"/>
          </p15:clr>
        </p15:guide>
        <p15:guide id="18" pos="5010">
          <p15:clr>
            <a:srgbClr val="FDE53C"/>
          </p15:clr>
        </p15:guide>
        <p15:guide id="19" pos="5154">
          <p15:clr>
            <a:srgbClr val="FDE53C"/>
          </p15:clr>
        </p15:guide>
        <p15:guide id="20" pos="5631">
          <p15:clr>
            <a:srgbClr val="5ACBF0"/>
          </p15:clr>
        </p15:guide>
        <p15:guide id="21" pos="5775">
          <p15:clr>
            <a:srgbClr val="5ACBF0"/>
          </p15:clr>
        </p15:guide>
        <p15:guide id="22" orient="horz" pos="2016">
          <p15:clr>
            <a:srgbClr val="A4A3A4"/>
          </p15:clr>
        </p15:guide>
        <p15:guide id="23" orient="horz" pos="2088">
          <p15:clr>
            <a:srgbClr val="A4A3A4"/>
          </p15:clr>
        </p15:guide>
        <p15:guide id="24" orient="horz" pos="1944">
          <p15:clr>
            <a:srgbClr val="A4A3A4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-bleed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53E4CD4-4016-F5C9-F644-4105012A65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6477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3E4CD4-4016-F5C9-F644-4105012A65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4B940176-20BD-885B-C7DC-D045A7B5B0D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tx1">
              <a:lumMod val="60000"/>
              <a:lumOff val="40000"/>
            </a:schemeClr>
          </a:solidFill>
        </p:spPr>
        <p:txBody>
          <a:bodyPr vert="horz" lIns="9144000" tIns="91440" rIns="182880" bIns="0" rtlCol="0" anchor="t">
            <a:noAutofit/>
          </a:bodyPr>
          <a:lstStyle>
            <a:lvl1pPr marL="231775" indent="-231775" rtl="0">
              <a:buNone/>
              <a:defRPr lang="en-GB" sz="1400" b="1">
                <a:solidFill>
                  <a:srgbClr val="FFFF00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To add image: </a:t>
            </a:r>
            <a:br>
              <a:rPr lang="en-US" dirty="0"/>
            </a:br>
            <a:r>
              <a:rPr lang="en-US" dirty="0"/>
              <a:t>1. Select image placeholder</a:t>
            </a:r>
            <a:br>
              <a:rPr lang="en-US" dirty="0"/>
            </a:br>
            <a:r>
              <a:rPr lang="en-US" dirty="0"/>
              <a:t>2. Drag/drop file or copy/paste image into slide (.jpg, .gif, .</a:t>
            </a:r>
            <a:r>
              <a:rPr lang="en-US" dirty="0" err="1"/>
              <a:t>png</a:t>
            </a:r>
            <a:r>
              <a:rPr lang="en-US" dirty="0"/>
              <a:t>)</a:t>
            </a:r>
            <a:br>
              <a:rPr lang="en-US" dirty="0"/>
            </a:br>
            <a:r>
              <a:rPr lang="en-US" dirty="0"/>
              <a:t>3. Right-click image and “Send to back”</a:t>
            </a:r>
          </a:p>
          <a:p>
            <a:pPr marL="171450" lvl="0" indent="-171450"/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29AE0AC1-71EF-CCFC-AB5C-8DFA568CA5F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85399"/>
            <a:ext cx="404321" cy="282957"/>
          </a:xfrm>
        </p:spPr>
        <p:txBody>
          <a:bodyPr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Copyright Line">
            <a:extLst>
              <a:ext uri="{FF2B5EF4-FFF2-40B4-BE49-F238E27FC236}">
                <a16:creationId xmlns:a16="http://schemas.microsoft.com/office/drawing/2014/main" id="{B707803F-60FA-342A-DB2A-415C371CB04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9167809" y="6536551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bg1"/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chemeClr val="bg1"/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dirty="0">
                <a:solidFill>
                  <a:schemeClr val="bg1"/>
                </a:solidFill>
              </a:rPr>
              <a:t> Nielsen Consumer LLC. All Rights Reserved.</a:t>
            </a:r>
          </a:p>
        </p:txBody>
      </p:sp>
      <p:sp>
        <p:nvSpPr>
          <p:cNvPr id="6" name="Confidential disclaimer">
            <a:extLst>
              <a:ext uri="{FF2B5EF4-FFF2-40B4-BE49-F238E27FC236}">
                <a16:creationId xmlns:a16="http://schemas.microsoft.com/office/drawing/2014/main" id="{FCE25AF0-0C89-001E-06C2-AD51F5FC7DE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02D2B3EE-E70A-1DEB-939C-DC6B0065BF6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0"/>
          </p:nvPr>
        </p:nvSpPr>
        <p:spPr>
          <a:xfrm>
            <a:off x="3251197" y="6485399"/>
            <a:ext cx="3716341" cy="282957"/>
          </a:xfrm>
        </p:spPr>
        <p:txBody>
          <a:bodyPr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F13BEA8B-0F53-AC66-58D8-93A2E2ABD13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1"/>
          </p:nvPr>
        </p:nvSpPr>
        <p:spPr>
          <a:xfrm>
            <a:off x="2265363" y="6485399"/>
            <a:ext cx="757238" cy="282957"/>
          </a:xfrm>
        </p:spPr>
        <p:txBody>
          <a:bodyPr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cxnSp>
        <p:nvCxnSpPr>
          <p:cNvPr id="16" name="Base Rule">
            <a:extLst>
              <a:ext uri="{FF2B5EF4-FFF2-40B4-BE49-F238E27FC236}">
                <a16:creationId xmlns:a16="http://schemas.microsoft.com/office/drawing/2014/main" id="{A2E4D762-EABE-F9E8-A416-7B524EE5A5F3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292100" y="6395755"/>
            <a:ext cx="1160780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ED1AEB33-C846-8D27-B334-B80B72329C8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chemeClr val="bg1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pic>
        <p:nvPicPr>
          <p:cNvPr id="8" name="NIQ GFK Lockup" hidden="1">
            <a:extLst>
              <a:ext uri="{FF2B5EF4-FFF2-40B4-BE49-F238E27FC236}">
                <a16:creationId xmlns:a16="http://schemas.microsoft.com/office/drawing/2014/main" id="{5D3C3BE7-0356-CB3B-CA9F-9B23ECA7BDF9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 rotWithShape="1">
          <a:blip r:embed="rId5"/>
          <a:srcRect l="23" r="23"/>
          <a:stretch/>
        </p:blipFill>
        <p:spPr>
          <a:xfrm>
            <a:off x="302626" y="6462285"/>
            <a:ext cx="906224" cy="329184"/>
          </a:xfrm>
          <a:prstGeom prst="rect">
            <a:avLst/>
          </a:prstGeom>
        </p:spPr>
      </p:pic>
      <p:pic>
        <p:nvPicPr>
          <p:cNvPr id="2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3D2C78A3-1318-F9F9-A0FA-2E6F97A0A4AD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130" y="6495154"/>
            <a:ext cx="781433" cy="269593"/>
          </a:xfrm>
          <a:prstGeom prst="rect">
            <a:avLst/>
          </a:prstGeom>
        </p:spPr>
      </p:pic>
      <p:pic>
        <p:nvPicPr>
          <p:cNvPr id="18" name="NIQ Logo">
            <a:extLst>
              <a:ext uri="{FF2B5EF4-FFF2-40B4-BE49-F238E27FC236}">
                <a16:creationId xmlns:a16="http://schemas.microsoft.com/office/drawing/2014/main" id="{74EC100F-70B4-0E01-8BC9-6F09D73757D7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92100" y="6495101"/>
            <a:ext cx="645459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261286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A0396E5-13E7-4012-CECA-7A1141514A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5522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0396E5-13E7-4012-CECA-7A1141514A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Abstracted logo">
            <a:extLst>
              <a:ext uri="{FF2B5EF4-FFF2-40B4-BE49-F238E27FC236}">
                <a16:creationId xmlns:a16="http://schemas.microsoft.com/office/drawing/2014/main" id="{37C4672C-8363-CE87-84A0-A85A94F793F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1"/>
            <a:ext cx="11495577" cy="6496681"/>
          </a:xfrm>
          <a:custGeom>
            <a:avLst/>
            <a:gdLst>
              <a:gd name="connsiteX0" fmla="*/ 0 w 11495577"/>
              <a:gd name="connsiteY0" fmla="*/ 0 h 6496681"/>
              <a:gd name="connsiteX1" fmla="*/ 704099 w 11495577"/>
              <a:gd name="connsiteY1" fmla="*/ 0 h 6496681"/>
              <a:gd name="connsiteX2" fmla="*/ 741689 w 11495577"/>
              <a:gd name="connsiteY2" fmla="*/ 102812 h 6496681"/>
              <a:gd name="connsiteX3" fmla="*/ 3783129 w 11495577"/>
              <a:gd name="connsiteY3" fmla="*/ 2118000 h 6496681"/>
              <a:gd name="connsiteX4" fmla="*/ 6824569 w 11495577"/>
              <a:gd name="connsiteY4" fmla="*/ 102812 h 6496681"/>
              <a:gd name="connsiteX5" fmla="*/ 6862160 w 11495577"/>
              <a:gd name="connsiteY5" fmla="*/ 0 h 6496681"/>
              <a:gd name="connsiteX6" fmla="*/ 10037149 w 11495577"/>
              <a:gd name="connsiteY6" fmla="*/ 0 h 6496681"/>
              <a:gd name="connsiteX7" fmla="*/ 10016547 w 11495577"/>
              <a:gd name="connsiteY7" fmla="*/ 118329 h 6496681"/>
              <a:gd name="connsiteX8" fmla="*/ 9239892 w 11495577"/>
              <a:gd name="connsiteY8" fmla="*/ 2084828 h 6496681"/>
              <a:gd name="connsiteX9" fmla="*/ 11495577 w 11495577"/>
              <a:gd name="connsiteY9" fmla="*/ 4340512 h 6496681"/>
              <a:gd name="connsiteX10" fmla="*/ 9339409 w 11495577"/>
              <a:gd name="connsiteY10" fmla="*/ 6496681 h 6496681"/>
              <a:gd name="connsiteX11" fmla="*/ 7083724 w 11495577"/>
              <a:gd name="connsiteY11" fmla="*/ 4224410 h 6496681"/>
              <a:gd name="connsiteX12" fmla="*/ 3799716 w 11495577"/>
              <a:gd name="connsiteY12" fmla="*/ 5153221 h 6496681"/>
              <a:gd name="connsiteX13" fmla="*/ 2713 w 11495577"/>
              <a:gd name="connsiteY13" fmla="*/ 3888664 h 6496681"/>
              <a:gd name="connsiteX14" fmla="*/ 0 w 11495577"/>
              <a:gd name="connsiteY14" fmla="*/ 3886530 h 649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1495577" h="6496681">
                <a:moveTo>
                  <a:pt x="0" y="0"/>
                </a:moveTo>
                <a:lnTo>
                  <a:pt x="704099" y="0"/>
                </a:lnTo>
                <a:lnTo>
                  <a:pt x="741689" y="102812"/>
                </a:lnTo>
                <a:cubicBezTo>
                  <a:pt x="1242376" y="1287668"/>
                  <a:pt x="2414792" y="2118000"/>
                  <a:pt x="3783129" y="2118000"/>
                </a:cubicBezTo>
                <a:cubicBezTo>
                  <a:pt x="5151467" y="2118000"/>
                  <a:pt x="6323883" y="1287668"/>
                  <a:pt x="6824569" y="102812"/>
                </a:cubicBezTo>
                <a:lnTo>
                  <a:pt x="6862160" y="0"/>
                </a:lnTo>
                <a:lnTo>
                  <a:pt x="10037149" y="0"/>
                </a:lnTo>
                <a:lnTo>
                  <a:pt x="10016547" y="118329"/>
                </a:lnTo>
                <a:cubicBezTo>
                  <a:pt x="9868343" y="824040"/>
                  <a:pt x="9602709" y="1483589"/>
                  <a:pt x="9239892" y="2084828"/>
                </a:cubicBezTo>
                <a:lnTo>
                  <a:pt x="11495577" y="4340512"/>
                </a:lnTo>
                <a:lnTo>
                  <a:pt x="9339409" y="6496681"/>
                </a:lnTo>
                <a:lnTo>
                  <a:pt x="7083724" y="4224410"/>
                </a:lnTo>
                <a:cubicBezTo>
                  <a:pt x="6138328" y="4821503"/>
                  <a:pt x="5010486" y="5153221"/>
                  <a:pt x="3799716" y="5153221"/>
                </a:cubicBezTo>
                <a:cubicBezTo>
                  <a:pt x="2377992" y="5153221"/>
                  <a:pt x="1063024" y="4682402"/>
                  <a:pt x="2713" y="3888664"/>
                </a:cubicBezTo>
                <a:lnTo>
                  <a:pt x="0" y="388653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 w="16583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rtl="0"/>
            <a:endParaRPr lang="en-US" dirty="0"/>
          </a:p>
        </p:txBody>
      </p:sp>
      <p:sp>
        <p:nvSpPr>
          <p:cNvPr id="7" name="Confidential disclaimer">
            <a:extLst>
              <a:ext uri="{FF2B5EF4-FFF2-40B4-BE49-F238E27FC236}">
                <a16:creationId xmlns:a16="http://schemas.microsoft.com/office/drawing/2014/main" id="{8C7D221E-197F-4D9A-2DBE-264A762EB7A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0798636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26" name="Footer Placeholder">
            <a:extLst>
              <a:ext uri="{FF2B5EF4-FFF2-40B4-BE49-F238E27FC236}">
                <a16:creationId xmlns:a16="http://schemas.microsoft.com/office/drawing/2014/main" id="{6DAF4C10-B884-4C63-31AE-C07181CF51A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3251197" y="6485399"/>
            <a:ext cx="3716341" cy="282957"/>
          </a:xfrm>
          <a:noFill/>
        </p:spPr>
        <p:txBody>
          <a:bodyPr>
            <a:noAutofit/>
          </a:bodyPr>
          <a:lstStyle>
            <a:lvl1pPr algn="l" rtl="0">
              <a:defRPr/>
            </a:lvl1pPr>
          </a:lstStyle>
          <a:p>
            <a:endParaRPr lang="en-US" dirty="0"/>
          </a:p>
        </p:txBody>
      </p:sp>
      <p:sp>
        <p:nvSpPr>
          <p:cNvPr id="16" name="Copyright Line">
            <a:extLst>
              <a:ext uri="{FF2B5EF4-FFF2-40B4-BE49-F238E27FC236}">
                <a16:creationId xmlns:a16="http://schemas.microsoft.com/office/drawing/2014/main" id="{8D552AA0-2719-EBF2-2C9E-A8D7C82BEB55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88558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13" name="Contact Info Placeholder">
            <a:extLst>
              <a:ext uri="{FF2B5EF4-FFF2-40B4-BE49-F238E27FC236}">
                <a16:creationId xmlns:a16="http://schemas.microsoft.com/office/drawing/2014/main" id="{C53A8FC6-F70F-155C-7171-C3706040B82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88559" y="4707481"/>
            <a:ext cx="8642082" cy="423465"/>
          </a:xfrm>
        </p:spPr>
        <p:txBody>
          <a:bodyPr t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ontact information</a:t>
            </a:r>
          </a:p>
        </p:txBody>
      </p:sp>
      <p:sp>
        <p:nvSpPr>
          <p:cNvPr id="12" name="Presenter Name Placeholder">
            <a:extLst>
              <a:ext uri="{FF2B5EF4-FFF2-40B4-BE49-F238E27FC236}">
                <a16:creationId xmlns:a16="http://schemas.microsoft.com/office/drawing/2014/main" id="{FDEBEBA6-435D-29FE-A7B2-7A24861035E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88559" y="4339347"/>
            <a:ext cx="8642082" cy="344384"/>
          </a:xfrm>
        </p:spPr>
        <p:txBody>
          <a:bodyPr tIns="0" bIns="0" anchor="b" anchorCtr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811C7246-8A71-F257-DB0D-3E1F23CE69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0" y="3136050"/>
            <a:ext cx="7121979" cy="829817"/>
          </a:xfrm>
        </p:spPr>
        <p:txBody>
          <a:bodyPr>
            <a:noAutofit/>
          </a:bodyPr>
          <a:lstStyle>
            <a:lvl1pPr marL="0" indent="0" rtl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 dirty="0"/>
              <a:t>[Call to action]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D9E3A23B-F3DB-B7EF-DCB8-D944C23E6D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953699"/>
            <a:ext cx="7121979" cy="1938435"/>
          </a:xfrm>
        </p:spPr>
        <p:txBody>
          <a:bodyPr vert="horz" anchor="b">
            <a:noAutofit/>
          </a:bodyPr>
          <a:lstStyle>
            <a:lvl1pPr rtl="0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Thank </a:t>
            </a:r>
            <a:r>
              <a:rPr lang="en-US"/>
              <a:t>you]</a:t>
            </a:r>
            <a:endParaRPr lang="en-US" dirty="0"/>
          </a:p>
        </p:txBody>
      </p:sp>
      <p:pic>
        <p:nvPicPr>
          <p:cNvPr id="4" name="NielsenIQ GFK lockup" hidden="1">
            <a:extLst>
              <a:ext uri="{FF2B5EF4-FFF2-40B4-BE49-F238E27FC236}">
                <a16:creationId xmlns:a16="http://schemas.microsoft.com/office/drawing/2014/main" id="{DCA6E8BC-B77A-54A1-C369-91956B34FEC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86122" y="5539740"/>
            <a:ext cx="3377876" cy="753596"/>
          </a:xfrm>
          <a:prstGeom prst="rect">
            <a:avLst/>
          </a:prstGeom>
        </p:spPr>
      </p:pic>
      <p:pic>
        <p:nvPicPr>
          <p:cNvPr id="22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B75E8267-9411-9919-62E4-BB9AB43721F4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558" y="5563212"/>
            <a:ext cx="2155411" cy="743616"/>
          </a:xfrm>
          <a:prstGeom prst="rect">
            <a:avLst/>
          </a:prstGeom>
        </p:spPr>
      </p:pic>
      <p:sp>
        <p:nvSpPr>
          <p:cNvPr id="5" name="Nielsen wordmark">
            <a:extLst>
              <a:ext uri="{FF2B5EF4-FFF2-40B4-BE49-F238E27FC236}">
                <a16:creationId xmlns:a16="http://schemas.microsoft.com/office/drawing/2014/main" id="{0A2688EF-BBA7-DD42-EAFC-01D7D42070A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295274" y="5686380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accent1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8028858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350E1F6-6A99-1610-71DD-C45CB8F3FD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7172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50E1F6-6A99-1610-71DD-C45CB8F3FD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Abstracted logo">
            <a:extLst>
              <a:ext uri="{FF2B5EF4-FFF2-40B4-BE49-F238E27FC236}">
                <a16:creationId xmlns:a16="http://schemas.microsoft.com/office/drawing/2014/main" id="{37C4672C-8363-CE87-84A0-A85A94F793F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1"/>
            <a:ext cx="11495577" cy="6496681"/>
          </a:xfrm>
          <a:custGeom>
            <a:avLst/>
            <a:gdLst>
              <a:gd name="connsiteX0" fmla="*/ 0 w 11495577"/>
              <a:gd name="connsiteY0" fmla="*/ 0 h 6496681"/>
              <a:gd name="connsiteX1" fmla="*/ 704099 w 11495577"/>
              <a:gd name="connsiteY1" fmla="*/ 0 h 6496681"/>
              <a:gd name="connsiteX2" fmla="*/ 741689 w 11495577"/>
              <a:gd name="connsiteY2" fmla="*/ 102812 h 6496681"/>
              <a:gd name="connsiteX3" fmla="*/ 3783129 w 11495577"/>
              <a:gd name="connsiteY3" fmla="*/ 2118000 h 6496681"/>
              <a:gd name="connsiteX4" fmla="*/ 6824569 w 11495577"/>
              <a:gd name="connsiteY4" fmla="*/ 102812 h 6496681"/>
              <a:gd name="connsiteX5" fmla="*/ 6862160 w 11495577"/>
              <a:gd name="connsiteY5" fmla="*/ 0 h 6496681"/>
              <a:gd name="connsiteX6" fmla="*/ 10037149 w 11495577"/>
              <a:gd name="connsiteY6" fmla="*/ 0 h 6496681"/>
              <a:gd name="connsiteX7" fmla="*/ 10016547 w 11495577"/>
              <a:gd name="connsiteY7" fmla="*/ 118329 h 6496681"/>
              <a:gd name="connsiteX8" fmla="*/ 9239892 w 11495577"/>
              <a:gd name="connsiteY8" fmla="*/ 2084828 h 6496681"/>
              <a:gd name="connsiteX9" fmla="*/ 11495577 w 11495577"/>
              <a:gd name="connsiteY9" fmla="*/ 4340512 h 6496681"/>
              <a:gd name="connsiteX10" fmla="*/ 9339409 w 11495577"/>
              <a:gd name="connsiteY10" fmla="*/ 6496681 h 6496681"/>
              <a:gd name="connsiteX11" fmla="*/ 7083724 w 11495577"/>
              <a:gd name="connsiteY11" fmla="*/ 4224410 h 6496681"/>
              <a:gd name="connsiteX12" fmla="*/ 3799716 w 11495577"/>
              <a:gd name="connsiteY12" fmla="*/ 5153221 h 6496681"/>
              <a:gd name="connsiteX13" fmla="*/ 2713 w 11495577"/>
              <a:gd name="connsiteY13" fmla="*/ 3888664 h 6496681"/>
              <a:gd name="connsiteX14" fmla="*/ 0 w 11495577"/>
              <a:gd name="connsiteY14" fmla="*/ 3886530 h 649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1495577" h="6496681">
                <a:moveTo>
                  <a:pt x="0" y="0"/>
                </a:moveTo>
                <a:lnTo>
                  <a:pt x="704099" y="0"/>
                </a:lnTo>
                <a:lnTo>
                  <a:pt x="741689" y="102812"/>
                </a:lnTo>
                <a:cubicBezTo>
                  <a:pt x="1242376" y="1287668"/>
                  <a:pt x="2414792" y="2118000"/>
                  <a:pt x="3783129" y="2118000"/>
                </a:cubicBezTo>
                <a:cubicBezTo>
                  <a:pt x="5151467" y="2118000"/>
                  <a:pt x="6323883" y="1287668"/>
                  <a:pt x="6824569" y="102812"/>
                </a:cubicBezTo>
                <a:lnTo>
                  <a:pt x="6862160" y="0"/>
                </a:lnTo>
                <a:lnTo>
                  <a:pt x="10037149" y="0"/>
                </a:lnTo>
                <a:lnTo>
                  <a:pt x="10016547" y="118329"/>
                </a:lnTo>
                <a:cubicBezTo>
                  <a:pt x="9868343" y="824040"/>
                  <a:pt x="9602709" y="1483589"/>
                  <a:pt x="9239892" y="2084828"/>
                </a:cubicBezTo>
                <a:lnTo>
                  <a:pt x="11495577" y="4340512"/>
                </a:lnTo>
                <a:lnTo>
                  <a:pt x="9339409" y="6496681"/>
                </a:lnTo>
                <a:lnTo>
                  <a:pt x="7083724" y="4224410"/>
                </a:lnTo>
                <a:cubicBezTo>
                  <a:pt x="6138328" y="4821503"/>
                  <a:pt x="5010486" y="5153221"/>
                  <a:pt x="3799716" y="5153221"/>
                </a:cubicBezTo>
                <a:cubicBezTo>
                  <a:pt x="2377992" y="5153221"/>
                  <a:pt x="1063024" y="4682402"/>
                  <a:pt x="2713" y="3888664"/>
                </a:cubicBezTo>
                <a:lnTo>
                  <a:pt x="0" y="3886530"/>
                </a:lnTo>
                <a:close/>
              </a:path>
            </a:pathLst>
          </a:custGeom>
          <a:solidFill>
            <a:srgbClr val="1F2358"/>
          </a:solidFill>
          <a:ln w="16583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rtl="0"/>
            <a:endParaRPr lang="en-US" dirty="0"/>
          </a:p>
        </p:txBody>
      </p:sp>
      <p:sp>
        <p:nvSpPr>
          <p:cNvPr id="2" name="Confidential disclaimer">
            <a:extLst>
              <a:ext uri="{FF2B5EF4-FFF2-40B4-BE49-F238E27FC236}">
                <a16:creationId xmlns:a16="http://schemas.microsoft.com/office/drawing/2014/main" id="{CC2B4C36-E651-2950-6A7E-EA8C3223EAD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0798636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6567EAC2-C7F5-1090-5CB4-EBD818C469A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3251197" y="6485399"/>
            <a:ext cx="3716341" cy="282957"/>
          </a:xfrm>
          <a:noFill/>
        </p:spPr>
        <p:txBody>
          <a:bodyPr>
            <a:noAutofit/>
          </a:bodyPr>
          <a:lstStyle>
            <a:lvl1pPr algn="l" rtl="0"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Copyright Line">
            <a:extLst>
              <a:ext uri="{FF2B5EF4-FFF2-40B4-BE49-F238E27FC236}">
                <a16:creationId xmlns:a16="http://schemas.microsoft.com/office/drawing/2014/main" id="{F7126EC3-8C35-EE2B-ADB1-C715FE7A9F8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88558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17" name="Contact Info Placeholder">
            <a:extLst>
              <a:ext uri="{FF2B5EF4-FFF2-40B4-BE49-F238E27FC236}">
                <a16:creationId xmlns:a16="http://schemas.microsoft.com/office/drawing/2014/main" id="{A3FB210C-3E75-B9CF-9D2B-068286A55F3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88559" y="4707481"/>
            <a:ext cx="8642082" cy="423465"/>
          </a:xfrm>
        </p:spPr>
        <p:txBody>
          <a:bodyPr t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ontact information</a:t>
            </a:r>
          </a:p>
        </p:txBody>
      </p:sp>
      <p:sp>
        <p:nvSpPr>
          <p:cNvPr id="24" name="Presenter Name Placeholder">
            <a:extLst>
              <a:ext uri="{FF2B5EF4-FFF2-40B4-BE49-F238E27FC236}">
                <a16:creationId xmlns:a16="http://schemas.microsoft.com/office/drawing/2014/main" id="{9CCE47FC-ABF8-A3D7-1819-33209FC9E53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88559" y="4339347"/>
            <a:ext cx="8642082" cy="344384"/>
          </a:xfrm>
        </p:spPr>
        <p:txBody>
          <a:bodyPr tIns="0" bIns="0" anchor="b" anchorCtr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25" name="Subtitle Placeholder">
            <a:extLst>
              <a:ext uri="{FF2B5EF4-FFF2-40B4-BE49-F238E27FC236}">
                <a16:creationId xmlns:a16="http://schemas.microsoft.com/office/drawing/2014/main" id="{10BFC0B4-2BF4-2A65-9425-84381B182E3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0" y="3136050"/>
            <a:ext cx="7121979" cy="829817"/>
          </a:xfrm>
        </p:spPr>
        <p:txBody>
          <a:bodyPr>
            <a:no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 dirty="0"/>
              <a:t>[Call to action]</a:t>
            </a:r>
          </a:p>
        </p:txBody>
      </p:sp>
      <p:sp>
        <p:nvSpPr>
          <p:cNvPr id="27" name="Title Placeholder">
            <a:extLst>
              <a:ext uri="{FF2B5EF4-FFF2-40B4-BE49-F238E27FC236}">
                <a16:creationId xmlns:a16="http://schemas.microsoft.com/office/drawing/2014/main" id="{ABB00A9C-AB66-516A-550B-B734DF89C33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953699"/>
            <a:ext cx="7121979" cy="1938435"/>
          </a:xfrm>
        </p:spPr>
        <p:txBody>
          <a:bodyPr vert="horz" anchor="b">
            <a:noAutofit/>
          </a:bodyPr>
          <a:lstStyle>
            <a:lvl1pPr rtl="0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Thank </a:t>
            </a:r>
            <a:r>
              <a:rPr lang="en-US"/>
              <a:t>you]</a:t>
            </a:r>
            <a:endParaRPr lang="en-US" dirty="0"/>
          </a:p>
        </p:txBody>
      </p:sp>
      <p:pic>
        <p:nvPicPr>
          <p:cNvPr id="3" name="NielsenIQ GFK lockup" hidden="1">
            <a:extLst>
              <a:ext uri="{FF2B5EF4-FFF2-40B4-BE49-F238E27FC236}">
                <a16:creationId xmlns:a16="http://schemas.microsoft.com/office/drawing/2014/main" id="{8991D051-ABB0-DBF5-92EA-40EAAEB0F576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86122" y="5539740"/>
            <a:ext cx="3377876" cy="753596"/>
          </a:xfrm>
          <a:prstGeom prst="rect">
            <a:avLst/>
          </a:prstGeom>
        </p:spPr>
      </p:pic>
      <p:pic>
        <p:nvPicPr>
          <p:cNvPr id="22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B75E8267-9411-9919-62E4-BB9AB43721F4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558" y="5563212"/>
            <a:ext cx="2155411" cy="743616"/>
          </a:xfrm>
          <a:prstGeom prst="rect">
            <a:avLst/>
          </a:prstGeom>
        </p:spPr>
      </p:pic>
      <p:sp>
        <p:nvSpPr>
          <p:cNvPr id="28" name="Nielsen wordmark">
            <a:extLst>
              <a:ext uri="{FF2B5EF4-FFF2-40B4-BE49-F238E27FC236}">
                <a16:creationId xmlns:a16="http://schemas.microsoft.com/office/drawing/2014/main" id="{B8D9CC60-F1A1-B774-0169-5108239545D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295274" y="5686380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accent1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8710458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with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C13B0FE-9356-D7E3-F1A3-FC024BA02C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5462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13B0FE-9356-D7E3-F1A3-FC024BA02C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3EA170A1-4423-F4C6-500F-3145AE3828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8F9A7ED9-7286-8649-7774-5D0D889A87BF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07BDB0AE-6D7D-063A-423B-2DA85D85065F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B9BB24B7-363D-13CE-75F6-0A9229C85E04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16488B6B-5B17-3459-E2BF-582505FCE521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1388798B-622C-8840-BDA9-799DB20F5489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C62B9EE3-10E8-CAAF-D42C-424FA15DCE1E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2" name="Rechteck 171">
              <a:extLst>
                <a:ext uri="{FF2B5EF4-FFF2-40B4-BE49-F238E27FC236}">
                  <a16:creationId xmlns:a16="http://schemas.microsoft.com/office/drawing/2014/main" id="{06DB4BEF-B2C3-E72D-6B32-BE802F334D6D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3" name="Rechteck 172">
              <a:extLst>
                <a:ext uri="{FF2B5EF4-FFF2-40B4-BE49-F238E27FC236}">
                  <a16:creationId xmlns:a16="http://schemas.microsoft.com/office/drawing/2014/main" id="{AA2F0287-601F-80BE-334E-0F392AE93FB8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2623B37D-D66B-8B31-8F87-FA3A8624C43A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2BC135E4-A194-F024-71C6-12FF3C94C8F1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C5CBD600-BB02-66AD-B72E-E912874D5DF7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0A286494-D2FC-4204-E3FF-6A01D186EE65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3" name="Rechteck 212">
              <a:extLst>
                <a:ext uri="{FF2B5EF4-FFF2-40B4-BE49-F238E27FC236}">
                  <a16:creationId xmlns:a16="http://schemas.microsoft.com/office/drawing/2014/main" id="{CE379752-545E-246F-5C79-F5BFEAD16710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CC874455-D846-1FD2-E5AB-1F6A869D3626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5" name="Rechteck 214">
              <a:extLst>
                <a:ext uri="{FF2B5EF4-FFF2-40B4-BE49-F238E27FC236}">
                  <a16:creationId xmlns:a16="http://schemas.microsoft.com/office/drawing/2014/main" id="{8102D552-D8D2-81C9-DD70-C9BB051F4A8B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6" name="Rechteck 215">
              <a:extLst>
                <a:ext uri="{FF2B5EF4-FFF2-40B4-BE49-F238E27FC236}">
                  <a16:creationId xmlns:a16="http://schemas.microsoft.com/office/drawing/2014/main" id="{AD65C6B9-D5C8-6461-4F17-336B24B26A4F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7" name="Rechteck 216">
              <a:extLst>
                <a:ext uri="{FF2B5EF4-FFF2-40B4-BE49-F238E27FC236}">
                  <a16:creationId xmlns:a16="http://schemas.microsoft.com/office/drawing/2014/main" id="{D7EF7ABE-0112-0298-8A33-AFFE09D2EE66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8" name="Rechteck 217">
              <a:extLst>
                <a:ext uri="{FF2B5EF4-FFF2-40B4-BE49-F238E27FC236}">
                  <a16:creationId xmlns:a16="http://schemas.microsoft.com/office/drawing/2014/main" id="{89BD8482-299E-3C29-82DE-051930B8F3CC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9" name="Rechteck 218">
              <a:extLst>
                <a:ext uri="{FF2B5EF4-FFF2-40B4-BE49-F238E27FC236}">
                  <a16:creationId xmlns:a16="http://schemas.microsoft.com/office/drawing/2014/main" id="{5DDD6DE0-6399-2D19-6AA5-A0A73E9CB1F5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0" name="Rechteck 219">
              <a:extLst>
                <a:ext uri="{FF2B5EF4-FFF2-40B4-BE49-F238E27FC236}">
                  <a16:creationId xmlns:a16="http://schemas.microsoft.com/office/drawing/2014/main" id="{EA89F9E9-F17E-9D3B-FD84-313706BE4942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1" name="Rechteck 220">
              <a:extLst>
                <a:ext uri="{FF2B5EF4-FFF2-40B4-BE49-F238E27FC236}">
                  <a16:creationId xmlns:a16="http://schemas.microsoft.com/office/drawing/2014/main" id="{03A43D4F-53CA-91DF-6C6B-4E8D3AB742C3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2" name="Rechteck 221">
              <a:extLst>
                <a:ext uri="{FF2B5EF4-FFF2-40B4-BE49-F238E27FC236}">
                  <a16:creationId xmlns:a16="http://schemas.microsoft.com/office/drawing/2014/main" id="{376F5110-1B4D-0245-5C53-DB905ABC4069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3" name="Rechteck 222">
              <a:extLst>
                <a:ext uri="{FF2B5EF4-FFF2-40B4-BE49-F238E27FC236}">
                  <a16:creationId xmlns:a16="http://schemas.microsoft.com/office/drawing/2014/main" id="{97CC33A9-C00F-2E61-DE44-37C32D3F8D08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4" name="Rechteck 223">
              <a:extLst>
                <a:ext uri="{FF2B5EF4-FFF2-40B4-BE49-F238E27FC236}">
                  <a16:creationId xmlns:a16="http://schemas.microsoft.com/office/drawing/2014/main" id="{83BF6E78-8B6D-1DA7-D2E8-3E8952EBA34B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F2359465-2A3F-55E4-E4C4-480BB0AD6ABB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AB47656F-B219-3FE2-316F-97A7FBD809A7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7" name="Rechteck 226">
              <a:extLst>
                <a:ext uri="{FF2B5EF4-FFF2-40B4-BE49-F238E27FC236}">
                  <a16:creationId xmlns:a16="http://schemas.microsoft.com/office/drawing/2014/main" id="{2F733CAD-BD14-6530-D2F5-F50B70CAFEEB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C81D05D2-190E-3ED8-BA33-54A72C165314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9" name="Rechteck 228">
              <a:extLst>
                <a:ext uri="{FF2B5EF4-FFF2-40B4-BE49-F238E27FC236}">
                  <a16:creationId xmlns:a16="http://schemas.microsoft.com/office/drawing/2014/main" id="{DAE5FBF8-0C2E-349D-2D4E-D58B39D7F5B4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0" name="Rechteck 229">
              <a:extLst>
                <a:ext uri="{FF2B5EF4-FFF2-40B4-BE49-F238E27FC236}">
                  <a16:creationId xmlns:a16="http://schemas.microsoft.com/office/drawing/2014/main" id="{CC3EA17C-0660-33DC-A2B0-EA6F758EDB60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1" name="Rechteck 230">
              <a:extLst>
                <a:ext uri="{FF2B5EF4-FFF2-40B4-BE49-F238E27FC236}">
                  <a16:creationId xmlns:a16="http://schemas.microsoft.com/office/drawing/2014/main" id="{6AD70C4A-C759-8B85-1805-C192A035DA89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2" name="Rechteck 231">
              <a:extLst>
                <a:ext uri="{FF2B5EF4-FFF2-40B4-BE49-F238E27FC236}">
                  <a16:creationId xmlns:a16="http://schemas.microsoft.com/office/drawing/2014/main" id="{063D4C1E-C1C9-029E-8037-F2E93F5FC4D1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3" name="Rechteck 232">
              <a:extLst>
                <a:ext uri="{FF2B5EF4-FFF2-40B4-BE49-F238E27FC236}">
                  <a16:creationId xmlns:a16="http://schemas.microsoft.com/office/drawing/2014/main" id="{9762FE81-0A13-5BE2-EEF4-8B02DAE700CE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4" name="Rechteck 233">
              <a:extLst>
                <a:ext uri="{FF2B5EF4-FFF2-40B4-BE49-F238E27FC236}">
                  <a16:creationId xmlns:a16="http://schemas.microsoft.com/office/drawing/2014/main" id="{1E12CABC-83ED-96AF-BB2A-F3F91271C0CB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5" name="Rechteck 234">
              <a:extLst>
                <a:ext uri="{FF2B5EF4-FFF2-40B4-BE49-F238E27FC236}">
                  <a16:creationId xmlns:a16="http://schemas.microsoft.com/office/drawing/2014/main" id="{EE2F7B54-6901-A78E-B6B3-0DFBEF07500A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6" name="Rechteck 235">
              <a:extLst>
                <a:ext uri="{FF2B5EF4-FFF2-40B4-BE49-F238E27FC236}">
                  <a16:creationId xmlns:a16="http://schemas.microsoft.com/office/drawing/2014/main" id="{C489EACA-89A4-909A-E4F1-A47A8A3161C8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7" name="Rechteck 236">
              <a:extLst>
                <a:ext uri="{FF2B5EF4-FFF2-40B4-BE49-F238E27FC236}">
                  <a16:creationId xmlns:a16="http://schemas.microsoft.com/office/drawing/2014/main" id="{C07DFF4E-7365-73BF-0A42-43F028956E2A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8" name="Rechteck 237">
              <a:extLst>
                <a:ext uri="{FF2B5EF4-FFF2-40B4-BE49-F238E27FC236}">
                  <a16:creationId xmlns:a16="http://schemas.microsoft.com/office/drawing/2014/main" id="{32D01550-51E4-F9C7-BB30-97C36137806D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9" name="Rechteck 238">
              <a:extLst>
                <a:ext uri="{FF2B5EF4-FFF2-40B4-BE49-F238E27FC236}">
                  <a16:creationId xmlns:a16="http://schemas.microsoft.com/office/drawing/2014/main" id="{6C2110C4-B154-7572-17F7-54B9F6343BCF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0" name="Rechteck 239">
              <a:extLst>
                <a:ext uri="{FF2B5EF4-FFF2-40B4-BE49-F238E27FC236}">
                  <a16:creationId xmlns:a16="http://schemas.microsoft.com/office/drawing/2014/main" id="{65FC02A0-CDA2-ED50-E9DE-DFEF95E295CE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1" name="Rechteck 240">
              <a:extLst>
                <a:ext uri="{FF2B5EF4-FFF2-40B4-BE49-F238E27FC236}">
                  <a16:creationId xmlns:a16="http://schemas.microsoft.com/office/drawing/2014/main" id="{0D73D565-D87F-727C-D035-32302B8DDF7D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2" name="Rechteck 241">
              <a:extLst>
                <a:ext uri="{FF2B5EF4-FFF2-40B4-BE49-F238E27FC236}">
                  <a16:creationId xmlns:a16="http://schemas.microsoft.com/office/drawing/2014/main" id="{5DB75C24-8953-8306-7020-428BAB7852C8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3" name="Rechteck 242">
              <a:extLst>
                <a:ext uri="{FF2B5EF4-FFF2-40B4-BE49-F238E27FC236}">
                  <a16:creationId xmlns:a16="http://schemas.microsoft.com/office/drawing/2014/main" id="{203D67A6-B7EB-5136-94C3-EA0BF69B3B54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4" name="Rechteck 243">
              <a:extLst>
                <a:ext uri="{FF2B5EF4-FFF2-40B4-BE49-F238E27FC236}">
                  <a16:creationId xmlns:a16="http://schemas.microsoft.com/office/drawing/2014/main" id="{2163CFB7-5F82-A31F-D3EE-618BFEF5B017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5" name="Rechteck 244">
              <a:extLst>
                <a:ext uri="{FF2B5EF4-FFF2-40B4-BE49-F238E27FC236}">
                  <a16:creationId xmlns:a16="http://schemas.microsoft.com/office/drawing/2014/main" id="{9F193E44-CAA7-B01F-BC57-DC80DDDFB615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6" name="Rechteck 245">
              <a:extLst>
                <a:ext uri="{FF2B5EF4-FFF2-40B4-BE49-F238E27FC236}">
                  <a16:creationId xmlns:a16="http://schemas.microsoft.com/office/drawing/2014/main" id="{47510407-E389-B654-625C-5A7A93FE98C4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7" name="Rechteck 246">
              <a:extLst>
                <a:ext uri="{FF2B5EF4-FFF2-40B4-BE49-F238E27FC236}">
                  <a16:creationId xmlns:a16="http://schemas.microsoft.com/office/drawing/2014/main" id="{7FC8A40D-D427-9AFC-B3C7-41CCF6CD466B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8" name="Rechteck 247">
              <a:extLst>
                <a:ext uri="{FF2B5EF4-FFF2-40B4-BE49-F238E27FC236}">
                  <a16:creationId xmlns:a16="http://schemas.microsoft.com/office/drawing/2014/main" id="{26B88DD2-9109-E831-0841-601BF1FA7B2C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9" name="Rechteck 248">
              <a:extLst>
                <a:ext uri="{FF2B5EF4-FFF2-40B4-BE49-F238E27FC236}">
                  <a16:creationId xmlns:a16="http://schemas.microsoft.com/office/drawing/2014/main" id="{CD749397-B9EC-5FD0-902E-CAD57D49C0EE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0" name="Rechteck 249">
              <a:extLst>
                <a:ext uri="{FF2B5EF4-FFF2-40B4-BE49-F238E27FC236}">
                  <a16:creationId xmlns:a16="http://schemas.microsoft.com/office/drawing/2014/main" id="{5024123C-6F9D-8372-AD84-AD9E2F462AF7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1" name="Rechteck 250">
              <a:extLst>
                <a:ext uri="{FF2B5EF4-FFF2-40B4-BE49-F238E27FC236}">
                  <a16:creationId xmlns:a16="http://schemas.microsoft.com/office/drawing/2014/main" id="{5DCF876E-C335-3764-E89B-B1ED0F96CAE8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2" name="Rechteck 251">
              <a:extLst>
                <a:ext uri="{FF2B5EF4-FFF2-40B4-BE49-F238E27FC236}">
                  <a16:creationId xmlns:a16="http://schemas.microsoft.com/office/drawing/2014/main" id="{E6D0406F-2E48-9855-2CD8-63227F7F94C2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3" name="Rechteck 252">
              <a:extLst>
                <a:ext uri="{FF2B5EF4-FFF2-40B4-BE49-F238E27FC236}">
                  <a16:creationId xmlns:a16="http://schemas.microsoft.com/office/drawing/2014/main" id="{DBE92752-E387-51EA-AE6C-DDB914F6ED82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4" name="Rechteck 253">
              <a:extLst>
                <a:ext uri="{FF2B5EF4-FFF2-40B4-BE49-F238E27FC236}">
                  <a16:creationId xmlns:a16="http://schemas.microsoft.com/office/drawing/2014/main" id="{DB70EF8E-2736-54B6-1A28-9E872B614BD0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5" name="Rechteck 254">
              <a:extLst>
                <a:ext uri="{FF2B5EF4-FFF2-40B4-BE49-F238E27FC236}">
                  <a16:creationId xmlns:a16="http://schemas.microsoft.com/office/drawing/2014/main" id="{DD96CF14-8240-B111-3654-F100E5B0897F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753750F4-D006-B5BD-F74A-5DDA4ABD9A68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D19DD8D4-9182-BF8F-167D-43D8CB98793B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9DB73881-58B9-611E-1FC3-3DA64CDA4917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38284B60-9AE2-5E94-6B35-2CF0055BCF4E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336BB29B-67DD-E991-2962-CE9BB66DC003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5A0AFCE4-BCCF-4C79-9EA5-936A8256A7A0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527A5B54-2A06-29A5-3D51-3C33495CE418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D4A05010-AACA-E9B3-AB3E-990549846A7E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657C9670-FE1C-B149-177C-216EE30408A8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D338BE36-C646-CBC8-13B8-0ABA1E4DC708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BAFBF828-5EE1-7F1A-D8C1-1A7D2040B0F2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406621AC-61FB-8E6A-8BEC-778BD5BBED33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F8E98E1C-178B-A9D5-8D3E-A79AADC65343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82CC8B68-52C2-B1CF-1EE0-523AAA824B42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0" name="Rechteck 269">
              <a:extLst>
                <a:ext uri="{FF2B5EF4-FFF2-40B4-BE49-F238E27FC236}">
                  <a16:creationId xmlns:a16="http://schemas.microsoft.com/office/drawing/2014/main" id="{A205CDB0-5C2C-1CF5-FE19-D2AB5D00E88A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1" name="Rechteck 270">
              <a:extLst>
                <a:ext uri="{FF2B5EF4-FFF2-40B4-BE49-F238E27FC236}">
                  <a16:creationId xmlns:a16="http://schemas.microsoft.com/office/drawing/2014/main" id="{FC9EB7BC-120A-AE16-DF44-849CD91448D9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C6CB98EB-D01F-36CE-7F2E-3787636617EE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A7036271-D068-844D-27F2-2BA47ABA9B70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AB66B896-A79C-B7C1-FFD3-AFBAF236EA95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319E3659-6EBA-D85F-3660-51A2A43C8FA4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3DACA6CE-C7CF-F659-BD89-CB358E21050A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65DB28A3-E9D7-A075-3E5E-90397CE8E2CD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8956E333-68BD-7C99-92A6-94A24867B733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B70C34CA-C4E1-5A90-B8E0-891BD73D56F1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B0AA5FBD-66EC-2C77-E3D1-BB62B6B885CF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EADA99BD-EE71-3A02-A27C-F27598E3A81D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8DF6023A-B18A-0A0F-F85A-A745A164916B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3" name="Rechteck 282">
              <a:extLst>
                <a:ext uri="{FF2B5EF4-FFF2-40B4-BE49-F238E27FC236}">
                  <a16:creationId xmlns:a16="http://schemas.microsoft.com/office/drawing/2014/main" id="{06CF5F04-3EC9-FB23-5AE4-95462F73EE5B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21693DA1-6D2F-8663-43B1-899C89519079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A3CB7A5A-D761-3830-436A-A89D53CC4248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B13ECF14-25B7-5102-0133-A3C70E4A87FA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9D042395-ED01-7719-1F11-1BC78894EF26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55617FB2-F56D-2A1D-9804-1CF4FFD054F1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D4496687-D342-4B9C-9B17-A9B2391BECC8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9CBD70A1-170A-1C00-6E60-2958555EBCEC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21384AC3-36F3-33EA-C100-ACFCD38DD957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A5F05B10-9A69-883B-C44B-1C279E9819F7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9BDC6FE6-BFC7-5BE2-424B-C10BB724EFA3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9BC1547B-2F7B-63BF-F077-775271EC746D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00DED609-89FF-F79D-6153-E8DE1E222C10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6C2CAC04-8D4C-1103-112E-D80BD8F50498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058DC296-F846-6A59-4AB5-0303C0DE2D29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8522089B-D71F-7094-4D84-8306A973517A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9DA9884B-9C2B-1292-9992-4E665EABE562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6E754E28-2328-2EA6-0E28-217234FC7354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16516D6B-2B8D-9FF9-AB31-DDE9212D6479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7A069318-7D51-5A4C-B98E-F1D1B43D302B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C5D69EDB-B1C0-FFDC-3FC3-8A98C70562E9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BFB4002F-4963-BDB3-4E56-105422C7BD5A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048C6A69-56B3-AD4D-5735-32629D214E18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61235075-3BBE-4A08-8553-E8888A16F2C4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3019E7CB-EDC6-429D-4C22-3AA4D5E8D331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3A252333-2869-05FE-7882-FE2252FF56DE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8BFAE692-BD08-AEAD-8898-7A26A0EC35CA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9631059C-EAD9-CF53-C114-40076D424E9F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22335228-E4D1-52B6-E10A-764BC7FF0203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61ED5946-4A19-ABBC-15EE-8FD5BED81E46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DB8D6881-BC50-BA8E-F57D-2D877080829D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1D6031E0-9D48-4BDC-E328-E147B9F278C7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557A8659-5248-D8D4-8863-7A26B1085923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EC432710-C86C-8ECC-DFAA-707A2F250786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0EF44DB3-26A2-071B-1418-AA69FD87FE23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E504CD39-D23A-CB50-0267-30DE16278BC3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98755E14-F3BD-452B-264D-7336C681A0B8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C574A574-B4D1-DB21-98B9-CA85FDDA3797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6353AD79-BEB9-11F8-F330-DCCA33FDD6E3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E56D6FB5-5CEA-0C89-9977-7319111B9C55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4939AEA6-F5FD-3041-BACC-EEFFB9021F88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4160B37B-A7EB-BAD6-67D3-FBFF320D7BD1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DA389E02-D552-A069-DA54-AEDB52ED0FBF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A9501410-81B4-E0FF-F2F0-D9F71BC70E53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E2BF919A-65CC-DFDD-F1EF-E80CCF5EF212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CEDBD0C9-25D0-D633-3B57-51B4030CAB9D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BDCEDAA0-C3B8-27FD-C07A-B50E2EA989FA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5C5D116F-C767-08B0-761D-8DCBFCF16C6A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698CB4BE-731E-7E54-A1E3-32AE4A657EA3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6793CDDA-E53C-6135-3E82-9E50C2EA80AC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7D948FB8-EB21-BFCC-0EAD-AD6B99CD05ED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06C2D570-A3B9-55B3-7F2B-2141D3266BC4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970B911A-C6B6-4F77-5252-66215D395EA7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F3B0AF60-4A1B-03BE-44FA-E7711311586A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ED0D112D-98CA-72BC-DEF2-9BA1212728E9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3239A8E7-3EEE-9596-62CE-7914D40BBF29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D45C6426-3F7B-66FF-FB15-B2B752C114FC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8967770E-2DB7-6C5B-ECD7-C29118036CE1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93B2FAE4-0CA9-E08A-44CE-8088D0FAE1C6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AE59367B-9C5C-6AE8-3CE0-976BE5F08C50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A38D82D7-4846-5522-3BB2-82BDCD031394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11EF7213-B967-DA8A-D3A8-F51C82BC9E4E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103F497E-2F66-B02E-EDCA-F93DDCA9DDCF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5020FA8D-BF5B-A886-3993-238E9B82B1AF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B9FD24EE-C282-9FC3-9215-0543EF099B33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B80E86D0-75DC-A3EA-CD60-8316CC8D0BA4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012CBBF0-3AC5-4B7A-2AA4-0FDD4A48D256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5EE1CF2F-BBBD-4BB8-BAB7-E4453687E325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BC482399-9B66-1B6B-70FC-64778436AC36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70F7B8B4-A983-A82F-0669-72F3A2286AD9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24290A93-C7A3-756C-90FD-59586732AF36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DBEF970C-0518-400E-484C-2C7AD909E003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C041C441-B09A-2689-C196-688B52CB586F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B83D06A3-BDB4-6D1A-642D-E92F6189CF06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057444D3-FAFE-8795-5D85-49031EDD6B06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7679093C-A61F-49F2-ADCA-E7EAA1C2BFE0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7CF8B7B7-B97A-8A81-437B-DBDC9D539AB0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3FA869D7-E972-16C8-E682-28B43606E275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99EFD6BF-452D-2553-8D2C-D4EE715C1D95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97C39930-5D19-8695-5031-B6F292FD9013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94DF4504-C3DD-4FFD-BC3C-4FAD0B1A3FBF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48C6A062-EED7-DA73-6526-384CCA180B55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E48AB336-A11E-B6DD-E053-64C8F5E16C14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4B66FD45-5324-E23F-3FC2-643C1C0EA2EF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9387DBA9-E7CD-BC38-4E6B-3FB6F0BC490C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5D782FCE-D785-AF04-6029-AAB67B7148F5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652FEE84-44C9-17AF-9C4C-91572343FB00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FC635059-86F0-09F2-2527-FF38931FE781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CEFD5084-9534-9201-2F37-FABADAD98E47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D4E7FE9F-DAA5-2F78-AF42-0BF4D6C1FC85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D314CFC7-F3F0-FA6E-315F-74273B4716EF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409796D9-EB16-D3B2-098E-B1A2C44252B2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A05090FF-BCEB-EC24-A649-25B329D66DC1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A656BEEB-61EC-01A6-8E77-1930C98056A7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28931C63-D512-894C-9778-A3BF909A7E63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1D592C88-D0B0-FF5C-A2E5-DFC8FEE6D3F6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70F7B22F-8D4C-6AEF-B953-DA9BB2F55E7C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1D824D44-72EB-B1FC-D3F2-FBE7A2AC2443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D88AE0EF-B654-FAE4-7287-8CEAB01860B4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12E7BEF8-DE80-CE26-7479-263207220B93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0AA2A119-2AE1-9327-1E52-116EED470A0A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EB65D399-662A-C52F-5CBA-AA3B56F9A937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22B798B1-C202-E51E-E357-0006025EE7F9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702743F5-C633-6518-9DCC-15131B3E8956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6BD67DF8-5129-C31D-4838-0EE68547D57B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80468885-8DFF-67E1-85A6-A926BEDB28C5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62E9B93D-855E-2B79-D038-00D719C2D46C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pic>
        <p:nvPicPr>
          <p:cNvPr id="390" name="Logo">
            <a:extLst>
              <a:ext uri="{FF2B5EF4-FFF2-40B4-BE49-F238E27FC236}">
                <a16:creationId xmlns:a16="http://schemas.microsoft.com/office/drawing/2014/main" id="{AE107197-3230-4C0B-CC9F-643D59057B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  <p:grpSp>
        <p:nvGrpSpPr>
          <p:cNvPr id="391" name="Gruppieren 390">
            <a:extLst>
              <a:ext uri="{FF2B5EF4-FFF2-40B4-BE49-F238E27FC236}">
                <a16:creationId xmlns:a16="http://schemas.microsoft.com/office/drawing/2014/main" id="{9D39E8C0-47E1-D3BF-A135-6011FBD331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838831" y="2082829"/>
            <a:ext cx="2448000" cy="0"/>
            <a:chOff x="983432" y="2082829"/>
            <a:chExt cx="2448000" cy="0"/>
          </a:xfrm>
        </p:grpSpPr>
        <p:cxnSp>
          <p:nvCxnSpPr>
            <p:cNvPr id="392" name="Line">
              <a:extLst>
                <a:ext uri="{FF2B5EF4-FFF2-40B4-BE49-F238E27FC236}">
                  <a16:creationId xmlns:a16="http://schemas.microsoft.com/office/drawing/2014/main" id="{BB6745BF-F3AE-B55A-BCCB-019C25744B3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3" name="Line">
              <a:extLst>
                <a:ext uri="{FF2B5EF4-FFF2-40B4-BE49-F238E27FC236}">
                  <a16:creationId xmlns:a16="http://schemas.microsoft.com/office/drawing/2014/main" id="{9F8DFFE7-E201-6CBC-EF69-318AD77ED5E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4" name="Shape">
            <a:extLst>
              <a:ext uri="{FF2B5EF4-FFF2-40B4-BE49-F238E27FC236}">
                <a16:creationId xmlns:a16="http://schemas.microsoft.com/office/drawing/2014/main" id="{81ADCD7E-CD51-40F1-70C3-287E5126BB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gray">
          <a:xfrm>
            <a:off x="4367808" y="2060848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397" name="Bildplatzhalter 396">
            <a:extLst>
              <a:ext uri="{FF2B5EF4-FFF2-40B4-BE49-F238E27FC236}">
                <a16:creationId xmlns:a16="http://schemas.microsoft.com/office/drawing/2014/main" id="{7462A7CC-E7E5-7E2F-7A8E-26525629BE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367809" y="2061400"/>
            <a:ext cx="5760640" cy="3463099"/>
          </a:xfrm>
          <a:custGeom>
            <a:avLst/>
            <a:gdLst>
              <a:gd name="connsiteX0" fmla="*/ 5760640 w 5760640"/>
              <a:gd name="connsiteY0" fmla="*/ 0 h 3463099"/>
              <a:gd name="connsiteX1" fmla="*/ 4609453 w 5760640"/>
              <a:gd name="connsiteY1" fmla="*/ 2311556 h 3463099"/>
              <a:gd name="connsiteX2" fmla="*/ 0 w 5760640"/>
              <a:gd name="connsiteY2" fmla="*/ 3463099 h 3463099"/>
              <a:gd name="connsiteX3" fmla="*/ 0 w 5760640"/>
              <a:gd name="connsiteY3" fmla="*/ 518 h 3463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60640" h="3463099">
                <a:moveTo>
                  <a:pt x="5760640" y="0"/>
                </a:moveTo>
                <a:lnTo>
                  <a:pt x="4609453" y="2311556"/>
                </a:lnTo>
                <a:lnTo>
                  <a:pt x="0" y="3463099"/>
                </a:lnTo>
                <a:lnTo>
                  <a:pt x="0" y="518"/>
                </a:lnTo>
                <a:close/>
              </a:path>
            </a:pathLst>
          </a:custGeom>
          <a:solidFill>
            <a:srgbClr val="FFA52F"/>
          </a:solidFill>
        </p:spPr>
        <p:txBody>
          <a:bodyPr wrap="square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695400" y="2564904"/>
            <a:ext cx="2952000" cy="1152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36000" rIns="216000" anchor="t">
            <a:noAutofit/>
          </a:bodyPr>
          <a:lstStyle>
            <a:lvl1pPr algn="l" rtl="0">
              <a:lnSpc>
                <a:spcPct val="90000"/>
              </a:lnSpc>
              <a:defRPr sz="2400"/>
            </a:lvl1pPr>
          </a:lstStyle>
          <a:p>
            <a:r>
              <a:rPr lang="en-US"/>
              <a:t>Insert your long title here in max. three lin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400" y="3717032"/>
            <a:ext cx="2952000" cy="1202385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31" name="Author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400" y="4869160"/>
            <a:ext cx="2952000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 anchor="b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US"/>
              <a:t>First name Last name</a:t>
            </a:r>
            <a:endParaRPr lang="en-US" dirty="0"/>
          </a:p>
        </p:txBody>
      </p:sp>
      <p:sp>
        <p:nvSpPr>
          <p:cNvPr id="34" name="Department, Date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5085160"/>
            <a:ext cx="2952000" cy="720104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US"/>
              <a:t>Department</a:t>
            </a:r>
            <a:br>
              <a:rPr lang="en-US"/>
            </a:br>
            <a:r>
              <a:rPr lang="en-US"/>
              <a:t>DD/MM/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39332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 | Magant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1D342334-F736-22B7-E48C-924F6D546B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43C79060-D921-FC36-FC59-005C2AE8D814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2F007DEF-E3D0-8645-9105-19FF8047F091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C5C6C648-EAA0-252F-A344-E5CBA2EF05B0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A791BB7C-535C-21BC-A1EA-6D718CC11CF9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D19F7A3F-2ED1-A9C2-8EB4-9EBC8913F4BC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B7AF0310-5BD9-7763-76B7-AEB202E4704C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E4DA6996-B0CA-004A-3B4E-7D26EF15047A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A86032B7-DCFA-D33B-D179-5A478717EF21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A0823B1F-2563-DB47-2039-6524B94FF136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8BF9B7C1-A69C-9B1F-7320-E59EBD72DAB1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201087D6-4BF2-9B60-337B-60B350F37E1C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8F2A3B6-0CF8-7279-275A-AD4BAF54CEAD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58AF4ECF-291B-680E-EF00-7864ECE0CCCA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92365156-1DE3-C8A4-1497-3F78E5CC75B7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0" name="Rechteck 79">
              <a:extLst>
                <a:ext uri="{FF2B5EF4-FFF2-40B4-BE49-F238E27FC236}">
                  <a16:creationId xmlns:a16="http://schemas.microsoft.com/office/drawing/2014/main" id="{5E7E5902-87DA-79A1-69A2-884A67FBF184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30821C97-F5C9-6255-5B09-4E89645C0C3B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17305D37-4205-988D-F4C3-964B91B4182E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EB8822E7-AB1E-8A4B-56CB-042F005B931C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36741CF7-B994-BFCB-DCD6-F2BF8598EAD2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61748F4B-3461-122E-48C2-D8E7B8B82C06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678C1F2F-167E-3637-E435-5C664B5A1454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7" name="Rechteck 86">
              <a:extLst>
                <a:ext uri="{FF2B5EF4-FFF2-40B4-BE49-F238E27FC236}">
                  <a16:creationId xmlns:a16="http://schemas.microsoft.com/office/drawing/2014/main" id="{7B13A9F9-DD23-A321-95EE-B2DA8A8220CA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8" name="Rechteck 87">
              <a:extLst>
                <a:ext uri="{FF2B5EF4-FFF2-40B4-BE49-F238E27FC236}">
                  <a16:creationId xmlns:a16="http://schemas.microsoft.com/office/drawing/2014/main" id="{FD8425B4-1418-EFBC-0DA4-DE05B76EC9CF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9" name="Rechteck 88">
              <a:extLst>
                <a:ext uri="{FF2B5EF4-FFF2-40B4-BE49-F238E27FC236}">
                  <a16:creationId xmlns:a16="http://schemas.microsoft.com/office/drawing/2014/main" id="{9940FFA8-5FB2-0C03-96C1-794E3BF6CB61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5" name="Rechteck 94">
              <a:extLst>
                <a:ext uri="{FF2B5EF4-FFF2-40B4-BE49-F238E27FC236}">
                  <a16:creationId xmlns:a16="http://schemas.microsoft.com/office/drawing/2014/main" id="{9B3DC47F-EEDA-C44D-9A82-AF9B44E6DD0F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ABD9BF5F-4EFD-042E-D66A-3EA947FA4E9F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68A6A23-7056-1A39-8CD5-4BB31F4D81E7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30F0FB85-9A1F-0CD4-39A7-BD87681DC803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F4DBB41B-F061-9E47-B4C2-A9B6AC43E0E4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545965-B087-EBA3-D206-DB871AF59282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18" name="Rechteck 117">
              <a:extLst>
                <a:ext uri="{FF2B5EF4-FFF2-40B4-BE49-F238E27FC236}">
                  <a16:creationId xmlns:a16="http://schemas.microsoft.com/office/drawing/2014/main" id="{42667A56-0FD9-1B30-C4DA-16D72E65CABF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19" name="Rechteck 118">
              <a:extLst>
                <a:ext uri="{FF2B5EF4-FFF2-40B4-BE49-F238E27FC236}">
                  <a16:creationId xmlns:a16="http://schemas.microsoft.com/office/drawing/2014/main" id="{423035A7-EC5A-1A2E-DB86-17A1B99F85A6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20" name="Rechteck 119">
              <a:extLst>
                <a:ext uri="{FF2B5EF4-FFF2-40B4-BE49-F238E27FC236}">
                  <a16:creationId xmlns:a16="http://schemas.microsoft.com/office/drawing/2014/main" id="{80750342-596B-E435-518C-F2D7D64AA5B4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21" name="Rechteck 120">
              <a:extLst>
                <a:ext uri="{FF2B5EF4-FFF2-40B4-BE49-F238E27FC236}">
                  <a16:creationId xmlns:a16="http://schemas.microsoft.com/office/drawing/2014/main" id="{BE83A8F1-EC0B-AC76-B6C1-E2DD1D2A7294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22" name="Rechteck 121">
              <a:extLst>
                <a:ext uri="{FF2B5EF4-FFF2-40B4-BE49-F238E27FC236}">
                  <a16:creationId xmlns:a16="http://schemas.microsoft.com/office/drawing/2014/main" id="{F14282F9-196F-89EC-8387-BA15F1E8C1C9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23" name="Rechteck 122">
              <a:extLst>
                <a:ext uri="{FF2B5EF4-FFF2-40B4-BE49-F238E27FC236}">
                  <a16:creationId xmlns:a16="http://schemas.microsoft.com/office/drawing/2014/main" id="{825DDEC1-5430-DB87-C496-4D5D3430EFC6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1" name="Rechteck 140">
              <a:extLst>
                <a:ext uri="{FF2B5EF4-FFF2-40B4-BE49-F238E27FC236}">
                  <a16:creationId xmlns:a16="http://schemas.microsoft.com/office/drawing/2014/main" id="{0266DCD7-E281-1277-EA4C-1339AD4AF615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AAA92518-A0E9-FDB9-A5DA-6FE6AE073F3B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3" name="Rechteck 142">
              <a:extLst>
                <a:ext uri="{FF2B5EF4-FFF2-40B4-BE49-F238E27FC236}">
                  <a16:creationId xmlns:a16="http://schemas.microsoft.com/office/drawing/2014/main" id="{089FD3F1-B2FB-9692-B364-786485C3CD31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4" name="Rechteck 143">
              <a:extLst>
                <a:ext uri="{FF2B5EF4-FFF2-40B4-BE49-F238E27FC236}">
                  <a16:creationId xmlns:a16="http://schemas.microsoft.com/office/drawing/2014/main" id="{D2EBCE75-1ED4-2055-EEC3-B164B24CD011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5" name="Rechteck 144">
              <a:extLst>
                <a:ext uri="{FF2B5EF4-FFF2-40B4-BE49-F238E27FC236}">
                  <a16:creationId xmlns:a16="http://schemas.microsoft.com/office/drawing/2014/main" id="{DD08EF2E-6D27-77F4-81DB-72A5264EC7BA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6" name="Rechteck 145">
              <a:extLst>
                <a:ext uri="{FF2B5EF4-FFF2-40B4-BE49-F238E27FC236}">
                  <a16:creationId xmlns:a16="http://schemas.microsoft.com/office/drawing/2014/main" id="{CB5FF4D6-C5E3-2D76-6C04-F0C00236CDED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4" name="Rechteck 163">
              <a:extLst>
                <a:ext uri="{FF2B5EF4-FFF2-40B4-BE49-F238E27FC236}">
                  <a16:creationId xmlns:a16="http://schemas.microsoft.com/office/drawing/2014/main" id="{559EFB4D-1BFE-D562-83B4-340CECC27885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5" name="Rechteck 164">
              <a:extLst>
                <a:ext uri="{FF2B5EF4-FFF2-40B4-BE49-F238E27FC236}">
                  <a16:creationId xmlns:a16="http://schemas.microsoft.com/office/drawing/2014/main" id="{84EED6EA-FD49-2F16-049C-89B387382766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6" name="Rechteck 165">
              <a:extLst>
                <a:ext uri="{FF2B5EF4-FFF2-40B4-BE49-F238E27FC236}">
                  <a16:creationId xmlns:a16="http://schemas.microsoft.com/office/drawing/2014/main" id="{31E46700-4643-6A98-B86D-1FE9A7FF2E0E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7" name="Rechteck 166">
              <a:extLst>
                <a:ext uri="{FF2B5EF4-FFF2-40B4-BE49-F238E27FC236}">
                  <a16:creationId xmlns:a16="http://schemas.microsoft.com/office/drawing/2014/main" id="{FE02C1DA-F522-F362-2A1D-6E52EFE78CEA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8" name="Rechteck 167">
              <a:extLst>
                <a:ext uri="{FF2B5EF4-FFF2-40B4-BE49-F238E27FC236}">
                  <a16:creationId xmlns:a16="http://schemas.microsoft.com/office/drawing/2014/main" id="{012DCEAA-E7E7-F4FF-C974-3767E2A00443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9" name="Rechteck 168">
              <a:extLst>
                <a:ext uri="{FF2B5EF4-FFF2-40B4-BE49-F238E27FC236}">
                  <a16:creationId xmlns:a16="http://schemas.microsoft.com/office/drawing/2014/main" id="{CE38D69F-EDDB-6341-2F38-64B02BDB3D3B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87" name="Rechteck 186">
              <a:extLst>
                <a:ext uri="{FF2B5EF4-FFF2-40B4-BE49-F238E27FC236}">
                  <a16:creationId xmlns:a16="http://schemas.microsoft.com/office/drawing/2014/main" id="{1708436F-4BEB-6A8E-D710-0D7C1C27AA49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88" name="Rechteck 187">
              <a:extLst>
                <a:ext uri="{FF2B5EF4-FFF2-40B4-BE49-F238E27FC236}">
                  <a16:creationId xmlns:a16="http://schemas.microsoft.com/office/drawing/2014/main" id="{570FB296-FCB6-6EBE-68B8-E98DD1C06A3E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89" name="Rechteck 188">
              <a:extLst>
                <a:ext uri="{FF2B5EF4-FFF2-40B4-BE49-F238E27FC236}">
                  <a16:creationId xmlns:a16="http://schemas.microsoft.com/office/drawing/2014/main" id="{C1BE9A72-96BB-A4C0-FA6C-D8D85E5F09E6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0" name="Rechteck 189">
              <a:extLst>
                <a:ext uri="{FF2B5EF4-FFF2-40B4-BE49-F238E27FC236}">
                  <a16:creationId xmlns:a16="http://schemas.microsoft.com/office/drawing/2014/main" id="{F894CE26-81D7-5526-8C23-E6186AC0AA6B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9ED37474-448A-0010-4858-C21FDE0CE1C2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23349D52-0E48-BD27-29D3-AA8C888F1911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59559C85-2DE9-FA8D-4487-EFE3C463FB66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1AA3A59D-321B-C274-C2CE-A7B5755BAD6E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20B9E210-822F-C3AF-96BF-ECBB46370B0D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0BB3190C-3DBC-989E-B84E-01567268522C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F9B5D99C-568A-822F-42D2-0AF0A0054C9D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D2808FB3-65D2-A288-62D9-EA98FB64A0D0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361B9BA4-256C-101C-B79F-C2BEBC7EFA48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CFA11A9D-1913-E554-4719-D22109E0B249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3" name="Rechteck 282">
              <a:extLst>
                <a:ext uri="{FF2B5EF4-FFF2-40B4-BE49-F238E27FC236}">
                  <a16:creationId xmlns:a16="http://schemas.microsoft.com/office/drawing/2014/main" id="{B536C046-AA86-12FE-11DD-E714C5949568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2B55976F-1FD1-0D5D-AD26-1B48911AE99D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73D42353-98B8-AC06-809E-98983691F665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88BF9793-FB71-09C5-B649-4CF77F978BAC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BAE4B7A0-9CCC-143E-4AC5-CCCDF8EAF08E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7B8F3AAC-9297-A9DF-B1C4-6C7D726019F1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0CA2E9A9-142D-DA0C-7ED6-DD8CFD9CF9D0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AABB9AAD-B48C-E551-9A3D-615794958629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5C921E0D-BE12-AFC5-B531-6AAA5C4A3EDD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13227629-E49A-313B-F4F7-55A1055E75EC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C7B27336-FA94-8E26-C7A9-22331EA5235D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5E6D575D-4C1E-ABBD-0AA6-9B0819515D57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114DA0A6-6EAA-1C72-9588-59650DEC1A6B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4003197B-7CCD-B214-DEBC-76E430C5D360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C333D8EE-E162-3C0E-CDCE-7B8BBBD13A19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277F46AF-922B-CEEA-D35C-E9E45DAEC953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DF007B27-B6F7-4426-2717-9C8F03BD31D9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DC7D7E68-E8ED-7A4A-0A66-E4C3273A87B8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E5401704-A1E0-B0F8-4B6A-616CD4B6360F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0A36E7A4-AF0F-5851-BF7B-F8617322CF13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33D46C8F-6918-730B-08E8-BFE12AD08EDF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3A450ED7-5A32-97C0-9846-7B78AED3C402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8DAFF91F-710C-FC77-9AB2-3FDA34E69B21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E78FB73A-4680-DA8D-B81D-3489C37B1238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9C34D4B1-6FA8-3510-53F5-2BEF12B5D700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E84D4837-9D83-D9F9-559F-2DABC45864B2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794AFCE8-10E1-3CA4-F8D6-FFBC02123C43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C70C1943-E0E6-B950-7DC4-3E797BC7C381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B8D9E0A4-0F19-8BEA-D625-193FBF6AD960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04E3B58A-6D3A-D68F-A485-E89CC97D207C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8D3F7299-30B5-0810-3B25-2A1CE8245C64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9BB52A26-4B5E-0221-3BF9-5ADBC54C7BC4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E8E709EC-5606-6BE7-C4CC-022ACB6BD324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74602A96-6FC2-A9F1-9390-CAD80C5CD83B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BCFD6519-7B66-7CFF-CB85-18E3A4F63C90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C431DED9-6D51-3524-63D2-CA07F225113A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9D0B0057-32FC-D6DE-17D3-AEFEA0074F1A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2C1AA290-9199-1A52-12B5-174F6D0FAF1F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4BA83343-EB8C-A134-2851-512D94A7D797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F730E6F8-881E-2ED3-6C7C-E96C179633EC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AC2149BF-4718-125A-6924-5286FF2FFB1B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94B48DF0-29A1-D4A8-43ED-2A9743F4589F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8F3A814F-9FC6-E64E-A4CF-75B5D41ABE9C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DAF484BB-F931-1F3F-E77F-ED27232CC62D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61D59D1B-1B99-7294-6F05-4ECE48268FEA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B28449A4-D0AA-0C5D-3A1C-1EDE4C040C69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9B492897-D6A2-CC13-8F81-9ED8743E50F6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7FEA081A-0BF4-878D-369E-57AEC81C48EF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9F7CF485-D0D9-AA7C-E199-E1D2C16A57A4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C28B7252-B6C3-22C0-241C-C654404B8A72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6D0B8772-D9C9-5DF7-F277-C118B4EBD4CA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40C8959F-AF9D-D6D2-BE10-75A0DFFBF148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F91CED41-E334-9D18-C6C7-3544422DC222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48A804AA-162D-231D-F1A7-1658D651677A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FA133D41-5489-81DF-02C3-463D76AFD6D4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4E309EA2-20D1-5AFF-4AE2-797072892E6A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B59BD6CE-87EE-F68F-9347-A45A543A57E7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A5194CED-3AFB-66D0-2323-86926FAB873F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7142EC13-E2C9-C832-77DF-0BC3995F6955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41FF16DD-45A7-BAA2-9856-4B0330886804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D0C99DE7-93F1-7785-8C3E-0D077A82A22C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460E0C86-14C5-AA0C-A1D6-9DC2F4CC15F9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3D68DC9D-13A0-6B31-0873-361F5ACD16F5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E0A88ED3-3B0E-DC21-1647-952AC1228B1E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ACB4D24B-8B0B-8C4E-1BA4-6FF42D36F680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27C2B19A-8506-15D9-9BBA-26A2F04AC7E1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213CEAD1-A2F7-248D-B065-827927D5967B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4D440765-8416-3FE5-4CBF-EFE2679EC70B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D4285498-C3C5-BF11-FE14-95B6E506A173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E943FF97-E6E3-2044-05B7-D75522BB6A73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DA809EDB-5F55-C581-8B69-68A61C679055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00E24337-9495-4B90-5D5F-A124A0371264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3D2C37C1-2D84-E947-2BAD-2089F06AF55C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93A67DDE-D97D-E7DA-8885-6385C47BFAC2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F57DE1DF-66CA-9B5B-12CE-6E4A81188C68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1AA4ED0E-38E5-25CD-B63C-CADD57FA2228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02C80602-F60F-AA39-1BF4-AC21C90E3158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142A7E55-7C56-7DFF-7A15-4452C2700A58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0EBEFDD9-57CE-CBBC-244E-90FAE37142F8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A8B0AFF4-6BC2-346F-B08B-C35205BE6317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EF14783D-4DB1-A8D6-882A-2F6B40C12DF2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4DB52321-9804-EA61-5F84-C1A91B157B67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842BCAD7-1B1B-3167-D38B-90AF68DF3284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5C202404-53A5-9BA3-F365-24DC399FCD7C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BC219BE6-BD2F-D9EA-576D-5DCA1A4A8AFA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210E0B10-68C0-CADA-346B-C59CB06E3AF5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8BB92AFC-CE5E-A7E2-9B7D-2DE222226728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FFABF5F5-DEEA-5641-F68A-83739BF0AB40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62E9C9E1-41BD-2F1A-598E-68942BF2C45C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E09D411B-9086-DD67-BFCF-0D7C22F1B7EE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492A0EF9-C216-003A-DCE8-60CC2AAF69B4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BC15DB4A-3CD1-2BE6-F6F3-BCBCE8A7F763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C81D8B12-97EF-A626-51EB-07676C7F9BD4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846BBB2C-90E6-5DEE-9A15-431284CECDBE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A83514F6-F7DF-E83C-C1A3-F2F7DF4F09B7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6E58DC7D-CBA7-A8C7-B9F2-F2D43E4549B6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E8630789-4A1A-ED5B-25CB-A1CE172E80B6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9E034873-AB2C-F727-3323-E11ABA7445A3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452C72BB-6FAD-33C3-2A61-3A62176D3FF1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25C7216B-957E-5A8F-1CE3-DA25910DFD93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F83ADF01-9AB8-4F32-0071-024DE7425B64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BB6B0701-639C-B2D6-2A02-9EE8A71DB344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A88009CB-C3C6-D650-C5F8-09D7412F7AB0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F6722E80-068A-9782-5591-3C236C0C6360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DF3FC8E5-7475-9BA8-1BD1-68E721227105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99DBCD01-0404-6271-A468-1519165EA76B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38BC4591-B643-1DBB-4E79-BA70BC2ABD68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0" name="Rechteck 389">
              <a:extLst>
                <a:ext uri="{FF2B5EF4-FFF2-40B4-BE49-F238E27FC236}">
                  <a16:creationId xmlns:a16="http://schemas.microsoft.com/office/drawing/2014/main" id="{C2FED524-D748-F406-E2D7-537DD4E83076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1" name="Rechteck 390">
              <a:extLst>
                <a:ext uri="{FF2B5EF4-FFF2-40B4-BE49-F238E27FC236}">
                  <a16:creationId xmlns:a16="http://schemas.microsoft.com/office/drawing/2014/main" id="{28205692-7911-C25A-9DF9-AC2EA0DF10A7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2" name="Rechteck 391">
              <a:extLst>
                <a:ext uri="{FF2B5EF4-FFF2-40B4-BE49-F238E27FC236}">
                  <a16:creationId xmlns:a16="http://schemas.microsoft.com/office/drawing/2014/main" id="{BA845082-75D6-4E71-0B8B-927888DFF871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3" name="Rechteck 392">
              <a:extLst>
                <a:ext uri="{FF2B5EF4-FFF2-40B4-BE49-F238E27FC236}">
                  <a16:creationId xmlns:a16="http://schemas.microsoft.com/office/drawing/2014/main" id="{1BA245DF-6D89-11A1-4228-C07EB4D5D412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4" name="Rechteck 393">
              <a:extLst>
                <a:ext uri="{FF2B5EF4-FFF2-40B4-BE49-F238E27FC236}">
                  <a16:creationId xmlns:a16="http://schemas.microsoft.com/office/drawing/2014/main" id="{EA52EDEF-A709-A019-D59C-235C21672609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5" name="Rechteck 394">
              <a:extLst>
                <a:ext uri="{FF2B5EF4-FFF2-40B4-BE49-F238E27FC236}">
                  <a16:creationId xmlns:a16="http://schemas.microsoft.com/office/drawing/2014/main" id="{B0E66173-2EA2-9686-130E-F523C543DDD7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6" name="Rechteck 395">
              <a:extLst>
                <a:ext uri="{FF2B5EF4-FFF2-40B4-BE49-F238E27FC236}">
                  <a16:creationId xmlns:a16="http://schemas.microsoft.com/office/drawing/2014/main" id="{66B2D418-4A79-1E85-D2EF-E39CB2002723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7" name="Rechteck 396">
              <a:extLst>
                <a:ext uri="{FF2B5EF4-FFF2-40B4-BE49-F238E27FC236}">
                  <a16:creationId xmlns:a16="http://schemas.microsoft.com/office/drawing/2014/main" id="{8B4B111E-D316-7D6B-D05E-DDE62D25F0C7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F53760BE-4A3E-2BE2-DC55-CBA236A2100D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A82C2ADF-49AB-8F98-7F76-8A0756E827D7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A90E9606-C312-6A21-57F9-04DB5085E31D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AD60058D-CBC9-5B18-7B72-88AA71AE4DAD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E85DA91C-D4AF-B789-E91E-8C261EC31555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3" name="Rechteck 402">
              <a:extLst>
                <a:ext uri="{FF2B5EF4-FFF2-40B4-BE49-F238E27FC236}">
                  <a16:creationId xmlns:a16="http://schemas.microsoft.com/office/drawing/2014/main" id="{FA4577CD-8CEE-A51C-4EBA-5BA974B78F31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31604413-19C6-80E9-1A67-220B4322FF51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5" name="Rechteck 404">
              <a:extLst>
                <a:ext uri="{FF2B5EF4-FFF2-40B4-BE49-F238E27FC236}">
                  <a16:creationId xmlns:a16="http://schemas.microsoft.com/office/drawing/2014/main" id="{8129EA09-B255-1B25-263A-B9649B626FE9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6" name="Rechteck 405">
              <a:extLst>
                <a:ext uri="{FF2B5EF4-FFF2-40B4-BE49-F238E27FC236}">
                  <a16:creationId xmlns:a16="http://schemas.microsoft.com/office/drawing/2014/main" id="{E80E9448-9D59-C483-09E9-CB33B99FCB82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76048D34-FD7A-89A7-F2AA-F374FE7EB1EB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25397912-19F2-0D23-1F0E-1B6D71B07AA7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05BB03EE-5965-F5DE-261C-3C2962A107D4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sp>
        <p:nvSpPr>
          <p:cNvPr id="410" name="Freihandform: Form 409">
            <a:extLst>
              <a:ext uri="{FF2B5EF4-FFF2-40B4-BE49-F238E27FC236}">
                <a16:creationId xmlns:a16="http://schemas.microsoft.com/office/drawing/2014/main" id="{39967FCA-6C82-F61D-2250-4D3E161C8D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1424" y="2060848"/>
            <a:ext cx="2892425" cy="2879303"/>
          </a:xfrm>
          <a:custGeom>
            <a:avLst/>
            <a:gdLst>
              <a:gd name="connsiteX0" fmla="*/ 0 w 2892425"/>
              <a:gd name="connsiteY0" fmla="*/ 0 h 2879303"/>
              <a:gd name="connsiteX1" fmla="*/ 2892425 w 2892425"/>
              <a:gd name="connsiteY1" fmla="*/ 0 h 2879303"/>
              <a:gd name="connsiteX2" fmla="*/ 2307742 w 2892425"/>
              <a:gd name="connsiteY2" fmla="*/ 2298575 h 2879303"/>
              <a:gd name="connsiteX3" fmla="*/ 0 w 2892425"/>
              <a:gd name="connsiteY3" fmla="*/ 2879303 h 2879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92425" h="2879303">
                <a:moveTo>
                  <a:pt x="0" y="0"/>
                </a:moveTo>
                <a:lnTo>
                  <a:pt x="2892425" y="0"/>
                </a:lnTo>
                <a:lnTo>
                  <a:pt x="2307742" y="2298575"/>
                </a:lnTo>
                <a:lnTo>
                  <a:pt x="0" y="2879303"/>
                </a:lnTo>
                <a:close/>
              </a:path>
            </a:pathLst>
          </a:custGeom>
          <a:solidFill>
            <a:schemeClr val="bg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en-GB" sz="1600" err="1"/>
          </a:p>
        </p:txBody>
      </p:sp>
      <p:sp>
        <p:nvSpPr>
          <p:cNvPr id="272" name="Number">
            <a:extLst>
              <a:ext uri="{FF2B5EF4-FFF2-40B4-BE49-F238E27FC236}">
                <a16:creationId xmlns:a16="http://schemas.microsoft.com/office/drawing/2014/main" id="{D5CB6551-380D-4369-9F74-701786508BD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11424" y="2060849"/>
            <a:ext cx="2880320" cy="2880320"/>
          </a:xfrm>
          <a:custGeom>
            <a:avLst/>
            <a:gdLst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517775 w 3022600"/>
              <a:gd name="connsiteY2" fmla="*/ 2520950 h 3024187"/>
              <a:gd name="connsiteX3" fmla="*/ 0 w 3022600"/>
              <a:gd name="connsiteY3" fmla="*/ 3024187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315365 w 3022600"/>
              <a:gd name="connsiteY2" fmla="*/ 2398440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417820 w 3022600"/>
              <a:gd name="connsiteY2" fmla="*/ 2420942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2600" h="3024187">
                <a:moveTo>
                  <a:pt x="0" y="0"/>
                </a:moveTo>
                <a:lnTo>
                  <a:pt x="3022600" y="0"/>
                </a:lnTo>
                <a:lnTo>
                  <a:pt x="2417820" y="2420942"/>
                </a:lnTo>
                <a:lnTo>
                  <a:pt x="0" y="3024187"/>
                </a:lnTo>
                <a:lnTo>
                  <a:pt x="0" y="0"/>
                </a:lnTo>
                <a:close/>
              </a:path>
            </a:pathLst>
          </a:custGeom>
          <a:solidFill>
            <a:srgbClr val="D2335F"/>
          </a:solidFill>
          <a:ln w="127">
            <a:solidFill>
              <a:srgbClr val="D2335F">
                <a:alpha val="0"/>
              </a:srgbClr>
            </a:solidFill>
          </a:ln>
        </p:spPr>
        <p:txBody>
          <a:bodyPr wrap="square" lIns="21600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9pPr>
          </a:lstStyle>
          <a:p>
            <a:r>
              <a:rPr lang="en-GB"/>
              <a:t>00</a:t>
            </a:r>
          </a:p>
        </p:txBody>
      </p:sp>
      <p:sp>
        <p:nvSpPr>
          <p:cNvPr id="2" name="Title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4727849" y="1989184"/>
            <a:ext cx="5040000" cy="1799856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tIns="36000" rIns="216000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Divider slide | Insert your headline in maximal three lines her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46297C-A90E-4725-9584-F26D2B59D3D8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4727848" y="3717033"/>
            <a:ext cx="5040000" cy="936104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271" name="Source">
            <a:extLst>
              <a:ext uri="{FF2B5EF4-FFF2-40B4-BE49-F238E27FC236}">
                <a16:creationId xmlns:a16="http://schemas.microsoft.com/office/drawing/2014/main" id="{52A2314A-6E57-4640-8D3E-9FB2DE55FD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87488" y="6525000"/>
            <a:ext cx="9144512" cy="144000"/>
          </a:xfrm>
        </p:spPr>
        <p:txBody>
          <a:bodyPr anchor="b"/>
          <a:lstStyle>
            <a:lvl1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2pPr>
            <a:lvl3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3pPr>
            <a:lvl4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6pPr>
            <a:lvl7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7pPr>
            <a:lvl8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8pPr>
            <a:lvl9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/>
              <a:t>Source, Footnot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0C5952B-D33D-99BB-9484-336BE50E50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D0FE4F94-C43E-4B83-9F65-2E70FA1F3F8F}" type="datetime1">
              <a:rPr lang="en-GB" smtClean="0"/>
              <a:t>12/02/2026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4B65E20-68D6-4970-D9A8-046F10EEB4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F921B4-2C35-2739-550B-662CA2AA73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97335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with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FC6C3C3-4966-3F02-FA22-C978AA4C13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8203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C6C3C3-4966-3F02-FA22-C978AA4C13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Picture">
            <a:extLst>
              <a:ext uri="{FF2B5EF4-FFF2-40B4-BE49-F238E27FC236}">
                <a16:creationId xmlns:a16="http://schemas.microsoft.com/office/drawing/2014/main" id="{4A4DB585-6D1E-7B61-ADF1-62BBDEF4151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0" y="0"/>
            <a:ext cx="10704512" cy="6858000"/>
          </a:xfrm>
          <a:custGeom>
            <a:avLst/>
            <a:gdLst>
              <a:gd name="connsiteX0" fmla="*/ 0 w 10632504"/>
              <a:gd name="connsiteY0" fmla="*/ 0 h 6858000"/>
              <a:gd name="connsiteX1" fmla="*/ 10632504 w 10632504"/>
              <a:gd name="connsiteY1" fmla="*/ 0 h 6858000"/>
              <a:gd name="connsiteX2" fmla="*/ 10632504 w 10632504"/>
              <a:gd name="connsiteY2" fmla="*/ 6858000 h 6858000"/>
              <a:gd name="connsiteX3" fmla="*/ 0 w 1063250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632504" h="6858000">
                <a:moveTo>
                  <a:pt x="0" y="0"/>
                </a:moveTo>
                <a:lnTo>
                  <a:pt x="10632504" y="0"/>
                </a:lnTo>
                <a:lnTo>
                  <a:pt x="1063250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6D9DC"/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8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2" name="Content">
            <a:extLst>
              <a:ext uri="{FF2B5EF4-FFF2-40B4-BE49-F238E27FC236}">
                <a16:creationId xmlns:a16="http://schemas.microsoft.com/office/drawing/2014/main" id="{93536E9D-E5E2-4B0C-91F6-B80985E0540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11424" y="1484784"/>
            <a:ext cx="3455789" cy="2305961"/>
          </a:xfrm>
          <a:solidFill>
            <a:schemeClr val="bg1"/>
          </a:solidFill>
        </p:spPr>
        <p:txBody>
          <a:bodyPr wrap="square" lIns="216000" tIns="216000" rIns="216000" bIns="216000">
            <a:sp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  <a:endParaRPr lang="en-US" dirty="0"/>
          </a:p>
        </p:txBody>
      </p:sp>
      <p:sp>
        <p:nvSpPr>
          <p:cNvPr id="5" name="Shape">
            <a:extLst>
              <a:ext uri="{FF2B5EF4-FFF2-40B4-BE49-F238E27FC236}">
                <a16:creationId xmlns:a16="http://schemas.microsoft.com/office/drawing/2014/main" id="{3F86E13A-084F-ED45-B21A-6735204194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0848528" y="0"/>
            <a:ext cx="216024" cy="13414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en-US" sz="160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78EB467-3819-CE01-9D54-B8D7B7DF1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4C1F6D1-6F23-F489-09BB-6E7DCE86A7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BB33AB8-ED32-DEC4-5F38-F02D6AB1AE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11350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 with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5253ED1-D3D2-A494-343A-7B8A85047B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4830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253ED1-D3D2-A494-343A-7B8A85047B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6" name="Picture">
            <a:extLst>
              <a:ext uri="{FF2B5EF4-FFF2-40B4-BE49-F238E27FC236}">
                <a16:creationId xmlns:a16="http://schemas.microsoft.com/office/drawing/2014/main" id="{7F971BB4-CECE-4C6B-9C8F-D4F40265C4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6D9DC"/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E2E39C7-465E-9D21-AFDA-CEF2A8645C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09754" y="2059254"/>
            <a:ext cx="2881991" cy="2953923"/>
          </a:xfrm>
          <a:custGeom>
            <a:avLst/>
            <a:gdLst>
              <a:gd name="connsiteX0" fmla="*/ 0 w 2881991"/>
              <a:gd name="connsiteY0" fmla="*/ 0 h 2953923"/>
              <a:gd name="connsiteX1" fmla="*/ 2881991 w 2881991"/>
              <a:gd name="connsiteY1" fmla="*/ 0 h 2953923"/>
              <a:gd name="connsiteX2" fmla="*/ 2400650 w 2881991"/>
              <a:gd name="connsiteY2" fmla="*/ 2462378 h 2953923"/>
              <a:gd name="connsiteX3" fmla="*/ 0 w 2881991"/>
              <a:gd name="connsiteY3" fmla="*/ 2953923 h 2953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81991" h="2953923">
                <a:moveTo>
                  <a:pt x="0" y="0"/>
                </a:moveTo>
                <a:lnTo>
                  <a:pt x="2881991" y="0"/>
                </a:lnTo>
                <a:lnTo>
                  <a:pt x="2400650" y="2462378"/>
                </a:lnTo>
                <a:lnTo>
                  <a:pt x="0" y="2953923"/>
                </a:lnTo>
                <a:close/>
              </a:path>
            </a:pathLst>
          </a:custGeom>
          <a:solidFill>
            <a:schemeClr val="tx1"/>
          </a:solidFill>
          <a:ln w="127">
            <a:solidFill>
              <a:schemeClr val="tx1"/>
            </a:solidFill>
          </a:ln>
        </p:spPr>
        <p:txBody>
          <a:bodyPr wrap="square" lIns="288000" tIns="216000" rIns="216000">
            <a:noAutofit/>
          </a:bodyPr>
          <a:lstStyle>
            <a:lvl1pPr marL="0" indent="0" rtl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[Thank You]</a:t>
            </a:r>
            <a:endParaRPr lang="en-US" dirty="0"/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EFDF75BA-555D-4338-B380-D9FEBC0FA6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0128000" y="333000"/>
            <a:ext cx="1357200" cy="576000"/>
          </a:xfr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27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 rtl="0">
              <a:spcBef>
                <a:spcPts val="0"/>
              </a:spcBef>
              <a:buNone/>
              <a:defRPr sz="100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10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0">
                <a:latin typeface="+mn-lt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 sz="1000" b="0"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0"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0"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0"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0">
                <a:latin typeface="+mn-lt"/>
              </a:defRPr>
            </a:lvl9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277" name="Subtitle 2">
            <a:extLst>
              <a:ext uri="{FF2B5EF4-FFF2-40B4-BE49-F238E27FC236}">
                <a16:creationId xmlns:a16="http://schemas.microsoft.com/office/drawing/2014/main" id="{ACF2BA01-68EA-4B41-8EA0-32D3161DE7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911424" y="3789040"/>
            <a:ext cx="2448272" cy="575960"/>
          </a:xfrm>
          <a:prstGeom prst="rect">
            <a:avLst/>
          </a:prstGeom>
          <a:noFill/>
          <a:ln w="0">
            <a:noFill/>
          </a:ln>
        </p:spPr>
        <p:txBody>
          <a:bodyPr lIns="288000" r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9pPr>
          </a:lstStyle>
          <a:p>
            <a:r>
              <a:rPr lang="en-US"/>
              <a:t>gfk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94847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B8DA518-3786-AB8B-0027-967AB60572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383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8DA518-3786-AB8B-0027-967AB60572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F98D61-E26E-644F-9C2C-DFBD31B6CC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761142-4A68-ED47-8444-40F12F84B2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03EF4E2-7A7A-0548-85F1-5479B7C9E1B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F7929F-4D80-0F4F-EFFB-21D9B3A081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8558" y="579495"/>
            <a:ext cx="11582400" cy="436542"/>
          </a:xfrm>
        </p:spPr>
        <p:txBody>
          <a:bodyPr/>
          <a:lstStyle>
            <a:lvl1pPr marL="0" indent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Insert your subtitle in Arial 16pt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C3AEC9DB-EF68-1F30-2273-B2160550D6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8558" y="5985327"/>
            <a:ext cx="11582399" cy="365125"/>
          </a:xfrm>
        </p:spPr>
        <p:txBody>
          <a:bodyPr anchor="b" anchorCtr="0"/>
          <a:lstStyle>
            <a:lvl1pPr marL="0" indent="0" rtl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rgbClr val="B3B3B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Source, footnot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30F50A8-F4AB-8F41-DE7A-B921DA46B4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558" y="178971"/>
            <a:ext cx="11582400" cy="397352"/>
          </a:xfrm>
          <a:prstGeom prst="rect">
            <a:avLst/>
          </a:prstGeom>
        </p:spPr>
        <p:txBody>
          <a:bodyPr vert="horz" anchor="t" anchorCtr="0"/>
          <a:lstStyle>
            <a:lvl1pPr rtl="0">
              <a:defRPr sz="2000"/>
            </a:lvl1pPr>
          </a:lstStyle>
          <a:p>
            <a:r>
              <a:rPr lang="en-US" dirty="0"/>
              <a:t>Insert your slide title in Arial bold 20pt</a:t>
            </a:r>
          </a:p>
        </p:txBody>
      </p:sp>
    </p:spTree>
    <p:extLst>
      <p:ext uri="{BB962C8B-B14F-4D97-AF65-F5344CB8AC3E}">
        <p14:creationId xmlns:p14="http://schemas.microsoft.com/office/powerpoint/2010/main" val="2373049323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57D77798-BC7D-A938-0E5B-A74A0352B5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578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D77798-BC7D-A938-0E5B-A74A0352B5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8FBBB33B-6585-FAE2-064D-97CE130492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36BF6A55-3BD5-3BAD-F62B-F168224C5B09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C09ED312-0B60-BE98-FA91-3E295B2FE1E3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736CB7F7-3C97-AB31-2F8F-ABD83BB4C675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61E7F848-4761-3B86-69CA-69352ECB890C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2C537B7B-FF5B-34F9-BC72-03A86B2C4E63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39663796-B505-354C-5387-682B97C9271A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E09A7279-CAF8-7EA6-BCFD-E15B67A72BD2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FE0C5BFE-4FCD-02E4-B864-11D7F686A66A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BF16B231-651A-E0B4-A5E4-75232E5FF5A8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0CD6A4A1-395D-3870-FD75-59847C902E75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80A7D57B-4901-3108-5C74-3F0D9986BF2B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FC4E1CD6-7841-8D67-B6AF-9C9AB9FF5A06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4BA6673A-9309-DF39-41CA-2CCFEA80BB36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E8D2F87E-FE95-DB4F-1978-4B2769FE7566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09368267-C5D5-89C2-B2FB-B46D8F151004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00654DB6-1E34-D913-4A4B-B64B22AE1F17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ABC0B822-0A38-CDF1-04B6-BBC64D761743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F6EAFB8F-389B-4CB6-8B35-CEE4368B09E7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DD5B488B-004A-20ED-F2BA-71B78CBAD9BD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9AAD940D-38DE-8D86-B1AA-2F0B26F2EE69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54567C84-8A77-64AE-8E13-9DB07B5941BB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CC54F7F9-7A48-C9EA-6B1F-3659BA75F5CB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599C368D-63E5-67FF-1FF1-A8DC64217424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09AAC4B1-E516-D59D-1FC6-61B7DAD158A9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69BAA6E8-DFED-74AA-995D-5D7CD6525BA3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DA3A0ED2-73AF-F302-EC89-C77B793ADAEF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86B74D44-2618-7CDF-077C-08EE7974B7C7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E6D68A55-1911-2FFE-1741-F6C2BECBEE9C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EFF96A0D-A71E-B3EC-0E2B-C743B3F8EBCE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26D587A9-5344-FCBF-7A24-56F02F654D17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DAB46B1F-2C96-CCD6-D38B-9266CBA59DEE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E54ADAD6-7CE0-188E-A8DD-044FDC59040E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FF2250B8-BFAB-97F4-9E1F-1CF438C1E1DF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52F815ED-ED1E-43BC-C7C0-88EB783FE6BE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935CACFD-0721-A62C-E57C-0BF533900FDB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2F429752-501E-84B9-1DF7-69E60F762AC1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5F4F797B-4549-1525-2897-FE6210983AA9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B0C125F6-1E44-400F-8E0B-6D90B33BF80D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F462A747-A99B-5CDB-7C69-1C02D6090675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155745AE-FEC1-19AF-C6E5-3719C4F68069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65370FCB-8593-8719-6F48-8898E05C9989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F1006097-8FEE-454F-DDA0-CDF88CEC7127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1239D329-6CCE-5B86-743B-BF32749737C1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BA673C69-4B93-9097-A28F-4DD1C1809AEC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0EAD2096-BA0B-F20D-474D-C87ABAD76167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2FFC4C80-1C0E-E5C8-70B8-5C9880CD4A00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5AEFB2F9-9AAC-743B-7044-FAF1EB4D2E41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FDB6BEB7-A32E-71A8-71EB-7ED89420155D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071794A4-3D02-4353-FC25-FF5F6CC29422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0983620F-829C-328B-29AE-697A4B7AB5C5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A2109864-60CA-31C8-570C-F7F91609BFDA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4F6701DB-BF4A-B9F1-7804-72F63F958E9F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13DCC529-E443-EC98-D24D-241AFAA48751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06AA5AFB-B00F-0A73-F405-8F2C1FB89FA4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6" name="Rechteck 565">
              <a:extLst>
                <a:ext uri="{FF2B5EF4-FFF2-40B4-BE49-F238E27FC236}">
                  <a16:creationId xmlns:a16="http://schemas.microsoft.com/office/drawing/2014/main" id="{CC952EF0-0D55-4996-8A14-2560311C38D6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7" name="Rechteck 566">
              <a:extLst>
                <a:ext uri="{FF2B5EF4-FFF2-40B4-BE49-F238E27FC236}">
                  <a16:creationId xmlns:a16="http://schemas.microsoft.com/office/drawing/2014/main" id="{B2BBF22C-DBBE-F28C-2373-53DC71408548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8" name="Rechteck 567">
              <a:extLst>
                <a:ext uri="{FF2B5EF4-FFF2-40B4-BE49-F238E27FC236}">
                  <a16:creationId xmlns:a16="http://schemas.microsoft.com/office/drawing/2014/main" id="{4ACC169F-DD90-E682-099E-01D1C25ABE5B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9" name="Rechteck 568">
              <a:extLst>
                <a:ext uri="{FF2B5EF4-FFF2-40B4-BE49-F238E27FC236}">
                  <a16:creationId xmlns:a16="http://schemas.microsoft.com/office/drawing/2014/main" id="{25CA4AC8-9072-5F25-EA21-67EC0DEFC620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0" name="Rechteck 569">
              <a:extLst>
                <a:ext uri="{FF2B5EF4-FFF2-40B4-BE49-F238E27FC236}">
                  <a16:creationId xmlns:a16="http://schemas.microsoft.com/office/drawing/2014/main" id="{2B6701C5-D8DF-6615-917A-C69F592E69AD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1" name="Rechteck 570">
              <a:extLst>
                <a:ext uri="{FF2B5EF4-FFF2-40B4-BE49-F238E27FC236}">
                  <a16:creationId xmlns:a16="http://schemas.microsoft.com/office/drawing/2014/main" id="{0B63B0EA-2080-48F4-5ED3-401B98AE73FB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2" name="Rechteck 571">
              <a:extLst>
                <a:ext uri="{FF2B5EF4-FFF2-40B4-BE49-F238E27FC236}">
                  <a16:creationId xmlns:a16="http://schemas.microsoft.com/office/drawing/2014/main" id="{9ADBCCAC-804C-CFBD-634F-40EFE2859277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3" name="Rechteck 572">
              <a:extLst>
                <a:ext uri="{FF2B5EF4-FFF2-40B4-BE49-F238E27FC236}">
                  <a16:creationId xmlns:a16="http://schemas.microsoft.com/office/drawing/2014/main" id="{AC8C76E0-A934-9164-83FF-5EE93FB9A3D4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4" name="Rechteck 573">
              <a:extLst>
                <a:ext uri="{FF2B5EF4-FFF2-40B4-BE49-F238E27FC236}">
                  <a16:creationId xmlns:a16="http://schemas.microsoft.com/office/drawing/2014/main" id="{1FC77160-DD19-4BBB-A930-6DEBF027709E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5" name="Rechteck 574">
              <a:extLst>
                <a:ext uri="{FF2B5EF4-FFF2-40B4-BE49-F238E27FC236}">
                  <a16:creationId xmlns:a16="http://schemas.microsoft.com/office/drawing/2014/main" id="{42664047-1D09-CBC9-2836-B1C9FC7DAC36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C325285A-4A43-0588-A780-73D1EA156003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6" name="Rechteck 575">
              <a:extLst>
                <a:ext uri="{FF2B5EF4-FFF2-40B4-BE49-F238E27FC236}">
                  <a16:creationId xmlns:a16="http://schemas.microsoft.com/office/drawing/2014/main" id="{591530D5-BD59-1DD4-A9FC-45B47E6E224D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7" name="Rechteck 576">
              <a:extLst>
                <a:ext uri="{FF2B5EF4-FFF2-40B4-BE49-F238E27FC236}">
                  <a16:creationId xmlns:a16="http://schemas.microsoft.com/office/drawing/2014/main" id="{3C96929E-07D6-1552-7C54-2433D1D0EA70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8" name="Rechteck 577">
              <a:extLst>
                <a:ext uri="{FF2B5EF4-FFF2-40B4-BE49-F238E27FC236}">
                  <a16:creationId xmlns:a16="http://schemas.microsoft.com/office/drawing/2014/main" id="{DFE78269-DC17-9E55-920A-FE63C619FAB8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9" name="Rechteck 578">
              <a:extLst>
                <a:ext uri="{FF2B5EF4-FFF2-40B4-BE49-F238E27FC236}">
                  <a16:creationId xmlns:a16="http://schemas.microsoft.com/office/drawing/2014/main" id="{5F4BA442-4D72-B94E-C215-6D72679ED324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0" name="Rechteck 579">
              <a:extLst>
                <a:ext uri="{FF2B5EF4-FFF2-40B4-BE49-F238E27FC236}">
                  <a16:creationId xmlns:a16="http://schemas.microsoft.com/office/drawing/2014/main" id="{FDBE1A38-DBD1-5FB2-583C-C0A5F493C274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1" name="Rechteck 580">
              <a:extLst>
                <a:ext uri="{FF2B5EF4-FFF2-40B4-BE49-F238E27FC236}">
                  <a16:creationId xmlns:a16="http://schemas.microsoft.com/office/drawing/2014/main" id="{73141433-1C44-A56E-2B5E-A641CC05E156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2" name="Rechteck 581">
              <a:extLst>
                <a:ext uri="{FF2B5EF4-FFF2-40B4-BE49-F238E27FC236}">
                  <a16:creationId xmlns:a16="http://schemas.microsoft.com/office/drawing/2014/main" id="{8E232573-56BF-F086-9EC4-E53583B4CE7A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3" name="Rechteck 582">
              <a:extLst>
                <a:ext uri="{FF2B5EF4-FFF2-40B4-BE49-F238E27FC236}">
                  <a16:creationId xmlns:a16="http://schemas.microsoft.com/office/drawing/2014/main" id="{C068962A-F23B-0270-A85A-ECF326C8CD4D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4" name="Rechteck 583">
              <a:extLst>
                <a:ext uri="{FF2B5EF4-FFF2-40B4-BE49-F238E27FC236}">
                  <a16:creationId xmlns:a16="http://schemas.microsoft.com/office/drawing/2014/main" id="{B7F5B1AA-8408-2193-6EC8-B049975FE797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5" name="Rechteck 584">
              <a:extLst>
                <a:ext uri="{FF2B5EF4-FFF2-40B4-BE49-F238E27FC236}">
                  <a16:creationId xmlns:a16="http://schemas.microsoft.com/office/drawing/2014/main" id="{989A6A74-E17F-CCCA-8331-9F1BA808E611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6" name="Rechteck 585">
              <a:extLst>
                <a:ext uri="{FF2B5EF4-FFF2-40B4-BE49-F238E27FC236}">
                  <a16:creationId xmlns:a16="http://schemas.microsoft.com/office/drawing/2014/main" id="{F7CEC2D1-236C-276B-973B-7F166811D79F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7" name="Rechteck 586">
              <a:extLst>
                <a:ext uri="{FF2B5EF4-FFF2-40B4-BE49-F238E27FC236}">
                  <a16:creationId xmlns:a16="http://schemas.microsoft.com/office/drawing/2014/main" id="{7C3870A6-D12A-9E19-EEB1-8FF04FA4C958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8" name="Rechteck 587">
              <a:extLst>
                <a:ext uri="{FF2B5EF4-FFF2-40B4-BE49-F238E27FC236}">
                  <a16:creationId xmlns:a16="http://schemas.microsoft.com/office/drawing/2014/main" id="{FD78DAEB-6D26-EA95-CAD4-995DBD2801CC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9" name="Rechteck 588">
              <a:extLst>
                <a:ext uri="{FF2B5EF4-FFF2-40B4-BE49-F238E27FC236}">
                  <a16:creationId xmlns:a16="http://schemas.microsoft.com/office/drawing/2014/main" id="{AD1E8AB3-5C30-1D9D-CD13-8EBE226D8B1B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0" name="Rechteck 589">
              <a:extLst>
                <a:ext uri="{FF2B5EF4-FFF2-40B4-BE49-F238E27FC236}">
                  <a16:creationId xmlns:a16="http://schemas.microsoft.com/office/drawing/2014/main" id="{3B192971-9BFB-E1EE-25BC-5BE1479E2333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1" name="Rechteck 590">
              <a:extLst>
                <a:ext uri="{FF2B5EF4-FFF2-40B4-BE49-F238E27FC236}">
                  <a16:creationId xmlns:a16="http://schemas.microsoft.com/office/drawing/2014/main" id="{3C35AAFE-6965-F17E-50C7-A2076D2795B1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2" name="Rechteck 591">
              <a:extLst>
                <a:ext uri="{FF2B5EF4-FFF2-40B4-BE49-F238E27FC236}">
                  <a16:creationId xmlns:a16="http://schemas.microsoft.com/office/drawing/2014/main" id="{CD51E520-C1E3-7827-5A22-6E8CCF0A093D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3" name="Rechteck 592">
              <a:extLst>
                <a:ext uri="{FF2B5EF4-FFF2-40B4-BE49-F238E27FC236}">
                  <a16:creationId xmlns:a16="http://schemas.microsoft.com/office/drawing/2014/main" id="{1449EF8D-740F-872B-4437-AA541FDF0486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4" name="Rechteck 593">
              <a:extLst>
                <a:ext uri="{FF2B5EF4-FFF2-40B4-BE49-F238E27FC236}">
                  <a16:creationId xmlns:a16="http://schemas.microsoft.com/office/drawing/2014/main" id="{0AC708EB-9E0A-6B93-C769-DB51EC7A46AD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5" name="Rechteck 594">
              <a:extLst>
                <a:ext uri="{FF2B5EF4-FFF2-40B4-BE49-F238E27FC236}">
                  <a16:creationId xmlns:a16="http://schemas.microsoft.com/office/drawing/2014/main" id="{193A1362-ED45-683D-0C49-D6EBF594CA01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6" name="Rechteck 595">
              <a:extLst>
                <a:ext uri="{FF2B5EF4-FFF2-40B4-BE49-F238E27FC236}">
                  <a16:creationId xmlns:a16="http://schemas.microsoft.com/office/drawing/2014/main" id="{0A86A77E-1844-80C5-F036-83A22CCBC388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7" name="Rechteck 596">
              <a:extLst>
                <a:ext uri="{FF2B5EF4-FFF2-40B4-BE49-F238E27FC236}">
                  <a16:creationId xmlns:a16="http://schemas.microsoft.com/office/drawing/2014/main" id="{49BC1D84-AA32-0010-59BA-4C42D93FBA0F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8" name="Rechteck 597">
              <a:extLst>
                <a:ext uri="{FF2B5EF4-FFF2-40B4-BE49-F238E27FC236}">
                  <a16:creationId xmlns:a16="http://schemas.microsoft.com/office/drawing/2014/main" id="{49B43ADE-E38D-1A82-12BE-89F4390AC0C8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9" name="Rechteck 598">
              <a:extLst>
                <a:ext uri="{FF2B5EF4-FFF2-40B4-BE49-F238E27FC236}">
                  <a16:creationId xmlns:a16="http://schemas.microsoft.com/office/drawing/2014/main" id="{FDA4D91A-85B5-768D-83E9-69E25D31D089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0" name="Rechteck 599">
              <a:extLst>
                <a:ext uri="{FF2B5EF4-FFF2-40B4-BE49-F238E27FC236}">
                  <a16:creationId xmlns:a16="http://schemas.microsoft.com/office/drawing/2014/main" id="{C51C72A0-E7C6-F671-ADD4-20583627CACD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1" name="Rechteck 600">
              <a:extLst>
                <a:ext uri="{FF2B5EF4-FFF2-40B4-BE49-F238E27FC236}">
                  <a16:creationId xmlns:a16="http://schemas.microsoft.com/office/drawing/2014/main" id="{D594714D-CBD2-8445-864E-C471FED3754D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2" name="Rechteck 601">
              <a:extLst>
                <a:ext uri="{FF2B5EF4-FFF2-40B4-BE49-F238E27FC236}">
                  <a16:creationId xmlns:a16="http://schemas.microsoft.com/office/drawing/2014/main" id="{FE1E5866-0B8B-CCEF-E438-95F4D82041B9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3" name="Rechteck 602">
              <a:extLst>
                <a:ext uri="{FF2B5EF4-FFF2-40B4-BE49-F238E27FC236}">
                  <a16:creationId xmlns:a16="http://schemas.microsoft.com/office/drawing/2014/main" id="{B0EAA043-C18A-CDE1-452F-D0C972DB1A0C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4" name="Rechteck 603">
              <a:extLst>
                <a:ext uri="{FF2B5EF4-FFF2-40B4-BE49-F238E27FC236}">
                  <a16:creationId xmlns:a16="http://schemas.microsoft.com/office/drawing/2014/main" id="{9F2D0CAB-8113-87AB-064D-F0EC730E7FE2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5" name="Rechteck 604">
              <a:extLst>
                <a:ext uri="{FF2B5EF4-FFF2-40B4-BE49-F238E27FC236}">
                  <a16:creationId xmlns:a16="http://schemas.microsoft.com/office/drawing/2014/main" id="{A2A4C44E-4705-9AD4-CCFE-204DDBF02E31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6" name="Rechteck 605">
              <a:extLst>
                <a:ext uri="{FF2B5EF4-FFF2-40B4-BE49-F238E27FC236}">
                  <a16:creationId xmlns:a16="http://schemas.microsoft.com/office/drawing/2014/main" id="{120D8D76-E9F6-0A24-4672-1910B27AEB4E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7" name="Rechteck 606">
              <a:extLst>
                <a:ext uri="{FF2B5EF4-FFF2-40B4-BE49-F238E27FC236}">
                  <a16:creationId xmlns:a16="http://schemas.microsoft.com/office/drawing/2014/main" id="{9B634680-4D80-BB6F-77C0-5EA43C867861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8" name="Rechteck 607">
              <a:extLst>
                <a:ext uri="{FF2B5EF4-FFF2-40B4-BE49-F238E27FC236}">
                  <a16:creationId xmlns:a16="http://schemas.microsoft.com/office/drawing/2014/main" id="{6DBF59CD-1CA4-549C-237A-9BAECC14CC38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9" name="Rechteck 608">
              <a:extLst>
                <a:ext uri="{FF2B5EF4-FFF2-40B4-BE49-F238E27FC236}">
                  <a16:creationId xmlns:a16="http://schemas.microsoft.com/office/drawing/2014/main" id="{9F89218A-3CA1-DA30-B211-673CF4321E8E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0" name="Rechteck 609">
              <a:extLst>
                <a:ext uri="{FF2B5EF4-FFF2-40B4-BE49-F238E27FC236}">
                  <a16:creationId xmlns:a16="http://schemas.microsoft.com/office/drawing/2014/main" id="{8C0BA302-1D18-EB93-4CA2-A5B282B7E15F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1" name="Rechteck 610">
              <a:extLst>
                <a:ext uri="{FF2B5EF4-FFF2-40B4-BE49-F238E27FC236}">
                  <a16:creationId xmlns:a16="http://schemas.microsoft.com/office/drawing/2014/main" id="{AA6CEE05-CA28-745F-9132-3E15213BA549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2" name="Rechteck 611">
              <a:extLst>
                <a:ext uri="{FF2B5EF4-FFF2-40B4-BE49-F238E27FC236}">
                  <a16:creationId xmlns:a16="http://schemas.microsoft.com/office/drawing/2014/main" id="{98F987FD-BCCA-CD84-B3D4-D7D42878F94A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3" name="Rechteck 612">
              <a:extLst>
                <a:ext uri="{FF2B5EF4-FFF2-40B4-BE49-F238E27FC236}">
                  <a16:creationId xmlns:a16="http://schemas.microsoft.com/office/drawing/2014/main" id="{17C2A655-22F8-C602-AB73-3B437C9DE8DE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4" name="Rechteck 613">
              <a:extLst>
                <a:ext uri="{FF2B5EF4-FFF2-40B4-BE49-F238E27FC236}">
                  <a16:creationId xmlns:a16="http://schemas.microsoft.com/office/drawing/2014/main" id="{45CCB308-2185-116A-E8AC-D61A37F75854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5" name="Rechteck 614">
              <a:extLst>
                <a:ext uri="{FF2B5EF4-FFF2-40B4-BE49-F238E27FC236}">
                  <a16:creationId xmlns:a16="http://schemas.microsoft.com/office/drawing/2014/main" id="{3F40CA7A-EB9B-522C-8F1A-7898A5EABD1D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6" name="Rechteck 615">
              <a:extLst>
                <a:ext uri="{FF2B5EF4-FFF2-40B4-BE49-F238E27FC236}">
                  <a16:creationId xmlns:a16="http://schemas.microsoft.com/office/drawing/2014/main" id="{5DB2683B-8073-4205-532C-08E03CE984D1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7" name="Rechteck 616">
              <a:extLst>
                <a:ext uri="{FF2B5EF4-FFF2-40B4-BE49-F238E27FC236}">
                  <a16:creationId xmlns:a16="http://schemas.microsoft.com/office/drawing/2014/main" id="{918D4441-54C6-CA25-A174-C6177AA62B6F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8" name="Rechteck 617">
              <a:extLst>
                <a:ext uri="{FF2B5EF4-FFF2-40B4-BE49-F238E27FC236}">
                  <a16:creationId xmlns:a16="http://schemas.microsoft.com/office/drawing/2014/main" id="{DDFED611-9775-3080-8FFD-DC69B78F0459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9" name="Rechteck 618">
              <a:extLst>
                <a:ext uri="{FF2B5EF4-FFF2-40B4-BE49-F238E27FC236}">
                  <a16:creationId xmlns:a16="http://schemas.microsoft.com/office/drawing/2014/main" id="{0908D111-789C-63C0-257D-60B1F8A5C57B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0" name="Rechteck 619">
              <a:extLst>
                <a:ext uri="{FF2B5EF4-FFF2-40B4-BE49-F238E27FC236}">
                  <a16:creationId xmlns:a16="http://schemas.microsoft.com/office/drawing/2014/main" id="{7152C89C-0F92-3A7F-CE15-1474471975CF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1" name="Rechteck 620">
              <a:extLst>
                <a:ext uri="{FF2B5EF4-FFF2-40B4-BE49-F238E27FC236}">
                  <a16:creationId xmlns:a16="http://schemas.microsoft.com/office/drawing/2014/main" id="{DB43277B-738A-8197-7C90-606747FDBB8A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2" name="Rechteck 621">
              <a:extLst>
                <a:ext uri="{FF2B5EF4-FFF2-40B4-BE49-F238E27FC236}">
                  <a16:creationId xmlns:a16="http://schemas.microsoft.com/office/drawing/2014/main" id="{C76BB76A-BC3D-AAD3-3842-2D7CC623B467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3" name="Rechteck 622">
              <a:extLst>
                <a:ext uri="{FF2B5EF4-FFF2-40B4-BE49-F238E27FC236}">
                  <a16:creationId xmlns:a16="http://schemas.microsoft.com/office/drawing/2014/main" id="{49AE8ECD-15A2-7FB5-CE14-B552C25C8EF3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4" name="Rechteck 623">
              <a:extLst>
                <a:ext uri="{FF2B5EF4-FFF2-40B4-BE49-F238E27FC236}">
                  <a16:creationId xmlns:a16="http://schemas.microsoft.com/office/drawing/2014/main" id="{C1B67F4A-0021-D6CB-2E0E-BB23D1E97BB5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5" name="Rechteck 624">
              <a:extLst>
                <a:ext uri="{FF2B5EF4-FFF2-40B4-BE49-F238E27FC236}">
                  <a16:creationId xmlns:a16="http://schemas.microsoft.com/office/drawing/2014/main" id="{382997CB-3C19-6837-049B-AD98366D51B6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6" name="Rechteck 625">
              <a:extLst>
                <a:ext uri="{FF2B5EF4-FFF2-40B4-BE49-F238E27FC236}">
                  <a16:creationId xmlns:a16="http://schemas.microsoft.com/office/drawing/2014/main" id="{41CF154A-595D-EFBC-EAEF-8EE322A7E0B1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7" name="Rechteck 626">
              <a:extLst>
                <a:ext uri="{FF2B5EF4-FFF2-40B4-BE49-F238E27FC236}">
                  <a16:creationId xmlns:a16="http://schemas.microsoft.com/office/drawing/2014/main" id="{EFEE3DBA-0F94-F3A8-9A71-B7C5D4881738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8" name="Rechteck 627">
              <a:extLst>
                <a:ext uri="{FF2B5EF4-FFF2-40B4-BE49-F238E27FC236}">
                  <a16:creationId xmlns:a16="http://schemas.microsoft.com/office/drawing/2014/main" id="{C2B0DDFF-F2D0-504B-5E16-19E449416407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9" name="Rechteck 628">
              <a:extLst>
                <a:ext uri="{FF2B5EF4-FFF2-40B4-BE49-F238E27FC236}">
                  <a16:creationId xmlns:a16="http://schemas.microsoft.com/office/drawing/2014/main" id="{5F87EDA2-F363-D564-CDFE-AF5697BF9C33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0" name="Rechteck 629">
              <a:extLst>
                <a:ext uri="{FF2B5EF4-FFF2-40B4-BE49-F238E27FC236}">
                  <a16:creationId xmlns:a16="http://schemas.microsoft.com/office/drawing/2014/main" id="{6107EFEA-8F80-EE2E-0BAC-5F69612808C2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1" name="Rechteck 630">
              <a:extLst>
                <a:ext uri="{FF2B5EF4-FFF2-40B4-BE49-F238E27FC236}">
                  <a16:creationId xmlns:a16="http://schemas.microsoft.com/office/drawing/2014/main" id="{2B045BDB-4CDA-AD76-D784-609A0C703119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2" name="Rechteck 631">
              <a:extLst>
                <a:ext uri="{FF2B5EF4-FFF2-40B4-BE49-F238E27FC236}">
                  <a16:creationId xmlns:a16="http://schemas.microsoft.com/office/drawing/2014/main" id="{A47B215E-2258-EBC6-5263-80911C99E84F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3" name="Rechteck 632">
              <a:extLst>
                <a:ext uri="{FF2B5EF4-FFF2-40B4-BE49-F238E27FC236}">
                  <a16:creationId xmlns:a16="http://schemas.microsoft.com/office/drawing/2014/main" id="{1AC59DDE-3385-55A6-A1DF-570D199762C1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4" name="Rechteck 633">
              <a:extLst>
                <a:ext uri="{FF2B5EF4-FFF2-40B4-BE49-F238E27FC236}">
                  <a16:creationId xmlns:a16="http://schemas.microsoft.com/office/drawing/2014/main" id="{3B43BCF3-764A-1D68-46F9-DA79642E1B8C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5" name="Rechteck 634">
              <a:extLst>
                <a:ext uri="{FF2B5EF4-FFF2-40B4-BE49-F238E27FC236}">
                  <a16:creationId xmlns:a16="http://schemas.microsoft.com/office/drawing/2014/main" id="{CC9F062D-A141-8117-F030-D66516AEE54A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6" name="Rechteck 635">
              <a:extLst>
                <a:ext uri="{FF2B5EF4-FFF2-40B4-BE49-F238E27FC236}">
                  <a16:creationId xmlns:a16="http://schemas.microsoft.com/office/drawing/2014/main" id="{75ED8E12-611E-C820-8F4D-0CFFB131EC47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7" name="Rechteck 636">
              <a:extLst>
                <a:ext uri="{FF2B5EF4-FFF2-40B4-BE49-F238E27FC236}">
                  <a16:creationId xmlns:a16="http://schemas.microsoft.com/office/drawing/2014/main" id="{A42E6CB2-66A9-FFAB-33B0-878983D5E4D0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8" name="Rechteck 637">
              <a:extLst>
                <a:ext uri="{FF2B5EF4-FFF2-40B4-BE49-F238E27FC236}">
                  <a16:creationId xmlns:a16="http://schemas.microsoft.com/office/drawing/2014/main" id="{40C0733E-3126-A738-9CF3-C522DB20B3AC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9" name="Rechteck 638">
              <a:extLst>
                <a:ext uri="{FF2B5EF4-FFF2-40B4-BE49-F238E27FC236}">
                  <a16:creationId xmlns:a16="http://schemas.microsoft.com/office/drawing/2014/main" id="{F9A44022-FCB2-DE9D-A07A-218094F318FC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40" name="Rechteck 639">
              <a:extLst>
                <a:ext uri="{FF2B5EF4-FFF2-40B4-BE49-F238E27FC236}">
                  <a16:creationId xmlns:a16="http://schemas.microsoft.com/office/drawing/2014/main" id="{03A9FA17-C2C4-FB38-D205-E5FFBFB3B6F1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41" name="Rechteck 640">
              <a:extLst>
                <a:ext uri="{FF2B5EF4-FFF2-40B4-BE49-F238E27FC236}">
                  <a16:creationId xmlns:a16="http://schemas.microsoft.com/office/drawing/2014/main" id="{373E8F35-CCC5-6793-C4E6-C0C6EAFC3779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42" name="Rechteck 641">
              <a:extLst>
                <a:ext uri="{FF2B5EF4-FFF2-40B4-BE49-F238E27FC236}">
                  <a16:creationId xmlns:a16="http://schemas.microsoft.com/office/drawing/2014/main" id="{627F2910-98DB-8B72-F592-35DF43361250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43" name="Rechteck 642">
              <a:extLst>
                <a:ext uri="{FF2B5EF4-FFF2-40B4-BE49-F238E27FC236}">
                  <a16:creationId xmlns:a16="http://schemas.microsoft.com/office/drawing/2014/main" id="{98FE0211-7EB1-551F-6D30-988ABEC44231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44" name="Rechteck 643">
              <a:extLst>
                <a:ext uri="{FF2B5EF4-FFF2-40B4-BE49-F238E27FC236}">
                  <a16:creationId xmlns:a16="http://schemas.microsoft.com/office/drawing/2014/main" id="{92141ABC-3730-70A2-10DB-DD581BCBD282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45" name="Rechteck 644">
              <a:extLst>
                <a:ext uri="{FF2B5EF4-FFF2-40B4-BE49-F238E27FC236}">
                  <a16:creationId xmlns:a16="http://schemas.microsoft.com/office/drawing/2014/main" id="{625219CA-7F8C-8653-9219-C2FFC5F4C744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46" name="Rechteck 645">
              <a:extLst>
                <a:ext uri="{FF2B5EF4-FFF2-40B4-BE49-F238E27FC236}">
                  <a16:creationId xmlns:a16="http://schemas.microsoft.com/office/drawing/2014/main" id="{DEC6B093-1576-5605-B55C-D53369356489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47" name="Rechteck 646">
              <a:extLst>
                <a:ext uri="{FF2B5EF4-FFF2-40B4-BE49-F238E27FC236}">
                  <a16:creationId xmlns:a16="http://schemas.microsoft.com/office/drawing/2014/main" id="{660E1DE0-2D0F-C795-0DB3-DEBF0F3CC1A4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48" name="Rechteck 647">
              <a:extLst>
                <a:ext uri="{FF2B5EF4-FFF2-40B4-BE49-F238E27FC236}">
                  <a16:creationId xmlns:a16="http://schemas.microsoft.com/office/drawing/2014/main" id="{88820D10-6B30-6BB5-D990-E6A7A22E7424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49" name="Rechteck 648">
              <a:extLst>
                <a:ext uri="{FF2B5EF4-FFF2-40B4-BE49-F238E27FC236}">
                  <a16:creationId xmlns:a16="http://schemas.microsoft.com/office/drawing/2014/main" id="{F17B3349-A52C-AC95-7B6E-7EB5E0CB359D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50" name="Rechteck 649">
              <a:extLst>
                <a:ext uri="{FF2B5EF4-FFF2-40B4-BE49-F238E27FC236}">
                  <a16:creationId xmlns:a16="http://schemas.microsoft.com/office/drawing/2014/main" id="{2C6D6567-E0B9-D5F7-72F3-21A5B9366026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51" name="Rechteck 650">
              <a:extLst>
                <a:ext uri="{FF2B5EF4-FFF2-40B4-BE49-F238E27FC236}">
                  <a16:creationId xmlns:a16="http://schemas.microsoft.com/office/drawing/2014/main" id="{080201E2-F34B-F98B-D900-469F6F3A352B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52" name="Rechteck 651">
              <a:extLst>
                <a:ext uri="{FF2B5EF4-FFF2-40B4-BE49-F238E27FC236}">
                  <a16:creationId xmlns:a16="http://schemas.microsoft.com/office/drawing/2014/main" id="{D73ADE2E-17E0-A07E-57BB-7E9AAB627F98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53" name="Rechteck 652">
              <a:extLst>
                <a:ext uri="{FF2B5EF4-FFF2-40B4-BE49-F238E27FC236}">
                  <a16:creationId xmlns:a16="http://schemas.microsoft.com/office/drawing/2014/main" id="{1960204A-F784-6D62-379D-CD15BDAC0181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54" name="Rechteck 653">
              <a:extLst>
                <a:ext uri="{FF2B5EF4-FFF2-40B4-BE49-F238E27FC236}">
                  <a16:creationId xmlns:a16="http://schemas.microsoft.com/office/drawing/2014/main" id="{0C1BAB65-4D95-E254-9492-819D7C55E5D9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55" name="Rechteck 654">
              <a:extLst>
                <a:ext uri="{FF2B5EF4-FFF2-40B4-BE49-F238E27FC236}">
                  <a16:creationId xmlns:a16="http://schemas.microsoft.com/office/drawing/2014/main" id="{66DFD9FC-2725-90F3-33B7-0CB345125819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56" name="Rechteck 655">
              <a:extLst>
                <a:ext uri="{FF2B5EF4-FFF2-40B4-BE49-F238E27FC236}">
                  <a16:creationId xmlns:a16="http://schemas.microsoft.com/office/drawing/2014/main" id="{5558F183-AFB2-09BE-4686-D33C0F8B1EDF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57" name="Rechteck 656">
              <a:extLst>
                <a:ext uri="{FF2B5EF4-FFF2-40B4-BE49-F238E27FC236}">
                  <a16:creationId xmlns:a16="http://schemas.microsoft.com/office/drawing/2014/main" id="{6F60649D-90DE-3AA8-9352-37D3B6F2593D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58" name="Rechteck 657">
              <a:extLst>
                <a:ext uri="{FF2B5EF4-FFF2-40B4-BE49-F238E27FC236}">
                  <a16:creationId xmlns:a16="http://schemas.microsoft.com/office/drawing/2014/main" id="{676C9407-054F-0EC6-F64F-4BEE332DBEB0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59" name="Rechteck 658">
              <a:extLst>
                <a:ext uri="{FF2B5EF4-FFF2-40B4-BE49-F238E27FC236}">
                  <a16:creationId xmlns:a16="http://schemas.microsoft.com/office/drawing/2014/main" id="{0FFFC657-EE5F-FA41-089A-974D7C948A25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60" name="Rechteck 659">
              <a:extLst>
                <a:ext uri="{FF2B5EF4-FFF2-40B4-BE49-F238E27FC236}">
                  <a16:creationId xmlns:a16="http://schemas.microsoft.com/office/drawing/2014/main" id="{5366A9DE-2A9E-ECD4-A65E-A85D0C5C0411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61" name="Rechteck 660">
              <a:extLst>
                <a:ext uri="{FF2B5EF4-FFF2-40B4-BE49-F238E27FC236}">
                  <a16:creationId xmlns:a16="http://schemas.microsoft.com/office/drawing/2014/main" id="{369158DE-2A6F-C8F3-6F4F-4CBEAF28F3A9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62" name="Rechteck 661">
              <a:extLst>
                <a:ext uri="{FF2B5EF4-FFF2-40B4-BE49-F238E27FC236}">
                  <a16:creationId xmlns:a16="http://schemas.microsoft.com/office/drawing/2014/main" id="{206FB08D-D2E6-7D70-76E5-3A13805E1880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63" name="Rechteck 662">
              <a:extLst>
                <a:ext uri="{FF2B5EF4-FFF2-40B4-BE49-F238E27FC236}">
                  <a16:creationId xmlns:a16="http://schemas.microsoft.com/office/drawing/2014/main" id="{E677BD2B-3A20-B582-D865-C36E1A6A4C98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64" name="Rechteck 663">
              <a:extLst>
                <a:ext uri="{FF2B5EF4-FFF2-40B4-BE49-F238E27FC236}">
                  <a16:creationId xmlns:a16="http://schemas.microsoft.com/office/drawing/2014/main" id="{F0F116B9-CE3E-150B-A0C4-35996FBB9C16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65" name="Rechteck 664">
              <a:extLst>
                <a:ext uri="{FF2B5EF4-FFF2-40B4-BE49-F238E27FC236}">
                  <a16:creationId xmlns:a16="http://schemas.microsoft.com/office/drawing/2014/main" id="{D9B4DC3C-842B-27D4-2F30-313450A3CE0B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66" name="Rechteck 665">
              <a:extLst>
                <a:ext uri="{FF2B5EF4-FFF2-40B4-BE49-F238E27FC236}">
                  <a16:creationId xmlns:a16="http://schemas.microsoft.com/office/drawing/2014/main" id="{188833DD-CBB7-A323-6D0E-CD8F4B855BDF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67" name="Rechteck 666">
              <a:extLst>
                <a:ext uri="{FF2B5EF4-FFF2-40B4-BE49-F238E27FC236}">
                  <a16:creationId xmlns:a16="http://schemas.microsoft.com/office/drawing/2014/main" id="{BA052014-FED5-8740-8BC1-5B27317E8252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68" name="Rechteck 667">
              <a:extLst>
                <a:ext uri="{FF2B5EF4-FFF2-40B4-BE49-F238E27FC236}">
                  <a16:creationId xmlns:a16="http://schemas.microsoft.com/office/drawing/2014/main" id="{8BA71664-8C7E-1D76-2684-EA10F2E48A00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69" name="Rechteck 668">
              <a:extLst>
                <a:ext uri="{FF2B5EF4-FFF2-40B4-BE49-F238E27FC236}">
                  <a16:creationId xmlns:a16="http://schemas.microsoft.com/office/drawing/2014/main" id="{FCC61526-67DF-6D8F-2F09-374598D4AB9C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70" name="Rechteck 669">
              <a:extLst>
                <a:ext uri="{FF2B5EF4-FFF2-40B4-BE49-F238E27FC236}">
                  <a16:creationId xmlns:a16="http://schemas.microsoft.com/office/drawing/2014/main" id="{B82291F4-68B8-55E5-4E65-58C8D3A8EEA9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71" name="Rechteck 670">
              <a:extLst>
                <a:ext uri="{FF2B5EF4-FFF2-40B4-BE49-F238E27FC236}">
                  <a16:creationId xmlns:a16="http://schemas.microsoft.com/office/drawing/2014/main" id="{89FE9EEB-1A36-6558-C214-DD4C7C0F3D75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72" name="Rechteck 671">
              <a:extLst>
                <a:ext uri="{FF2B5EF4-FFF2-40B4-BE49-F238E27FC236}">
                  <a16:creationId xmlns:a16="http://schemas.microsoft.com/office/drawing/2014/main" id="{D5CFA71E-7C2A-DA7A-82B1-FF2F2DB14D32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73" name="Rechteck 672">
              <a:extLst>
                <a:ext uri="{FF2B5EF4-FFF2-40B4-BE49-F238E27FC236}">
                  <a16:creationId xmlns:a16="http://schemas.microsoft.com/office/drawing/2014/main" id="{5B9916E5-BAAE-DCAA-9FAF-72C1D3A6B333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74" name="Rechteck 673">
              <a:extLst>
                <a:ext uri="{FF2B5EF4-FFF2-40B4-BE49-F238E27FC236}">
                  <a16:creationId xmlns:a16="http://schemas.microsoft.com/office/drawing/2014/main" id="{6CE79813-DF7A-2E82-037D-D9FA433F0D9D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75" name="Rechteck 674">
              <a:extLst>
                <a:ext uri="{FF2B5EF4-FFF2-40B4-BE49-F238E27FC236}">
                  <a16:creationId xmlns:a16="http://schemas.microsoft.com/office/drawing/2014/main" id="{F2DDE1A0-26AE-D1C6-0E5D-68BE1733A845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76" name="Rechteck 675">
              <a:extLst>
                <a:ext uri="{FF2B5EF4-FFF2-40B4-BE49-F238E27FC236}">
                  <a16:creationId xmlns:a16="http://schemas.microsoft.com/office/drawing/2014/main" id="{7EC8423A-25D0-F86D-4A71-A978EC693569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77" name="Rechteck 676">
              <a:extLst>
                <a:ext uri="{FF2B5EF4-FFF2-40B4-BE49-F238E27FC236}">
                  <a16:creationId xmlns:a16="http://schemas.microsoft.com/office/drawing/2014/main" id="{2C07BC3F-B491-2320-924F-27EB4D8819AF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78" name="Rechteck 677">
              <a:extLst>
                <a:ext uri="{FF2B5EF4-FFF2-40B4-BE49-F238E27FC236}">
                  <a16:creationId xmlns:a16="http://schemas.microsoft.com/office/drawing/2014/main" id="{1128F0B5-DCCC-EBCC-920C-740F61623F11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79" name="Rechteck 678">
              <a:extLst>
                <a:ext uri="{FF2B5EF4-FFF2-40B4-BE49-F238E27FC236}">
                  <a16:creationId xmlns:a16="http://schemas.microsoft.com/office/drawing/2014/main" id="{7A91376A-5FF9-3B9D-472F-7741642A28D2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80" name="Rechteck 679">
              <a:extLst>
                <a:ext uri="{FF2B5EF4-FFF2-40B4-BE49-F238E27FC236}">
                  <a16:creationId xmlns:a16="http://schemas.microsoft.com/office/drawing/2014/main" id="{ED8FD1F3-3051-AF22-7847-1E974FF944F0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81" name="Rechteck 680">
              <a:extLst>
                <a:ext uri="{FF2B5EF4-FFF2-40B4-BE49-F238E27FC236}">
                  <a16:creationId xmlns:a16="http://schemas.microsoft.com/office/drawing/2014/main" id="{60B1F531-9D2E-8232-4A48-A2DDF6B7F54D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82" name="Rechteck 681">
              <a:extLst>
                <a:ext uri="{FF2B5EF4-FFF2-40B4-BE49-F238E27FC236}">
                  <a16:creationId xmlns:a16="http://schemas.microsoft.com/office/drawing/2014/main" id="{4A54998E-71A6-FDAD-7FD8-7CA62E22BB88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83" name="Rechteck 682">
              <a:extLst>
                <a:ext uri="{FF2B5EF4-FFF2-40B4-BE49-F238E27FC236}">
                  <a16:creationId xmlns:a16="http://schemas.microsoft.com/office/drawing/2014/main" id="{A1ADB280-7BAB-1AD0-F7E8-E78C2B5D5544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84" name="Rechteck 683">
              <a:extLst>
                <a:ext uri="{FF2B5EF4-FFF2-40B4-BE49-F238E27FC236}">
                  <a16:creationId xmlns:a16="http://schemas.microsoft.com/office/drawing/2014/main" id="{9A793240-065F-CA20-CA67-49F26789537E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85" name="Rechteck 684">
              <a:extLst>
                <a:ext uri="{FF2B5EF4-FFF2-40B4-BE49-F238E27FC236}">
                  <a16:creationId xmlns:a16="http://schemas.microsoft.com/office/drawing/2014/main" id="{0E9BCC58-BADD-58D9-1E81-F793B072F2F0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86" name="Rechteck 685">
              <a:extLst>
                <a:ext uri="{FF2B5EF4-FFF2-40B4-BE49-F238E27FC236}">
                  <a16:creationId xmlns:a16="http://schemas.microsoft.com/office/drawing/2014/main" id="{9CDCF501-8DDE-1E6F-E2EF-630A16528230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87" name="Rechteck 686">
              <a:extLst>
                <a:ext uri="{FF2B5EF4-FFF2-40B4-BE49-F238E27FC236}">
                  <a16:creationId xmlns:a16="http://schemas.microsoft.com/office/drawing/2014/main" id="{D8C3B820-52E9-4999-EDA5-12B70F1DBFE7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88" name="Rechteck 687">
              <a:extLst>
                <a:ext uri="{FF2B5EF4-FFF2-40B4-BE49-F238E27FC236}">
                  <a16:creationId xmlns:a16="http://schemas.microsoft.com/office/drawing/2014/main" id="{33BB7E94-7D2A-1E28-905A-8838D6DD31B3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89" name="Rechteck 688">
              <a:extLst>
                <a:ext uri="{FF2B5EF4-FFF2-40B4-BE49-F238E27FC236}">
                  <a16:creationId xmlns:a16="http://schemas.microsoft.com/office/drawing/2014/main" id="{B05CFB87-C15D-07DE-0C63-6A2B489B047C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90" name="Rechteck 689">
              <a:extLst>
                <a:ext uri="{FF2B5EF4-FFF2-40B4-BE49-F238E27FC236}">
                  <a16:creationId xmlns:a16="http://schemas.microsoft.com/office/drawing/2014/main" id="{E4F8E2DC-739E-9CA4-1DBF-B27D14A4897C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91" name="Rechteck 690">
              <a:extLst>
                <a:ext uri="{FF2B5EF4-FFF2-40B4-BE49-F238E27FC236}">
                  <a16:creationId xmlns:a16="http://schemas.microsoft.com/office/drawing/2014/main" id="{AB9C804F-01E0-1D8C-5300-8FCA35887A09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92" name="Rechteck 691">
              <a:extLst>
                <a:ext uri="{FF2B5EF4-FFF2-40B4-BE49-F238E27FC236}">
                  <a16:creationId xmlns:a16="http://schemas.microsoft.com/office/drawing/2014/main" id="{33599C89-21CC-C896-894D-B078E90AD55D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93" name="Rechteck 692">
              <a:extLst>
                <a:ext uri="{FF2B5EF4-FFF2-40B4-BE49-F238E27FC236}">
                  <a16:creationId xmlns:a16="http://schemas.microsoft.com/office/drawing/2014/main" id="{29CAFF9A-0BD6-10FB-8F23-8C315C038D50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94" name="Rechteck 693">
              <a:extLst>
                <a:ext uri="{FF2B5EF4-FFF2-40B4-BE49-F238E27FC236}">
                  <a16:creationId xmlns:a16="http://schemas.microsoft.com/office/drawing/2014/main" id="{314D1EBF-0F1A-29A0-A4F6-D70E1113C36A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95" name="Rechteck 694">
              <a:extLst>
                <a:ext uri="{FF2B5EF4-FFF2-40B4-BE49-F238E27FC236}">
                  <a16:creationId xmlns:a16="http://schemas.microsoft.com/office/drawing/2014/main" id="{D3A7D264-7674-062D-3A7D-EB17444B6877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96" name="Rechteck 695">
              <a:extLst>
                <a:ext uri="{FF2B5EF4-FFF2-40B4-BE49-F238E27FC236}">
                  <a16:creationId xmlns:a16="http://schemas.microsoft.com/office/drawing/2014/main" id="{FB94C376-4DD2-20EE-8A39-37CCF0B12915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97" name="Rechteck 696">
              <a:extLst>
                <a:ext uri="{FF2B5EF4-FFF2-40B4-BE49-F238E27FC236}">
                  <a16:creationId xmlns:a16="http://schemas.microsoft.com/office/drawing/2014/main" id="{BDFA7319-8BDA-1022-419D-8524A3FDD1DB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98" name="Rechteck 697">
              <a:extLst>
                <a:ext uri="{FF2B5EF4-FFF2-40B4-BE49-F238E27FC236}">
                  <a16:creationId xmlns:a16="http://schemas.microsoft.com/office/drawing/2014/main" id="{CD99C04E-16BE-6E42-506F-14D97649FA89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99" name="Rechteck 698">
              <a:extLst>
                <a:ext uri="{FF2B5EF4-FFF2-40B4-BE49-F238E27FC236}">
                  <a16:creationId xmlns:a16="http://schemas.microsoft.com/office/drawing/2014/main" id="{9504EB73-CD68-6E66-5B79-9563ACD007E6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pic>
        <p:nvPicPr>
          <p:cNvPr id="700" name="Logo">
            <a:extLst>
              <a:ext uri="{FF2B5EF4-FFF2-40B4-BE49-F238E27FC236}">
                <a16:creationId xmlns:a16="http://schemas.microsoft.com/office/drawing/2014/main" id="{55FA0780-7BCA-4760-B25D-53DDAB66A7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  <p:grpSp>
        <p:nvGrpSpPr>
          <p:cNvPr id="701" name="Gruppieren 700">
            <a:extLst>
              <a:ext uri="{FF2B5EF4-FFF2-40B4-BE49-F238E27FC236}">
                <a16:creationId xmlns:a16="http://schemas.microsoft.com/office/drawing/2014/main" id="{2A9A8989-D8B0-ECA4-3F36-856CA1E51C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1" y="2082829"/>
            <a:ext cx="2448000" cy="0"/>
            <a:chOff x="983432" y="2082829"/>
            <a:chExt cx="2448000" cy="0"/>
          </a:xfrm>
        </p:grpSpPr>
        <p:cxnSp>
          <p:nvCxnSpPr>
            <p:cNvPr id="702" name="Line">
              <a:extLst>
                <a:ext uri="{FF2B5EF4-FFF2-40B4-BE49-F238E27FC236}">
                  <a16:creationId xmlns:a16="http://schemas.microsoft.com/office/drawing/2014/main" id="{392A85EC-665D-4BE3-342D-7FDA894F769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3" name="Line">
              <a:extLst>
                <a:ext uri="{FF2B5EF4-FFF2-40B4-BE49-F238E27FC236}">
                  <a16:creationId xmlns:a16="http://schemas.microsoft.com/office/drawing/2014/main" id="{2FD36843-39C0-53CB-D4FC-1CCFDD70264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04" name="Shape">
            <a:extLst>
              <a:ext uri="{FF2B5EF4-FFF2-40B4-BE49-F238E27FC236}">
                <a16:creationId xmlns:a16="http://schemas.microsoft.com/office/drawing/2014/main" id="{B6335478-96CF-8613-3CC7-51033863F9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0848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705" name="Shape">
            <a:extLst>
              <a:ext uri="{FF2B5EF4-FFF2-40B4-BE49-F238E27FC236}">
                <a16:creationId xmlns:a16="http://schemas.microsoft.com/office/drawing/2014/main" id="{400B66AA-4D19-8619-6DC9-CB17279852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9" y="2061400"/>
            <a:ext cx="5760640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656384" y="2205159"/>
            <a:ext cx="4896000" cy="1368000"/>
          </a:xfrm>
          <a:prstGeom prst="rect">
            <a:avLst/>
          </a:prstGeom>
        </p:spPr>
        <p:txBody>
          <a:bodyPr vert="horz" tIns="54000" anchor="t">
            <a:noAutofit/>
          </a:bodyPr>
          <a:lstStyle>
            <a:lvl1pPr algn="l" rtl="0">
              <a:lnSpc>
                <a:spcPct val="90000"/>
              </a:lnSpc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Insert your long title of presentation here in maximal three lin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56384" y="3789160"/>
            <a:ext cx="4320000" cy="1080000"/>
          </a:xfrm>
          <a:prstGeom prst="rect">
            <a:avLst/>
          </a:prstGeom>
        </p:spPr>
        <p:txBody>
          <a:bodyPr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31" name="Author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400" y="2348992"/>
            <a:ext cx="2520280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US"/>
              <a:t>First name Last name</a:t>
            </a:r>
            <a:endParaRPr lang="en-US" dirty="0"/>
          </a:p>
        </p:txBody>
      </p:sp>
      <p:sp>
        <p:nvSpPr>
          <p:cNvPr id="34" name="Department, Date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2564992"/>
            <a:ext cx="2520280" cy="792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US"/>
              <a:t>Department</a:t>
            </a:r>
            <a:br>
              <a:rPr lang="en-US"/>
            </a:br>
            <a:r>
              <a:rPr lang="en-US"/>
              <a:t>DD/MM/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4838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| Magent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587D28D-4FBA-4B91-CCBE-9DE7B3D7D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6823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87D28D-4FBA-4B91-CCBE-9DE7B3D7DF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60DB273-1443-C87E-6ECB-C46978ECDF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5CC16F00-6528-8EAA-C139-CA052A3E93FA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8D83927C-5315-B180-40F1-83E826D96BF6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10F2E264-B922-54F3-A813-553712FE03D4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95C38408-DC64-7220-A739-6654AEBD5891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21A15D5A-67C0-EAA5-F74F-2AB46222D2B9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C19F6166-606C-A92C-38FE-B1CC09620704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7C52F65A-A572-9991-B81F-0DE90B117D19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4B6A37A7-A6A3-C0D1-0797-3DF25E32A413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E3289997-CC28-D613-1D4E-9BA33F73FF63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877A7EE5-A9E2-D515-E4D9-25205F5ED3DA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5D592E9E-2394-A24E-5D70-F2EFEE992812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5A2B1A9A-45AA-A1F9-E683-6E495F350E44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8CE452AF-394D-3FD9-9C6A-74A1DF70FB00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171535FD-CB5B-A75E-43D2-3786CFC120A2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2A137DBC-EE41-44B9-C656-2E6DA8A9A101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5C2F2854-C55B-F647-345D-BC7FF8383E1D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6D9F972A-3228-6302-0A17-E091612EDEBF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D6CEE0E8-DB1C-3050-6465-29453BF8B44E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97B4FDEE-9C0F-89AA-BB61-DD875FA6B1EC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98A27B12-5736-E271-A511-FE484DA6828B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2CFE2BEE-BD32-C8E8-F0DF-A2E65AFF62E5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4F12498D-D37B-7F68-0DF6-23A507C2A945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F2018278-B82A-7E9C-1E65-46DD654CAA31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FE1C3555-F4B5-3D09-845F-47FC14120CB5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3115BAA0-9EAE-1F36-E76D-F9B0D1857DF0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426857AD-7C23-0164-1519-357B08E33B1A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D97628DA-3EB7-E5C0-8938-B9B75A12EC78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B7F5E1E3-5F50-D61F-45E7-E3985B815FDD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A8F8BFB0-2534-1CD9-D8DA-F3B022DD0515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0F24951A-F64C-F7D4-A160-121956594FC4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7CC8365C-1058-E2D1-DE1B-84E6734F3CF0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74901AE1-E677-37BF-F22D-1C1553CA43E5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2DCE434A-7D89-54A7-B6AE-DB461E19D222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A0F49A47-AAF2-5273-530F-DB04AD68781D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5FA22F4B-AB4C-42B7-1A19-16E31A333529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A5E12442-87D1-E5F7-DC6D-ACBE1E3C51C1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5AE01D16-432C-8009-D125-54A9546A128D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BCCA83D5-C940-3407-D1F7-E4C7C1822D77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C6E9AB5B-4AB2-E1E1-84DD-467C80321B08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F2CB3800-90DE-6DCD-4F35-9C8FBB43F3B0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B9D34772-E347-6CEF-D41A-BA4B2CFFD849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F289CDC1-4682-1B8D-6506-396D42B9BFE1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500CC7FA-9968-F933-AF2B-F94DFFCAB789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F5BDCC74-B674-C5BA-FBED-1CF0D1DDFA24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B567000B-42BC-3A62-2F79-C969CA67CCC0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21BF3CF3-59E2-9EDC-95A5-C5C0E82AF375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E3444C66-C71E-7121-5245-D3F55480D9C5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BECC3122-7C06-A4C5-4AEE-BCB1123A8EC5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916E950D-544F-954A-25FA-965041078355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3F3689A9-ECC6-BEA9-8C56-3F4AE5641B06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1F261E37-6CFD-B379-FE0F-9DE5E6A32507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9DF4F7D4-46C2-3AAC-84AC-B4A2B8BC07E4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62E4D224-C427-594B-3C41-8ADEB1B79C4B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ABC0A353-7B52-65A7-487B-197F4DDF4D66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4" name="Rechteck 563">
              <a:extLst>
                <a:ext uri="{FF2B5EF4-FFF2-40B4-BE49-F238E27FC236}">
                  <a16:creationId xmlns:a16="http://schemas.microsoft.com/office/drawing/2014/main" id="{0B33098C-74AA-6669-1095-93A0692ECA3A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5" name="Rechteck 564">
              <a:extLst>
                <a:ext uri="{FF2B5EF4-FFF2-40B4-BE49-F238E27FC236}">
                  <a16:creationId xmlns:a16="http://schemas.microsoft.com/office/drawing/2014/main" id="{C1C177BE-A912-7646-295F-BC20B542549A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6" name="Rechteck 565">
              <a:extLst>
                <a:ext uri="{FF2B5EF4-FFF2-40B4-BE49-F238E27FC236}">
                  <a16:creationId xmlns:a16="http://schemas.microsoft.com/office/drawing/2014/main" id="{567A6D81-B4B5-307C-6046-83D82779AF0B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7" name="Rechteck 566">
              <a:extLst>
                <a:ext uri="{FF2B5EF4-FFF2-40B4-BE49-F238E27FC236}">
                  <a16:creationId xmlns:a16="http://schemas.microsoft.com/office/drawing/2014/main" id="{E93460D0-1385-899A-997D-A1D9889E536A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8" name="Rechteck 567">
              <a:extLst>
                <a:ext uri="{FF2B5EF4-FFF2-40B4-BE49-F238E27FC236}">
                  <a16:creationId xmlns:a16="http://schemas.microsoft.com/office/drawing/2014/main" id="{3EB096D2-0882-3AEE-3811-89AA83E466D4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9" name="Rechteck 568">
              <a:extLst>
                <a:ext uri="{FF2B5EF4-FFF2-40B4-BE49-F238E27FC236}">
                  <a16:creationId xmlns:a16="http://schemas.microsoft.com/office/drawing/2014/main" id="{868B00AD-CD99-F226-CE6D-45CC97254F45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0" name="Rechteck 569">
              <a:extLst>
                <a:ext uri="{FF2B5EF4-FFF2-40B4-BE49-F238E27FC236}">
                  <a16:creationId xmlns:a16="http://schemas.microsoft.com/office/drawing/2014/main" id="{7ECF9835-7D04-183F-7C02-66AB0C866546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1" name="Rechteck 570">
              <a:extLst>
                <a:ext uri="{FF2B5EF4-FFF2-40B4-BE49-F238E27FC236}">
                  <a16:creationId xmlns:a16="http://schemas.microsoft.com/office/drawing/2014/main" id="{3A291C9A-F4FA-48F1-0017-781A47BCDBC7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2" name="Rechteck 571">
              <a:extLst>
                <a:ext uri="{FF2B5EF4-FFF2-40B4-BE49-F238E27FC236}">
                  <a16:creationId xmlns:a16="http://schemas.microsoft.com/office/drawing/2014/main" id="{D5CF69DC-5684-3702-EDB9-9A099E84303A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3" name="Rechteck 572">
              <a:extLst>
                <a:ext uri="{FF2B5EF4-FFF2-40B4-BE49-F238E27FC236}">
                  <a16:creationId xmlns:a16="http://schemas.microsoft.com/office/drawing/2014/main" id="{4CF986C5-26C5-90C9-8AC8-04FEAF7422D6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4" name="Rechteck 573">
              <a:extLst>
                <a:ext uri="{FF2B5EF4-FFF2-40B4-BE49-F238E27FC236}">
                  <a16:creationId xmlns:a16="http://schemas.microsoft.com/office/drawing/2014/main" id="{995410C9-2FD3-6D9E-0655-421D77D9106F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5" name="Rechteck 574">
              <a:extLst>
                <a:ext uri="{FF2B5EF4-FFF2-40B4-BE49-F238E27FC236}">
                  <a16:creationId xmlns:a16="http://schemas.microsoft.com/office/drawing/2014/main" id="{E3B63BF4-E386-B4D1-11F0-4460A6DBD313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92B5BB44-599E-1820-0874-FD849B4765C3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77C7F63E-06AC-3561-A846-15FAEF98ED4D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B92B0075-8E06-A854-698C-87CC16850743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AEAD1CCF-6F81-9394-F077-DCA9529FA574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3EC03D2B-2E4F-EAC5-28FE-051A7D33BF1C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718FD3E8-734D-A6DE-6358-2631F6D96F61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D81CD1ED-8A80-E07D-CB56-AE8D986CEDEC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183E1B49-E02B-450A-E82D-67A3FF9A4CAF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CD75869B-E82A-FBA0-2A35-7476E7391696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FDD68E21-8B38-7DC3-5E88-CA0921A1174B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E8A84E0C-5F8B-5968-23B9-59BF78A40D3E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225E36F0-B6DB-54C0-FFC5-339A86823B79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454BA5A7-FEE8-B04B-9023-F444D4F41001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28B9FB3F-ECF4-4B48-72F0-3644C5A15E2F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B2D76E5D-379E-C839-4560-B699025FA0D9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CD8105AC-B8E9-E083-251D-4E238A76F7EF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276EF862-32FC-8D39-8FD3-5575FF58B902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00DA3A0D-C9A5-9353-ACC4-F8A04AC64E4D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D0F78C27-1E77-E665-214A-EA6CA2318112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318E87FC-361A-00FD-660A-F2E6E93FF733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5632040A-1966-9778-1382-96CCB69CF9FE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137BB74D-E27C-67FB-89C7-7FF6D4A8009C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2D49A1B5-5AA1-626F-8BC6-D67227B9F176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848E1D30-EAE0-4A75-18A1-C020AD8AD4B7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3008FE3B-D4CD-0C69-499C-F80EA4B4C02A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5F5FCD09-F6C2-F815-06EC-988A7EF99660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2682A351-FD73-4578-B1FF-845E812FBFEC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DCCB3332-62D6-4AF5-C3B8-5EB6F7C407E4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9F18DB17-1AAA-A664-53E7-F547361B2B58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83F0E65E-135B-381D-F36F-FFEF7FD36C95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DBF80D94-82BF-24FB-7304-8DF9971EC833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69B8BAA7-1026-0A56-1BD8-4F4FA1503512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104853B4-4FFC-F133-A77F-2B86250FAA84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000B022B-67F5-5E88-5777-6AD66044BAEB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759D8017-D47B-F1EB-EA4D-35EAD0139CEC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E432E94E-C6F6-E61C-0C73-2144AD046CB5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E4654125-CF94-EC44-4EB4-98B16344447C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652993AA-BE27-C0B4-BC7C-3AE67E380F36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5DF0347C-8352-E63A-C1C6-41324B334F80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35D7F798-2F80-19B5-0995-8C5339152311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8C5A98D1-6CC2-3D2F-3364-682D0145FA5B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BEC11D28-C77B-B87C-CBBC-38C961A1CCB3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1529F4D0-FCC5-DF53-0214-53F8CF784A72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D0FD3094-3DD9-E0F6-97E9-52EA2464D7B0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9437DE43-D8EE-F886-6007-B01200A1BA85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ECD4BBED-6F46-D8C4-F7AE-B85CE499E05D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07A048A6-A01A-DF1E-8CCB-C75A81EB5D30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B1D4612B-91F9-EC08-1C29-2A0C8386E101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8D69A45C-982D-3A9A-DC89-4F575DAC93EB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B2AD10BC-D3BF-C58E-84E5-C9FC52B8692D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5543ADAB-0429-239E-8432-E4C5DAF49BD1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CC92CF27-C0C9-6538-F135-48160A8C9E9D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9BCF10C7-98B2-784B-9AB8-498EB12716BF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7BE98BE7-A067-1FFC-07CC-A4C2A606157C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297682BB-7694-0E7A-CB88-635590A947A6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270330D3-20D6-9991-526A-2CD0AE18E685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A5AD067D-FF85-6BC4-ABA3-A8F5661D2507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9DE3537C-312C-1479-BF39-22CD8630DA1F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6716AFD5-0E30-4769-DAF8-EFB793B2B9D7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DB4CE5DC-2BA1-B4F0-BFA9-647FC8615F0A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64FF3417-C9A5-17E5-E142-DA5B3BDA63A6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03F37F32-D8A4-3B54-9BE6-EEE43F50269A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A3ADFECB-92F7-08F5-5415-93A621ECDD7D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6" name="Rechteck 575">
              <a:extLst>
                <a:ext uri="{FF2B5EF4-FFF2-40B4-BE49-F238E27FC236}">
                  <a16:creationId xmlns:a16="http://schemas.microsoft.com/office/drawing/2014/main" id="{0493EED7-80C2-EE0A-797A-9D80652767C9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7" name="Rechteck 576">
              <a:extLst>
                <a:ext uri="{FF2B5EF4-FFF2-40B4-BE49-F238E27FC236}">
                  <a16:creationId xmlns:a16="http://schemas.microsoft.com/office/drawing/2014/main" id="{270E6328-6583-3642-10F4-9037F4EB9C26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8" name="Rechteck 577">
              <a:extLst>
                <a:ext uri="{FF2B5EF4-FFF2-40B4-BE49-F238E27FC236}">
                  <a16:creationId xmlns:a16="http://schemas.microsoft.com/office/drawing/2014/main" id="{09E9DD56-C302-2224-7D8E-A79E9DCD4A88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9" name="Rechteck 578">
              <a:extLst>
                <a:ext uri="{FF2B5EF4-FFF2-40B4-BE49-F238E27FC236}">
                  <a16:creationId xmlns:a16="http://schemas.microsoft.com/office/drawing/2014/main" id="{5FC60BBA-84AB-EF8A-EF6D-CA5B3C3C03F0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0" name="Rechteck 579">
              <a:extLst>
                <a:ext uri="{FF2B5EF4-FFF2-40B4-BE49-F238E27FC236}">
                  <a16:creationId xmlns:a16="http://schemas.microsoft.com/office/drawing/2014/main" id="{547276C4-F5E7-D492-A942-B82E0660CAC6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1" name="Rechteck 580">
              <a:extLst>
                <a:ext uri="{FF2B5EF4-FFF2-40B4-BE49-F238E27FC236}">
                  <a16:creationId xmlns:a16="http://schemas.microsoft.com/office/drawing/2014/main" id="{8FF1897C-739B-54FE-5A5C-CE0E884014E4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2" name="Rechteck 581">
              <a:extLst>
                <a:ext uri="{FF2B5EF4-FFF2-40B4-BE49-F238E27FC236}">
                  <a16:creationId xmlns:a16="http://schemas.microsoft.com/office/drawing/2014/main" id="{0748AC45-011A-CC4E-06DC-7CB21A7518D3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3" name="Rechteck 582">
              <a:extLst>
                <a:ext uri="{FF2B5EF4-FFF2-40B4-BE49-F238E27FC236}">
                  <a16:creationId xmlns:a16="http://schemas.microsoft.com/office/drawing/2014/main" id="{9A5E4375-45D2-54EB-7093-2E51B2C0C1E4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4" name="Rechteck 583">
              <a:extLst>
                <a:ext uri="{FF2B5EF4-FFF2-40B4-BE49-F238E27FC236}">
                  <a16:creationId xmlns:a16="http://schemas.microsoft.com/office/drawing/2014/main" id="{AC7F1EC2-76AA-82A3-8C9F-9EAF309BE341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5" name="Rechteck 584">
              <a:extLst>
                <a:ext uri="{FF2B5EF4-FFF2-40B4-BE49-F238E27FC236}">
                  <a16:creationId xmlns:a16="http://schemas.microsoft.com/office/drawing/2014/main" id="{1DB1FABC-4F63-7E4D-DF3C-0E4BE39D8C02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6" name="Rechteck 585">
              <a:extLst>
                <a:ext uri="{FF2B5EF4-FFF2-40B4-BE49-F238E27FC236}">
                  <a16:creationId xmlns:a16="http://schemas.microsoft.com/office/drawing/2014/main" id="{7F1FABDA-AE68-94FB-1D58-D8426BEC6990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7" name="Rechteck 586">
              <a:extLst>
                <a:ext uri="{FF2B5EF4-FFF2-40B4-BE49-F238E27FC236}">
                  <a16:creationId xmlns:a16="http://schemas.microsoft.com/office/drawing/2014/main" id="{961CC3A3-1F36-497D-DB34-5327103C7A6A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8" name="Rechteck 587">
              <a:extLst>
                <a:ext uri="{FF2B5EF4-FFF2-40B4-BE49-F238E27FC236}">
                  <a16:creationId xmlns:a16="http://schemas.microsoft.com/office/drawing/2014/main" id="{FE87B857-C6E6-D221-C54E-B4B59DAC5AF4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9" name="Rechteck 588">
              <a:extLst>
                <a:ext uri="{FF2B5EF4-FFF2-40B4-BE49-F238E27FC236}">
                  <a16:creationId xmlns:a16="http://schemas.microsoft.com/office/drawing/2014/main" id="{F722B687-24CF-FE17-883F-C06ADCDAB789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0" name="Rechteck 589">
              <a:extLst>
                <a:ext uri="{FF2B5EF4-FFF2-40B4-BE49-F238E27FC236}">
                  <a16:creationId xmlns:a16="http://schemas.microsoft.com/office/drawing/2014/main" id="{B7A53A8A-9BF6-8693-41C5-80DE25302F66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1" name="Rechteck 590">
              <a:extLst>
                <a:ext uri="{FF2B5EF4-FFF2-40B4-BE49-F238E27FC236}">
                  <a16:creationId xmlns:a16="http://schemas.microsoft.com/office/drawing/2014/main" id="{2D4523F9-5A5A-8066-CCE8-87444C675937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2" name="Rechteck 591">
              <a:extLst>
                <a:ext uri="{FF2B5EF4-FFF2-40B4-BE49-F238E27FC236}">
                  <a16:creationId xmlns:a16="http://schemas.microsoft.com/office/drawing/2014/main" id="{76BD2D76-E2A4-0564-2E17-3B9DF312CFD1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3" name="Rechteck 592">
              <a:extLst>
                <a:ext uri="{FF2B5EF4-FFF2-40B4-BE49-F238E27FC236}">
                  <a16:creationId xmlns:a16="http://schemas.microsoft.com/office/drawing/2014/main" id="{3A9BE26E-F497-106D-5679-AE73FFDCFD9B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4" name="Rechteck 593">
              <a:extLst>
                <a:ext uri="{FF2B5EF4-FFF2-40B4-BE49-F238E27FC236}">
                  <a16:creationId xmlns:a16="http://schemas.microsoft.com/office/drawing/2014/main" id="{4D123C55-E060-419A-ED35-DA7F3B58F070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5" name="Rechteck 594">
              <a:extLst>
                <a:ext uri="{FF2B5EF4-FFF2-40B4-BE49-F238E27FC236}">
                  <a16:creationId xmlns:a16="http://schemas.microsoft.com/office/drawing/2014/main" id="{3165E23D-A53D-9670-72A4-89EADAEB10E1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6" name="Rechteck 595">
              <a:extLst>
                <a:ext uri="{FF2B5EF4-FFF2-40B4-BE49-F238E27FC236}">
                  <a16:creationId xmlns:a16="http://schemas.microsoft.com/office/drawing/2014/main" id="{B740C2F1-B965-EE14-CE0D-DC2F3FE79C5E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7" name="Rechteck 596">
              <a:extLst>
                <a:ext uri="{FF2B5EF4-FFF2-40B4-BE49-F238E27FC236}">
                  <a16:creationId xmlns:a16="http://schemas.microsoft.com/office/drawing/2014/main" id="{31AEB0D3-F1EE-4F7A-D5B2-347B4B896CDA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8" name="Rechteck 597">
              <a:extLst>
                <a:ext uri="{FF2B5EF4-FFF2-40B4-BE49-F238E27FC236}">
                  <a16:creationId xmlns:a16="http://schemas.microsoft.com/office/drawing/2014/main" id="{BF634597-85C1-65AB-B15C-9DACC720BA97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9" name="Rechteck 598">
              <a:extLst>
                <a:ext uri="{FF2B5EF4-FFF2-40B4-BE49-F238E27FC236}">
                  <a16:creationId xmlns:a16="http://schemas.microsoft.com/office/drawing/2014/main" id="{789CDCCC-6A53-E3DD-B3A0-236E57267013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0" name="Rechteck 599">
              <a:extLst>
                <a:ext uri="{FF2B5EF4-FFF2-40B4-BE49-F238E27FC236}">
                  <a16:creationId xmlns:a16="http://schemas.microsoft.com/office/drawing/2014/main" id="{92CC0FD3-CFE2-DC37-0106-89B4A97AD4EF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1" name="Rechteck 600">
              <a:extLst>
                <a:ext uri="{FF2B5EF4-FFF2-40B4-BE49-F238E27FC236}">
                  <a16:creationId xmlns:a16="http://schemas.microsoft.com/office/drawing/2014/main" id="{A30C9A27-698E-5778-2B6C-58EBC64C12A7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2" name="Rechteck 601">
              <a:extLst>
                <a:ext uri="{FF2B5EF4-FFF2-40B4-BE49-F238E27FC236}">
                  <a16:creationId xmlns:a16="http://schemas.microsoft.com/office/drawing/2014/main" id="{C186F3A5-99C6-5008-C827-64C43A4E2609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3" name="Rechteck 602">
              <a:extLst>
                <a:ext uri="{FF2B5EF4-FFF2-40B4-BE49-F238E27FC236}">
                  <a16:creationId xmlns:a16="http://schemas.microsoft.com/office/drawing/2014/main" id="{B18F487E-1689-E0BE-824C-921E56959B63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4" name="Rechteck 603">
              <a:extLst>
                <a:ext uri="{FF2B5EF4-FFF2-40B4-BE49-F238E27FC236}">
                  <a16:creationId xmlns:a16="http://schemas.microsoft.com/office/drawing/2014/main" id="{742529C8-EC56-DC01-1108-368703EA2E76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5" name="Rechteck 604">
              <a:extLst>
                <a:ext uri="{FF2B5EF4-FFF2-40B4-BE49-F238E27FC236}">
                  <a16:creationId xmlns:a16="http://schemas.microsoft.com/office/drawing/2014/main" id="{0D9200F6-18C5-D570-AEF8-DB7F1963B5AB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6" name="Rechteck 605">
              <a:extLst>
                <a:ext uri="{FF2B5EF4-FFF2-40B4-BE49-F238E27FC236}">
                  <a16:creationId xmlns:a16="http://schemas.microsoft.com/office/drawing/2014/main" id="{B55AA2F9-AA6F-5033-F391-2B3D28B0CF55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7" name="Rechteck 606">
              <a:extLst>
                <a:ext uri="{FF2B5EF4-FFF2-40B4-BE49-F238E27FC236}">
                  <a16:creationId xmlns:a16="http://schemas.microsoft.com/office/drawing/2014/main" id="{363B0E16-9173-9034-246B-DE80889557FF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8" name="Rechteck 607">
              <a:extLst>
                <a:ext uri="{FF2B5EF4-FFF2-40B4-BE49-F238E27FC236}">
                  <a16:creationId xmlns:a16="http://schemas.microsoft.com/office/drawing/2014/main" id="{0FEFF884-4C20-94CE-7893-DBC49AA4BC81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9" name="Rechteck 608">
              <a:extLst>
                <a:ext uri="{FF2B5EF4-FFF2-40B4-BE49-F238E27FC236}">
                  <a16:creationId xmlns:a16="http://schemas.microsoft.com/office/drawing/2014/main" id="{58265B26-5F54-C32E-E363-57EA9D5310D6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0" name="Rechteck 609">
              <a:extLst>
                <a:ext uri="{FF2B5EF4-FFF2-40B4-BE49-F238E27FC236}">
                  <a16:creationId xmlns:a16="http://schemas.microsoft.com/office/drawing/2014/main" id="{4C4F373B-758B-8725-0EA2-DC447717D967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1" name="Rechteck 610">
              <a:extLst>
                <a:ext uri="{FF2B5EF4-FFF2-40B4-BE49-F238E27FC236}">
                  <a16:creationId xmlns:a16="http://schemas.microsoft.com/office/drawing/2014/main" id="{FC20E50B-5A01-077E-917C-F1485352AE70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2" name="Rechteck 611">
              <a:extLst>
                <a:ext uri="{FF2B5EF4-FFF2-40B4-BE49-F238E27FC236}">
                  <a16:creationId xmlns:a16="http://schemas.microsoft.com/office/drawing/2014/main" id="{1D1C9FF4-DB2F-7139-C0C5-99CD15BD7330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3" name="Rechteck 612">
              <a:extLst>
                <a:ext uri="{FF2B5EF4-FFF2-40B4-BE49-F238E27FC236}">
                  <a16:creationId xmlns:a16="http://schemas.microsoft.com/office/drawing/2014/main" id="{34678FDC-423E-5F8C-AAA3-C8616E0CA332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4" name="Rechteck 613">
              <a:extLst>
                <a:ext uri="{FF2B5EF4-FFF2-40B4-BE49-F238E27FC236}">
                  <a16:creationId xmlns:a16="http://schemas.microsoft.com/office/drawing/2014/main" id="{F2777E8A-EC2D-6BB9-A19E-BB007E20D338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5" name="Rechteck 614">
              <a:extLst>
                <a:ext uri="{FF2B5EF4-FFF2-40B4-BE49-F238E27FC236}">
                  <a16:creationId xmlns:a16="http://schemas.microsoft.com/office/drawing/2014/main" id="{859929B4-C150-568E-F53E-2096D4C0DC1E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6" name="Rechteck 615">
              <a:extLst>
                <a:ext uri="{FF2B5EF4-FFF2-40B4-BE49-F238E27FC236}">
                  <a16:creationId xmlns:a16="http://schemas.microsoft.com/office/drawing/2014/main" id="{F27D17A5-24EF-EC2E-D97B-80A4101A1625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7" name="Rechteck 616">
              <a:extLst>
                <a:ext uri="{FF2B5EF4-FFF2-40B4-BE49-F238E27FC236}">
                  <a16:creationId xmlns:a16="http://schemas.microsoft.com/office/drawing/2014/main" id="{696813D4-C685-E45F-7A10-BDE8FB745BC1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8" name="Rechteck 617">
              <a:extLst>
                <a:ext uri="{FF2B5EF4-FFF2-40B4-BE49-F238E27FC236}">
                  <a16:creationId xmlns:a16="http://schemas.microsoft.com/office/drawing/2014/main" id="{4D3D74D8-763E-4923-6583-57AD43823E20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9" name="Rechteck 618">
              <a:extLst>
                <a:ext uri="{FF2B5EF4-FFF2-40B4-BE49-F238E27FC236}">
                  <a16:creationId xmlns:a16="http://schemas.microsoft.com/office/drawing/2014/main" id="{FFC53670-AE1E-518F-06EF-2093F8032F38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0" name="Rechteck 619">
              <a:extLst>
                <a:ext uri="{FF2B5EF4-FFF2-40B4-BE49-F238E27FC236}">
                  <a16:creationId xmlns:a16="http://schemas.microsoft.com/office/drawing/2014/main" id="{74BDA6A8-FE96-DC07-71E1-CFC4B1EE4E8F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1" name="Rechteck 620">
              <a:extLst>
                <a:ext uri="{FF2B5EF4-FFF2-40B4-BE49-F238E27FC236}">
                  <a16:creationId xmlns:a16="http://schemas.microsoft.com/office/drawing/2014/main" id="{B1F23152-E75D-9183-ABD9-8B2442C6BF8E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2" name="Rechteck 621">
              <a:extLst>
                <a:ext uri="{FF2B5EF4-FFF2-40B4-BE49-F238E27FC236}">
                  <a16:creationId xmlns:a16="http://schemas.microsoft.com/office/drawing/2014/main" id="{EF07A7A0-BF14-7E38-DF82-FA07C6A90320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3" name="Rechteck 622">
              <a:extLst>
                <a:ext uri="{FF2B5EF4-FFF2-40B4-BE49-F238E27FC236}">
                  <a16:creationId xmlns:a16="http://schemas.microsoft.com/office/drawing/2014/main" id="{33699468-7885-9876-CC8D-B459BEE66388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4" name="Rechteck 623">
              <a:extLst>
                <a:ext uri="{FF2B5EF4-FFF2-40B4-BE49-F238E27FC236}">
                  <a16:creationId xmlns:a16="http://schemas.microsoft.com/office/drawing/2014/main" id="{49351347-DF55-ACC4-2C5B-004964FF1C92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5" name="Rechteck 624">
              <a:extLst>
                <a:ext uri="{FF2B5EF4-FFF2-40B4-BE49-F238E27FC236}">
                  <a16:creationId xmlns:a16="http://schemas.microsoft.com/office/drawing/2014/main" id="{39586287-211B-56F4-244E-6E819802A70D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6" name="Rechteck 625">
              <a:extLst>
                <a:ext uri="{FF2B5EF4-FFF2-40B4-BE49-F238E27FC236}">
                  <a16:creationId xmlns:a16="http://schemas.microsoft.com/office/drawing/2014/main" id="{3289D04D-760C-90B2-8041-52152CF3FA0C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7" name="Rechteck 626">
              <a:extLst>
                <a:ext uri="{FF2B5EF4-FFF2-40B4-BE49-F238E27FC236}">
                  <a16:creationId xmlns:a16="http://schemas.microsoft.com/office/drawing/2014/main" id="{38D2222F-40F6-9EF6-ED08-1C6FECC8FB62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8" name="Rechteck 627">
              <a:extLst>
                <a:ext uri="{FF2B5EF4-FFF2-40B4-BE49-F238E27FC236}">
                  <a16:creationId xmlns:a16="http://schemas.microsoft.com/office/drawing/2014/main" id="{E5F5E681-45CF-6BDD-3672-E15D762A74C7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9" name="Rechteck 628">
              <a:extLst>
                <a:ext uri="{FF2B5EF4-FFF2-40B4-BE49-F238E27FC236}">
                  <a16:creationId xmlns:a16="http://schemas.microsoft.com/office/drawing/2014/main" id="{7159C3C7-4C63-7089-0793-510DE17FDF5D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0" name="Rechteck 629">
              <a:extLst>
                <a:ext uri="{FF2B5EF4-FFF2-40B4-BE49-F238E27FC236}">
                  <a16:creationId xmlns:a16="http://schemas.microsoft.com/office/drawing/2014/main" id="{B4C11A94-8451-522A-557B-9044D40B4CB7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1" name="Rechteck 630">
              <a:extLst>
                <a:ext uri="{FF2B5EF4-FFF2-40B4-BE49-F238E27FC236}">
                  <a16:creationId xmlns:a16="http://schemas.microsoft.com/office/drawing/2014/main" id="{40CE59E4-0BB1-BB0B-F175-809C087F311C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2" name="Rechteck 631">
              <a:extLst>
                <a:ext uri="{FF2B5EF4-FFF2-40B4-BE49-F238E27FC236}">
                  <a16:creationId xmlns:a16="http://schemas.microsoft.com/office/drawing/2014/main" id="{FA9A8946-07D9-3FB3-5941-F2157150C0F1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3" name="Rechteck 632">
              <a:extLst>
                <a:ext uri="{FF2B5EF4-FFF2-40B4-BE49-F238E27FC236}">
                  <a16:creationId xmlns:a16="http://schemas.microsoft.com/office/drawing/2014/main" id="{F440D5DF-921D-37B5-330D-9FF5D532CA27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4" name="Rechteck 633">
              <a:extLst>
                <a:ext uri="{FF2B5EF4-FFF2-40B4-BE49-F238E27FC236}">
                  <a16:creationId xmlns:a16="http://schemas.microsoft.com/office/drawing/2014/main" id="{663BECD6-845B-1EC0-CFEA-4B3903CD4CA7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5" name="Rechteck 634">
              <a:extLst>
                <a:ext uri="{FF2B5EF4-FFF2-40B4-BE49-F238E27FC236}">
                  <a16:creationId xmlns:a16="http://schemas.microsoft.com/office/drawing/2014/main" id="{D985EF9B-10C8-4A6D-4871-B4FB38A075FB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pic>
        <p:nvPicPr>
          <p:cNvPr id="636" name="Logo">
            <a:extLst>
              <a:ext uri="{FF2B5EF4-FFF2-40B4-BE49-F238E27FC236}">
                <a16:creationId xmlns:a16="http://schemas.microsoft.com/office/drawing/2014/main" id="{68875DEC-1C66-99D8-32FD-246914E704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  <p:grpSp>
        <p:nvGrpSpPr>
          <p:cNvPr id="639" name="Gruppieren 638">
            <a:extLst>
              <a:ext uri="{FF2B5EF4-FFF2-40B4-BE49-F238E27FC236}">
                <a16:creationId xmlns:a16="http://schemas.microsoft.com/office/drawing/2014/main" id="{448883B4-6EB9-6153-C347-5FF842423D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1" y="2082829"/>
            <a:ext cx="2448000" cy="0"/>
            <a:chOff x="983432" y="2082829"/>
            <a:chExt cx="2448000" cy="0"/>
          </a:xfrm>
        </p:grpSpPr>
        <p:cxnSp>
          <p:nvCxnSpPr>
            <p:cNvPr id="640" name="Line">
              <a:extLst>
                <a:ext uri="{FF2B5EF4-FFF2-40B4-BE49-F238E27FC236}">
                  <a16:creationId xmlns:a16="http://schemas.microsoft.com/office/drawing/2014/main" id="{80C47B7A-9FFF-E484-BA99-E7C608702F7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1" name="Line">
              <a:extLst>
                <a:ext uri="{FF2B5EF4-FFF2-40B4-BE49-F238E27FC236}">
                  <a16:creationId xmlns:a16="http://schemas.microsoft.com/office/drawing/2014/main" id="{BB3BE27D-D82E-3806-B744-D01744CDEB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2" name="Shape">
            <a:extLst>
              <a:ext uri="{FF2B5EF4-FFF2-40B4-BE49-F238E27FC236}">
                <a16:creationId xmlns:a16="http://schemas.microsoft.com/office/drawing/2014/main" id="{CC7B5139-AB22-C493-BB7D-14AA8E63BE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0848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643" name="Shape">
            <a:extLst>
              <a:ext uri="{FF2B5EF4-FFF2-40B4-BE49-F238E27FC236}">
                <a16:creationId xmlns:a16="http://schemas.microsoft.com/office/drawing/2014/main" id="{509C269E-7894-2AF2-2038-AEB785627C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9" y="2061400"/>
            <a:ext cx="5760640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644" name="Title">
            <a:extLst>
              <a:ext uri="{FF2B5EF4-FFF2-40B4-BE49-F238E27FC236}">
                <a16:creationId xmlns:a16="http://schemas.microsoft.com/office/drawing/2014/main" id="{9BE76A87-4866-1634-EDB4-D7ED75A7B7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656384" y="2205159"/>
            <a:ext cx="4896000" cy="1368000"/>
          </a:xfrm>
          <a:prstGeom prst="rect">
            <a:avLst/>
          </a:prstGeom>
        </p:spPr>
        <p:txBody>
          <a:bodyPr vert="horz" tIns="54000" anchor="t">
            <a:noAutofit/>
          </a:bodyPr>
          <a:lstStyle>
            <a:lvl1pPr algn="l" rtl="0">
              <a:lnSpc>
                <a:spcPct val="90000"/>
              </a:lnSpc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Insert your long title of presentation here in maximal three lines</a:t>
            </a:r>
            <a:endParaRPr lang="en-US" dirty="0"/>
          </a:p>
        </p:txBody>
      </p:sp>
      <p:sp>
        <p:nvSpPr>
          <p:cNvPr id="645" name="Subtitle 2">
            <a:extLst>
              <a:ext uri="{FF2B5EF4-FFF2-40B4-BE49-F238E27FC236}">
                <a16:creationId xmlns:a16="http://schemas.microsoft.com/office/drawing/2014/main" id="{60639D1C-28F1-9D1E-9631-2D2D7AB8677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656384" y="3789160"/>
            <a:ext cx="4320000" cy="1080000"/>
          </a:xfrm>
          <a:prstGeom prst="rect">
            <a:avLst/>
          </a:prstGeom>
        </p:spPr>
        <p:txBody>
          <a:bodyPr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637" name="Author">
            <a:extLst>
              <a:ext uri="{FF2B5EF4-FFF2-40B4-BE49-F238E27FC236}">
                <a16:creationId xmlns:a16="http://schemas.microsoft.com/office/drawing/2014/main" id="{3FC225AA-14A0-62CC-D76E-FE9D4A7A85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400" y="2348992"/>
            <a:ext cx="2520280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US"/>
              <a:t>First name Last name</a:t>
            </a:r>
            <a:endParaRPr lang="en-US" dirty="0"/>
          </a:p>
        </p:txBody>
      </p:sp>
      <p:sp>
        <p:nvSpPr>
          <p:cNvPr id="638" name="Department, Date">
            <a:extLst>
              <a:ext uri="{FF2B5EF4-FFF2-40B4-BE49-F238E27FC236}">
                <a16:creationId xmlns:a16="http://schemas.microsoft.com/office/drawing/2014/main" id="{293DA392-91D8-BFDD-FA7D-72EA5EAE1C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2564992"/>
            <a:ext cx="2520280" cy="792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US"/>
              <a:t>Department</a:t>
            </a:r>
            <a:br>
              <a:rPr lang="en-US"/>
            </a:br>
            <a:r>
              <a:rPr lang="en-US"/>
              <a:t>DD/MM/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82094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|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6BDA1AF-2828-17F1-D5C0-794BC29F36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3774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BDA1AF-2828-17F1-D5C0-794BC29F36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44A2AEDA-3360-DA88-73A0-6948FFEB4E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304D0E64-4DCD-867F-9D11-49582927DBE6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07FF804E-C722-9A38-9D85-93879A2D9E77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855F8E61-5229-6CD0-FB57-BD93F44A85E5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CCF5D2D4-9238-00C2-13DC-D402CAED2C5C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FA71A6FC-17E8-523E-A48D-2A91C034729F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A5D4A5A3-088D-BDBB-3942-24ADDF754E54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1452132-A660-076A-476D-6DD002D2A3A1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38BBB115-496D-9FA3-2B2A-35204B04D764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FB28E83B-2EE4-49E4-DDC5-3E14FB3D2F0B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E2AFF4F2-A4C1-BD3F-B0D2-7E63DC4B025A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27134373-D85B-F87D-8E5F-A7F466DE9E32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B0C0A82B-E9D3-C0D1-82A9-D7E54C34609D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3CCA97FA-9C2D-69F7-3B4C-7BD232FBCE37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D01CCBE1-6BC9-392A-3745-6F37F3D17B2E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44E684C0-7619-8B16-97DD-A1A6DD7E091D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A5C20F07-63D6-DA44-512B-F77FFA18F6C4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8D12C8D6-8AB3-552D-78F8-1098DEE839C3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EF8304AA-C077-BDB8-04CF-3B8D607E3E6B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04314DE0-3F74-1794-BE69-637F4B2A3251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36FD0254-0D97-9A65-58D5-5BE7E34864D2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FCFDEA69-3AD3-FF09-EE83-2BC6DF575097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C9AE37EB-C7F7-D170-4535-6752FC9675AC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0C926587-1D97-92B7-498B-138DC427EEC6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68957079-909D-DC82-AA9F-8088ACA23EC1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CD4F3487-BFE4-4712-AF6B-54B1A9FD4596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2C8280E5-AAF8-2E65-EAB8-D906E45E3C8F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F1FFCF4F-E609-5B08-2FD5-C19A81433657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987D1844-4469-1324-386B-BD6BD2ACEA58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67638A4B-DD38-1D14-DB3A-F1171CD8C83F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2BC47CFF-F36C-8711-4288-037696F8E159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817F9552-AF46-8FB9-0AF6-13AAD9B07D3C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CAEC5FE8-8599-6CA4-A9FE-E116ED2F9E51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70244D8A-C4EE-2B82-8D22-BEFA13655DA5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AF45CDEA-AED2-0FF6-0EAA-62F7263218D7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AD39B5F5-8CAD-8BAF-7FD5-7A3500567E1A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30F3FBAE-A33D-7464-AE1F-2423C8EF5407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29FCA3FE-AAF6-5879-274F-80515486FEE1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071F456F-8C1D-A01B-4D75-FAEFF8FD6EDA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33CD290C-9594-00EA-DD01-B094B700071F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AAA798CD-7E03-291E-2376-CF148C7CFABA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44EE9CC4-862F-1D68-0C68-34FC7AAEB8C3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F3489720-36CA-725A-AC0D-EFDA0A3201C8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2DF7C544-C709-684D-37E1-16D71DDCE952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C0E5E613-2E94-A37D-D85D-D03059E8A1DC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96C9DFDF-078A-7944-8516-61E52795A518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19E9A7D7-125F-A9E8-398B-A32EE9C8E091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ECDD3FBE-5944-12EE-9F3A-62801AF9708E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6AD7AEBD-F82B-79BE-D78C-F9B3AD61D934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4DEFA5D2-EB1F-1584-D333-2008A36E82A2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CA7CA765-5F8D-5106-B3FD-891A22F2E4FB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58C5424A-B07A-490E-B40A-B106DFDB1112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D54E110B-23F6-6A0B-59DB-72F9A1B1C690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3EABC5CF-90A9-EF30-74FA-0011034EEE03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118390EF-2701-B9AD-4D9D-6FCCE16BB7A1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4" name="Rechteck 563">
              <a:extLst>
                <a:ext uri="{FF2B5EF4-FFF2-40B4-BE49-F238E27FC236}">
                  <a16:creationId xmlns:a16="http://schemas.microsoft.com/office/drawing/2014/main" id="{74980F99-164F-9CFB-0BD2-B974F7FF8547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5" name="Rechteck 564">
              <a:extLst>
                <a:ext uri="{FF2B5EF4-FFF2-40B4-BE49-F238E27FC236}">
                  <a16:creationId xmlns:a16="http://schemas.microsoft.com/office/drawing/2014/main" id="{411BC522-AB18-489E-553B-647880917A13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6" name="Rechteck 565">
              <a:extLst>
                <a:ext uri="{FF2B5EF4-FFF2-40B4-BE49-F238E27FC236}">
                  <a16:creationId xmlns:a16="http://schemas.microsoft.com/office/drawing/2014/main" id="{E2F405AF-F79D-69DD-DACB-6B08A8BA5FAF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7" name="Rechteck 566">
              <a:extLst>
                <a:ext uri="{FF2B5EF4-FFF2-40B4-BE49-F238E27FC236}">
                  <a16:creationId xmlns:a16="http://schemas.microsoft.com/office/drawing/2014/main" id="{4571E967-DDAC-A18E-9902-3F2F8B9B556D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8" name="Rechteck 567">
              <a:extLst>
                <a:ext uri="{FF2B5EF4-FFF2-40B4-BE49-F238E27FC236}">
                  <a16:creationId xmlns:a16="http://schemas.microsoft.com/office/drawing/2014/main" id="{488167FC-8A73-1082-A9CE-A2BF531950F4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9" name="Rechteck 568">
              <a:extLst>
                <a:ext uri="{FF2B5EF4-FFF2-40B4-BE49-F238E27FC236}">
                  <a16:creationId xmlns:a16="http://schemas.microsoft.com/office/drawing/2014/main" id="{CE22A77A-7B9F-60E3-3507-D5DB7E718E1A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0" name="Rechteck 569">
              <a:extLst>
                <a:ext uri="{FF2B5EF4-FFF2-40B4-BE49-F238E27FC236}">
                  <a16:creationId xmlns:a16="http://schemas.microsoft.com/office/drawing/2014/main" id="{30243BE6-F0B7-E1C4-4AD0-0DFFDF66F50A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1" name="Rechteck 570">
              <a:extLst>
                <a:ext uri="{FF2B5EF4-FFF2-40B4-BE49-F238E27FC236}">
                  <a16:creationId xmlns:a16="http://schemas.microsoft.com/office/drawing/2014/main" id="{C53DF050-EBA0-9503-8DB4-E797CF5581C1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2" name="Rechteck 571">
              <a:extLst>
                <a:ext uri="{FF2B5EF4-FFF2-40B4-BE49-F238E27FC236}">
                  <a16:creationId xmlns:a16="http://schemas.microsoft.com/office/drawing/2014/main" id="{F067FC77-3420-17D3-E86F-27EAB6C0C51C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3" name="Rechteck 572">
              <a:extLst>
                <a:ext uri="{FF2B5EF4-FFF2-40B4-BE49-F238E27FC236}">
                  <a16:creationId xmlns:a16="http://schemas.microsoft.com/office/drawing/2014/main" id="{6DB2E5C0-9ACB-82F8-11DA-EDCCB9E31DBC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4" name="Rechteck 573">
              <a:extLst>
                <a:ext uri="{FF2B5EF4-FFF2-40B4-BE49-F238E27FC236}">
                  <a16:creationId xmlns:a16="http://schemas.microsoft.com/office/drawing/2014/main" id="{8CF17FE2-A232-02C1-7C2C-00CD2451722C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5" name="Rechteck 574">
              <a:extLst>
                <a:ext uri="{FF2B5EF4-FFF2-40B4-BE49-F238E27FC236}">
                  <a16:creationId xmlns:a16="http://schemas.microsoft.com/office/drawing/2014/main" id="{5194EAB3-6621-EC6F-5533-E2AA379243D8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B190671A-81DC-9DEC-01FE-BB2868EF4F22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C2989F2B-E31F-7DAB-B14D-872459357240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23B73131-7CAF-F9B1-85C7-906F8F347769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AF407EB7-80E8-A99E-A884-D15A43B69B6D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3104A8FF-3A8F-2856-4664-F208429977E3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FF074905-103A-1654-3A5E-4F28E4751BB2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22DE4D9D-37B4-717B-E4C3-B7C0D055AFE8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9D407089-36A7-8DEE-8C1B-AAE755E4BC06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452A9F8F-7606-65F4-2EF6-82237031A465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13EED276-A2B5-E825-2EC2-67ACCE212A65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A16B83D9-832B-3E70-F139-38F7C6BDB161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C48B99C1-1B56-BA47-7BE9-37EA9F5DC7DD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A0AB330B-1EFB-922C-FC84-3A664B4DB2A6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2528ADB5-1549-6794-7010-067F40F32970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B855ABD7-8C30-C038-7512-4C2B6CAEF020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8E32F0F0-C58E-79EF-0DCD-DE722E827710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FEBE2D64-2066-2E62-FFEC-9B95CD8DA796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4975F9B1-3188-84DC-FB7B-FCD3D24CF39C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70DD43B3-300F-8A41-5D6A-DB7B73AAA12C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64050E29-4533-F26F-3726-03B1A1D7FD30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DE934E1C-9939-B23C-E62C-D3CC41D7A380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0FA58E3E-C336-E85B-09D5-B7A0A2151208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4EB8F864-C012-25CE-039E-8A0E021A54C7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70A21091-0965-216E-CB91-7E32727579DF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5CAAD977-1E0A-F3D2-7B72-30D9B0CA525C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8E198E56-755B-5845-9E20-52554353E72D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4C460E06-D8EF-5C2B-3C6E-7FB639815CCA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5CFE9937-0FE4-BC17-F5B1-805580CDB8D9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5AECAC88-EC1E-9D1F-C510-714A9F8281F1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D9CD5473-1B7C-88FD-B2F8-23173E676D4B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0C94B832-2CBF-2E8D-0422-F670297544B6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854C5041-C528-F507-4F5A-B0DB4777C4E9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3C61711B-A026-B808-798F-F2D72D449F35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97AA02E7-1D34-E765-AF72-40B5AB8F502B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2EBBD067-DC8C-EE21-A515-984C62A11C46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B6C06F11-D9FB-75A6-FABA-9B568AEC6AEB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9B08D2C0-C290-891B-DC39-70D6273EF59B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5A99DE82-B937-9488-E4E6-568161A2157E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C325E27E-94A5-A084-6FEA-55316D066823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52965A5F-3130-03F0-4638-BE079AABFBA7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7E8F48EB-B3FA-C120-EAF3-00F9298058C7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DCE05C3B-8D34-DCF9-77FC-D1A88828CE96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215E1193-70BF-745E-B090-C69D9850013C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01729069-E058-C0BA-7A91-D61CC2A9E724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632C1BAE-D68E-C564-F6A4-C8338BAB37DA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9B20F60A-7197-056E-6DB9-8EDB645A0249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BBD44F7D-38DC-EFBE-1D34-ACB9BBF54CBC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015CBDAB-C488-86BA-92DD-1E98BE42A8BD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F4CA9B95-2653-CF25-5F98-F83F7986CF5A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D38800C5-8CF9-B5D7-E51E-F0C91CA600C1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92DC19B8-B148-00E8-887F-7BA88DCEA688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1FD9CB07-7A45-025C-BD87-ACA15214E28F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618259A4-B4D3-8D4D-01B5-849880C834D5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1A097C60-B599-1715-F8DD-D4F9821F4417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2C132892-4ACC-467F-963D-8E8CF43FCC72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31D2D5FB-776D-C068-42F8-9B5A35DFDFA7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6DCAD3A0-5965-30D0-FD11-6CAA0B802949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36E3BCE3-0EBC-B214-9208-C354713B15A3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8B79C295-BB05-B4C1-6128-C7E9874CA824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79849441-66AD-EC50-45D9-BCB40DD5A86F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927018C9-0C04-997D-945F-A5F68DB16BD7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BBCEA445-5888-5FD8-0027-3379C9A9B502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3FAA2869-4ACF-A1DC-0E98-FEB6B5984FE2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6" name="Rechteck 575">
              <a:extLst>
                <a:ext uri="{FF2B5EF4-FFF2-40B4-BE49-F238E27FC236}">
                  <a16:creationId xmlns:a16="http://schemas.microsoft.com/office/drawing/2014/main" id="{58F7D3DB-8E5F-37F9-3DB2-0834F4B8DA59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7" name="Rechteck 576">
              <a:extLst>
                <a:ext uri="{FF2B5EF4-FFF2-40B4-BE49-F238E27FC236}">
                  <a16:creationId xmlns:a16="http://schemas.microsoft.com/office/drawing/2014/main" id="{2B7B2DD8-C695-5E6F-7F62-2D15CCA4BB81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8" name="Rechteck 577">
              <a:extLst>
                <a:ext uri="{FF2B5EF4-FFF2-40B4-BE49-F238E27FC236}">
                  <a16:creationId xmlns:a16="http://schemas.microsoft.com/office/drawing/2014/main" id="{11330EB3-67DB-949D-5F64-ECBFA0B1D12A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9" name="Rechteck 578">
              <a:extLst>
                <a:ext uri="{FF2B5EF4-FFF2-40B4-BE49-F238E27FC236}">
                  <a16:creationId xmlns:a16="http://schemas.microsoft.com/office/drawing/2014/main" id="{A92932AA-24D6-6C10-9BF3-27E8FEE07479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0" name="Rechteck 579">
              <a:extLst>
                <a:ext uri="{FF2B5EF4-FFF2-40B4-BE49-F238E27FC236}">
                  <a16:creationId xmlns:a16="http://schemas.microsoft.com/office/drawing/2014/main" id="{50D98C02-5485-07FD-1D51-8CE6D1B14B1C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1" name="Rechteck 580">
              <a:extLst>
                <a:ext uri="{FF2B5EF4-FFF2-40B4-BE49-F238E27FC236}">
                  <a16:creationId xmlns:a16="http://schemas.microsoft.com/office/drawing/2014/main" id="{ED87BBB6-497E-8869-A8AF-47963887C61B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2" name="Rechteck 581">
              <a:extLst>
                <a:ext uri="{FF2B5EF4-FFF2-40B4-BE49-F238E27FC236}">
                  <a16:creationId xmlns:a16="http://schemas.microsoft.com/office/drawing/2014/main" id="{DC09E5C1-B987-A92F-D9B8-5D22E77F4CB8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3" name="Rechteck 582">
              <a:extLst>
                <a:ext uri="{FF2B5EF4-FFF2-40B4-BE49-F238E27FC236}">
                  <a16:creationId xmlns:a16="http://schemas.microsoft.com/office/drawing/2014/main" id="{885D6474-3EE4-1EE2-D7DB-99C673449B4B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4" name="Rechteck 583">
              <a:extLst>
                <a:ext uri="{FF2B5EF4-FFF2-40B4-BE49-F238E27FC236}">
                  <a16:creationId xmlns:a16="http://schemas.microsoft.com/office/drawing/2014/main" id="{6E974DD6-0F36-B302-AB89-34BE877CFE25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5" name="Rechteck 584">
              <a:extLst>
                <a:ext uri="{FF2B5EF4-FFF2-40B4-BE49-F238E27FC236}">
                  <a16:creationId xmlns:a16="http://schemas.microsoft.com/office/drawing/2014/main" id="{15E9EC6F-7D3B-73C1-9CA8-00075416AF83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6" name="Rechteck 585">
              <a:extLst>
                <a:ext uri="{FF2B5EF4-FFF2-40B4-BE49-F238E27FC236}">
                  <a16:creationId xmlns:a16="http://schemas.microsoft.com/office/drawing/2014/main" id="{1B6F6C17-5EB8-14A4-9957-429BDE8F36B4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7" name="Rechteck 586">
              <a:extLst>
                <a:ext uri="{FF2B5EF4-FFF2-40B4-BE49-F238E27FC236}">
                  <a16:creationId xmlns:a16="http://schemas.microsoft.com/office/drawing/2014/main" id="{848ECA8D-C5FF-0C19-2ECF-3ACB44FBA247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8" name="Rechteck 587">
              <a:extLst>
                <a:ext uri="{FF2B5EF4-FFF2-40B4-BE49-F238E27FC236}">
                  <a16:creationId xmlns:a16="http://schemas.microsoft.com/office/drawing/2014/main" id="{A29745F4-6102-5DAC-5557-77C2216742CC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9" name="Rechteck 588">
              <a:extLst>
                <a:ext uri="{FF2B5EF4-FFF2-40B4-BE49-F238E27FC236}">
                  <a16:creationId xmlns:a16="http://schemas.microsoft.com/office/drawing/2014/main" id="{C67403E0-AD02-94A4-BFD9-D8F6B42F4D4B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0" name="Rechteck 589">
              <a:extLst>
                <a:ext uri="{FF2B5EF4-FFF2-40B4-BE49-F238E27FC236}">
                  <a16:creationId xmlns:a16="http://schemas.microsoft.com/office/drawing/2014/main" id="{156E1B71-0862-11E5-07F4-3162E80B804F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1" name="Rechteck 590">
              <a:extLst>
                <a:ext uri="{FF2B5EF4-FFF2-40B4-BE49-F238E27FC236}">
                  <a16:creationId xmlns:a16="http://schemas.microsoft.com/office/drawing/2014/main" id="{998C536A-9D28-B5FB-2EAB-FAFE5EA331F3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2" name="Rechteck 591">
              <a:extLst>
                <a:ext uri="{FF2B5EF4-FFF2-40B4-BE49-F238E27FC236}">
                  <a16:creationId xmlns:a16="http://schemas.microsoft.com/office/drawing/2014/main" id="{DABE473A-2AAA-1D16-CC1D-E62D3FF083CD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3" name="Rechteck 592">
              <a:extLst>
                <a:ext uri="{FF2B5EF4-FFF2-40B4-BE49-F238E27FC236}">
                  <a16:creationId xmlns:a16="http://schemas.microsoft.com/office/drawing/2014/main" id="{033BB805-2329-C3BA-4207-EB1DD0EC48C9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4" name="Rechteck 593">
              <a:extLst>
                <a:ext uri="{FF2B5EF4-FFF2-40B4-BE49-F238E27FC236}">
                  <a16:creationId xmlns:a16="http://schemas.microsoft.com/office/drawing/2014/main" id="{BF9B5BF0-4D19-CF6F-DFF0-97C41D13E717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5" name="Rechteck 594">
              <a:extLst>
                <a:ext uri="{FF2B5EF4-FFF2-40B4-BE49-F238E27FC236}">
                  <a16:creationId xmlns:a16="http://schemas.microsoft.com/office/drawing/2014/main" id="{50475D2B-4F27-F9B3-3496-6A2ED3ABD226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6" name="Rechteck 595">
              <a:extLst>
                <a:ext uri="{FF2B5EF4-FFF2-40B4-BE49-F238E27FC236}">
                  <a16:creationId xmlns:a16="http://schemas.microsoft.com/office/drawing/2014/main" id="{909B6362-C4F2-5DE7-1B00-80791CE96123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7" name="Rechteck 596">
              <a:extLst>
                <a:ext uri="{FF2B5EF4-FFF2-40B4-BE49-F238E27FC236}">
                  <a16:creationId xmlns:a16="http://schemas.microsoft.com/office/drawing/2014/main" id="{C51BD19A-2D97-12B3-252F-5B0587F17757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8" name="Rechteck 597">
              <a:extLst>
                <a:ext uri="{FF2B5EF4-FFF2-40B4-BE49-F238E27FC236}">
                  <a16:creationId xmlns:a16="http://schemas.microsoft.com/office/drawing/2014/main" id="{AA30F848-71E0-05CE-A773-137AFB6106EA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9" name="Rechteck 598">
              <a:extLst>
                <a:ext uri="{FF2B5EF4-FFF2-40B4-BE49-F238E27FC236}">
                  <a16:creationId xmlns:a16="http://schemas.microsoft.com/office/drawing/2014/main" id="{2B50EE3C-71C4-10E6-8CD3-A3215452372D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0" name="Rechteck 599">
              <a:extLst>
                <a:ext uri="{FF2B5EF4-FFF2-40B4-BE49-F238E27FC236}">
                  <a16:creationId xmlns:a16="http://schemas.microsoft.com/office/drawing/2014/main" id="{E9E637B4-9B55-C02F-87C5-D80B35959A58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1" name="Rechteck 600">
              <a:extLst>
                <a:ext uri="{FF2B5EF4-FFF2-40B4-BE49-F238E27FC236}">
                  <a16:creationId xmlns:a16="http://schemas.microsoft.com/office/drawing/2014/main" id="{407D6948-1651-B77A-96BE-A3C080AF5BEE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2" name="Rechteck 601">
              <a:extLst>
                <a:ext uri="{FF2B5EF4-FFF2-40B4-BE49-F238E27FC236}">
                  <a16:creationId xmlns:a16="http://schemas.microsoft.com/office/drawing/2014/main" id="{C234DC73-DB10-9392-769B-32CA4F5592DD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3" name="Rechteck 602">
              <a:extLst>
                <a:ext uri="{FF2B5EF4-FFF2-40B4-BE49-F238E27FC236}">
                  <a16:creationId xmlns:a16="http://schemas.microsoft.com/office/drawing/2014/main" id="{480336AC-EC85-A58A-B069-CCE5218CBB3B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4" name="Rechteck 603">
              <a:extLst>
                <a:ext uri="{FF2B5EF4-FFF2-40B4-BE49-F238E27FC236}">
                  <a16:creationId xmlns:a16="http://schemas.microsoft.com/office/drawing/2014/main" id="{ECA13BB0-7967-D0EB-8EEB-8815785FDB68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5" name="Rechteck 604">
              <a:extLst>
                <a:ext uri="{FF2B5EF4-FFF2-40B4-BE49-F238E27FC236}">
                  <a16:creationId xmlns:a16="http://schemas.microsoft.com/office/drawing/2014/main" id="{3FD66F32-FE3E-683D-AA7C-33706F8E3BC2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6" name="Rechteck 605">
              <a:extLst>
                <a:ext uri="{FF2B5EF4-FFF2-40B4-BE49-F238E27FC236}">
                  <a16:creationId xmlns:a16="http://schemas.microsoft.com/office/drawing/2014/main" id="{5ABC4948-AE17-76E9-AD38-2E8605530059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7" name="Rechteck 606">
              <a:extLst>
                <a:ext uri="{FF2B5EF4-FFF2-40B4-BE49-F238E27FC236}">
                  <a16:creationId xmlns:a16="http://schemas.microsoft.com/office/drawing/2014/main" id="{35B64FAB-0897-D1A1-EC9D-54E92B4AE244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8" name="Rechteck 607">
              <a:extLst>
                <a:ext uri="{FF2B5EF4-FFF2-40B4-BE49-F238E27FC236}">
                  <a16:creationId xmlns:a16="http://schemas.microsoft.com/office/drawing/2014/main" id="{AF2C16D6-E3A6-C973-16D3-7028C6CD8491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9" name="Rechteck 608">
              <a:extLst>
                <a:ext uri="{FF2B5EF4-FFF2-40B4-BE49-F238E27FC236}">
                  <a16:creationId xmlns:a16="http://schemas.microsoft.com/office/drawing/2014/main" id="{1300B179-948C-BCFB-B8BB-A7DDC316D524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0" name="Rechteck 609">
              <a:extLst>
                <a:ext uri="{FF2B5EF4-FFF2-40B4-BE49-F238E27FC236}">
                  <a16:creationId xmlns:a16="http://schemas.microsoft.com/office/drawing/2014/main" id="{72E5644A-3BE2-6F5D-18DD-9DA71BD6F0E0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1" name="Rechteck 610">
              <a:extLst>
                <a:ext uri="{FF2B5EF4-FFF2-40B4-BE49-F238E27FC236}">
                  <a16:creationId xmlns:a16="http://schemas.microsoft.com/office/drawing/2014/main" id="{BB86E67B-EB59-4F09-C726-59956C08B858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2" name="Rechteck 611">
              <a:extLst>
                <a:ext uri="{FF2B5EF4-FFF2-40B4-BE49-F238E27FC236}">
                  <a16:creationId xmlns:a16="http://schemas.microsoft.com/office/drawing/2014/main" id="{9B959765-EE9C-A51E-1805-C4F341EE5D5E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3" name="Rechteck 612">
              <a:extLst>
                <a:ext uri="{FF2B5EF4-FFF2-40B4-BE49-F238E27FC236}">
                  <a16:creationId xmlns:a16="http://schemas.microsoft.com/office/drawing/2014/main" id="{D504B449-A1B5-1C36-2E3D-1EAAB6D19CA1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4" name="Rechteck 613">
              <a:extLst>
                <a:ext uri="{FF2B5EF4-FFF2-40B4-BE49-F238E27FC236}">
                  <a16:creationId xmlns:a16="http://schemas.microsoft.com/office/drawing/2014/main" id="{88266A74-711F-F464-FF7C-0566320506D3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5" name="Rechteck 614">
              <a:extLst>
                <a:ext uri="{FF2B5EF4-FFF2-40B4-BE49-F238E27FC236}">
                  <a16:creationId xmlns:a16="http://schemas.microsoft.com/office/drawing/2014/main" id="{B0690049-C2D4-ACF9-1354-218EC91A67F7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6" name="Rechteck 615">
              <a:extLst>
                <a:ext uri="{FF2B5EF4-FFF2-40B4-BE49-F238E27FC236}">
                  <a16:creationId xmlns:a16="http://schemas.microsoft.com/office/drawing/2014/main" id="{A927131A-74C9-0296-65A0-ED4BED855B6D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7" name="Rechteck 616">
              <a:extLst>
                <a:ext uri="{FF2B5EF4-FFF2-40B4-BE49-F238E27FC236}">
                  <a16:creationId xmlns:a16="http://schemas.microsoft.com/office/drawing/2014/main" id="{DCEFCAC6-B63C-FB26-AD55-B799DEA8FD97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8" name="Rechteck 617">
              <a:extLst>
                <a:ext uri="{FF2B5EF4-FFF2-40B4-BE49-F238E27FC236}">
                  <a16:creationId xmlns:a16="http://schemas.microsoft.com/office/drawing/2014/main" id="{24564484-C3D7-8148-DD72-959A8F23C7ED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9" name="Rechteck 618">
              <a:extLst>
                <a:ext uri="{FF2B5EF4-FFF2-40B4-BE49-F238E27FC236}">
                  <a16:creationId xmlns:a16="http://schemas.microsoft.com/office/drawing/2014/main" id="{9A57E7D1-8CB0-82AE-74A3-6F9FD03FF836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0" name="Rechteck 619">
              <a:extLst>
                <a:ext uri="{FF2B5EF4-FFF2-40B4-BE49-F238E27FC236}">
                  <a16:creationId xmlns:a16="http://schemas.microsoft.com/office/drawing/2014/main" id="{E3366F9D-F994-4467-C978-1A7A9C93A982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1" name="Rechteck 620">
              <a:extLst>
                <a:ext uri="{FF2B5EF4-FFF2-40B4-BE49-F238E27FC236}">
                  <a16:creationId xmlns:a16="http://schemas.microsoft.com/office/drawing/2014/main" id="{ACF55DA9-80EC-BC00-28C0-3B5B952EE6D3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2" name="Rechteck 621">
              <a:extLst>
                <a:ext uri="{FF2B5EF4-FFF2-40B4-BE49-F238E27FC236}">
                  <a16:creationId xmlns:a16="http://schemas.microsoft.com/office/drawing/2014/main" id="{FEB07BC2-EFD7-8F5A-3871-DDFD2C4D2616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3" name="Rechteck 622">
              <a:extLst>
                <a:ext uri="{FF2B5EF4-FFF2-40B4-BE49-F238E27FC236}">
                  <a16:creationId xmlns:a16="http://schemas.microsoft.com/office/drawing/2014/main" id="{41AF8826-E0B0-0B6A-6BAA-A35B98DB58E8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4" name="Rechteck 623">
              <a:extLst>
                <a:ext uri="{FF2B5EF4-FFF2-40B4-BE49-F238E27FC236}">
                  <a16:creationId xmlns:a16="http://schemas.microsoft.com/office/drawing/2014/main" id="{33700951-A3EE-8A87-C4C1-95011647807B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5" name="Rechteck 624">
              <a:extLst>
                <a:ext uri="{FF2B5EF4-FFF2-40B4-BE49-F238E27FC236}">
                  <a16:creationId xmlns:a16="http://schemas.microsoft.com/office/drawing/2014/main" id="{28E9989C-A9C0-1F2E-9393-981FBD58E75A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6" name="Rechteck 625">
              <a:extLst>
                <a:ext uri="{FF2B5EF4-FFF2-40B4-BE49-F238E27FC236}">
                  <a16:creationId xmlns:a16="http://schemas.microsoft.com/office/drawing/2014/main" id="{3D9919BD-3287-69B9-BC0E-24BFE806E099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7" name="Rechteck 626">
              <a:extLst>
                <a:ext uri="{FF2B5EF4-FFF2-40B4-BE49-F238E27FC236}">
                  <a16:creationId xmlns:a16="http://schemas.microsoft.com/office/drawing/2014/main" id="{D081ABE3-0B2F-75CC-3B73-372080D67F1E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8" name="Rechteck 627">
              <a:extLst>
                <a:ext uri="{FF2B5EF4-FFF2-40B4-BE49-F238E27FC236}">
                  <a16:creationId xmlns:a16="http://schemas.microsoft.com/office/drawing/2014/main" id="{625A3EBF-0B0D-49E0-F4B4-578A6A54E656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9" name="Rechteck 628">
              <a:extLst>
                <a:ext uri="{FF2B5EF4-FFF2-40B4-BE49-F238E27FC236}">
                  <a16:creationId xmlns:a16="http://schemas.microsoft.com/office/drawing/2014/main" id="{DFB124FA-3424-34C4-8439-A9AC457481DD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0" name="Rechteck 629">
              <a:extLst>
                <a:ext uri="{FF2B5EF4-FFF2-40B4-BE49-F238E27FC236}">
                  <a16:creationId xmlns:a16="http://schemas.microsoft.com/office/drawing/2014/main" id="{F2AF72EF-30B0-B87F-38E5-03DDD97051B1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1" name="Rechteck 630">
              <a:extLst>
                <a:ext uri="{FF2B5EF4-FFF2-40B4-BE49-F238E27FC236}">
                  <a16:creationId xmlns:a16="http://schemas.microsoft.com/office/drawing/2014/main" id="{FE74D72F-A9E0-088C-DE2C-1AAF68BED3A2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2" name="Rechteck 631">
              <a:extLst>
                <a:ext uri="{FF2B5EF4-FFF2-40B4-BE49-F238E27FC236}">
                  <a16:creationId xmlns:a16="http://schemas.microsoft.com/office/drawing/2014/main" id="{0AE01FB0-FA6E-1B9C-FB9A-4E0D4A240EA7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3" name="Rechteck 632">
              <a:extLst>
                <a:ext uri="{FF2B5EF4-FFF2-40B4-BE49-F238E27FC236}">
                  <a16:creationId xmlns:a16="http://schemas.microsoft.com/office/drawing/2014/main" id="{621FA565-E7AF-F090-93C2-11BF16F54711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4" name="Rechteck 633">
              <a:extLst>
                <a:ext uri="{FF2B5EF4-FFF2-40B4-BE49-F238E27FC236}">
                  <a16:creationId xmlns:a16="http://schemas.microsoft.com/office/drawing/2014/main" id="{A623971C-238E-607E-FA8A-B7FBC343F930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5" name="Rechteck 634">
              <a:extLst>
                <a:ext uri="{FF2B5EF4-FFF2-40B4-BE49-F238E27FC236}">
                  <a16:creationId xmlns:a16="http://schemas.microsoft.com/office/drawing/2014/main" id="{AD270A1D-3888-A464-6C38-A942DBE97AAB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pic>
        <p:nvPicPr>
          <p:cNvPr id="636" name="Logo">
            <a:extLst>
              <a:ext uri="{FF2B5EF4-FFF2-40B4-BE49-F238E27FC236}">
                <a16:creationId xmlns:a16="http://schemas.microsoft.com/office/drawing/2014/main" id="{68292BC9-76CD-67C0-35F6-A5108DD2C0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  <p:grpSp>
        <p:nvGrpSpPr>
          <p:cNvPr id="639" name="Gruppieren 638">
            <a:extLst>
              <a:ext uri="{FF2B5EF4-FFF2-40B4-BE49-F238E27FC236}">
                <a16:creationId xmlns:a16="http://schemas.microsoft.com/office/drawing/2014/main" id="{28A2C002-1EE0-626A-11E1-E574EEC961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1" y="2082829"/>
            <a:ext cx="2448000" cy="0"/>
            <a:chOff x="983432" y="2082829"/>
            <a:chExt cx="2448000" cy="0"/>
          </a:xfrm>
        </p:grpSpPr>
        <p:cxnSp>
          <p:nvCxnSpPr>
            <p:cNvPr id="640" name="Line">
              <a:extLst>
                <a:ext uri="{FF2B5EF4-FFF2-40B4-BE49-F238E27FC236}">
                  <a16:creationId xmlns:a16="http://schemas.microsoft.com/office/drawing/2014/main" id="{C326A183-1B9A-1300-CBEF-97B3410472A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1" name="Line">
              <a:extLst>
                <a:ext uri="{FF2B5EF4-FFF2-40B4-BE49-F238E27FC236}">
                  <a16:creationId xmlns:a16="http://schemas.microsoft.com/office/drawing/2014/main" id="{13E54FB3-A107-8CA6-FFEF-D89D822AEC5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2" name="Shape">
            <a:extLst>
              <a:ext uri="{FF2B5EF4-FFF2-40B4-BE49-F238E27FC236}">
                <a16:creationId xmlns:a16="http://schemas.microsoft.com/office/drawing/2014/main" id="{2FA97F3C-268E-8477-E45E-1FFFF79434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0848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643" name="Shape">
            <a:extLst>
              <a:ext uri="{FF2B5EF4-FFF2-40B4-BE49-F238E27FC236}">
                <a16:creationId xmlns:a16="http://schemas.microsoft.com/office/drawing/2014/main" id="{C596E45C-473F-E05E-DDC7-B6B0CF2D02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9" y="2061400"/>
            <a:ext cx="5760640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644" name="Title">
            <a:extLst>
              <a:ext uri="{FF2B5EF4-FFF2-40B4-BE49-F238E27FC236}">
                <a16:creationId xmlns:a16="http://schemas.microsoft.com/office/drawing/2014/main" id="{ACE24F44-B88E-4F03-9CB9-09766C3AB5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656384" y="2205159"/>
            <a:ext cx="4896000" cy="1368000"/>
          </a:xfrm>
          <a:prstGeom prst="rect">
            <a:avLst/>
          </a:prstGeom>
        </p:spPr>
        <p:txBody>
          <a:bodyPr vert="horz" tIns="54000" anchor="t">
            <a:noAutofit/>
          </a:bodyPr>
          <a:lstStyle>
            <a:lvl1pPr algn="l" rtl="0">
              <a:lnSpc>
                <a:spcPct val="90000"/>
              </a:lnSpc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Insert your long title of presentation here in maximal three lines</a:t>
            </a:r>
            <a:endParaRPr lang="en-US" dirty="0"/>
          </a:p>
        </p:txBody>
      </p:sp>
      <p:sp>
        <p:nvSpPr>
          <p:cNvPr id="645" name="Subtitle 2">
            <a:extLst>
              <a:ext uri="{FF2B5EF4-FFF2-40B4-BE49-F238E27FC236}">
                <a16:creationId xmlns:a16="http://schemas.microsoft.com/office/drawing/2014/main" id="{E2B3BE1C-89C4-7B6D-F2B5-3E0F90CD61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656384" y="3789160"/>
            <a:ext cx="4320000" cy="1080000"/>
          </a:xfrm>
          <a:prstGeom prst="rect">
            <a:avLst/>
          </a:prstGeom>
        </p:spPr>
        <p:txBody>
          <a:bodyPr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637" name="Author">
            <a:extLst>
              <a:ext uri="{FF2B5EF4-FFF2-40B4-BE49-F238E27FC236}">
                <a16:creationId xmlns:a16="http://schemas.microsoft.com/office/drawing/2014/main" id="{6F538EE2-3CAD-FDD4-13B3-62345296EC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400" y="2348992"/>
            <a:ext cx="2520280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US"/>
              <a:t>First name Last name</a:t>
            </a:r>
            <a:endParaRPr lang="en-US" dirty="0"/>
          </a:p>
        </p:txBody>
      </p:sp>
      <p:sp>
        <p:nvSpPr>
          <p:cNvPr id="638" name="Department, Date">
            <a:extLst>
              <a:ext uri="{FF2B5EF4-FFF2-40B4-BE49-F238E27FC236}">
                <a16:creationId xmlns:a16="http://schemas.microsoft.com/office/drawing/2014/main" id="{06E748DC-C0F4-8D9E-697E-A8D574CC21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2564992"/>
            <a:ext cx="2520280" cy="792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US"/>
              <a:t>Department</a:t>
            </a:r>
            <a:br>
              <a:rPr lang="en-US"/>
            </a:br>
            <a:r>
              <a:rPr lang="en-US"/>
              <a:t>DD/MM/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43932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|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B3DA3FE-88EA-D8B7-B778-C4BF8B5DED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23400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3DA3FE-88EA-D8B7-B778-C4BF8B5DED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4A98B3A1-E20F-7595-D185-1C8EEA342A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B8B20137-F199-E393-5EE0-ACB8BEC6434F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1478830E-F887-0E62-E477-EF06E64C42E4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53830D0-69AC-0346-FABB-A68224761B99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FDD70874-AFC2-EA49-92A6-28C10D9CC3FB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3643FEF-E927-9C23-CA3E-0DC181BF9615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5EA9197A-CFCE-3A9D-0830-3226CA353AFD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89E22CCE-64F9-AC14-3A1C-01888BAD1969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935B6BB8-BDA7-2955-3E94-834864910D53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731F925A-7223-6A59-FB44-50204326ECFA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6374A56E-2DFA-93F6-BCAE-12DE28631539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E1125EB4-D5E5-21F4-B182-2970CCE94B4E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4B8AF29A-5758-0F50-A86C-0CC07BBD72B6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000BEE2A-C063-4A3F-7DA0-2E756C538091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CBD8DD2F-074C-CC0C-A015-3BC7AF8919B6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E6D7E17F-8202-4A11-53A1-99491A662D62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0DD34B65-2971-619F-1815-2A33E51E2FBF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D46CA613-00E1-B106-3EE3-0C0553D5DBD0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86CEC51C-EE4F-6905-1AAB-72E349178996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669D5474-0EBB-78E1-34B1-35BCA7B98D18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1F9A4FDE-7152-0615-D67D-0C69D414EF3B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CBFF41FF-00C3-1596-DE0F-F8FDC581BEA5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BB114486-CF3E-C523-0AA5-68C8AE111281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037A9DB-ED27-D216-6C90-49CCB42F4476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DE8E6E09-F976-644F-1051-C8B58FF3834C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E0A05E19-ABEC-2669-5916-0F22FB06A0F2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C6746B12-7EE1-E764-796A-45C88E4F35BF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93928A5C-3789-575D-85AA-135EFD43C3E3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ACEA6C11-6BEE-EDC5-EBA3-C4791587E1AA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B4BFF23C-8665-6012-E22A-0D343495AB2A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99C72F9E-9E0B-0BA9-2E5F-CE9146718743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A46015E3-65FC-9E67-97E1-07AEC5DE8FD7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6A03D7DE-FD69-8928-C3DF-0DAF2AF0D65B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3BFED124-7C09-B7F0-625E-3CB4363042C6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5112D53E-966E-3253-6AE2-B9D834530880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60B76A44-CE6A-F303-A373-DF1E39BC425C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1D8FFE0E-29FE-8E1C-AD16-25B3DF09421C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71CDECB8-9D66-A033-61C7-CDFCC5F37F08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F09A9374-8058-21F1-013D-18DBFD342980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9289E1F1-8E4D-A39D-C936-1180B5546BAB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9097477B-B9A0-4A3A-BD83-9443D8200971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0CA17FA4-AD11-7662-D245-1BF12D28E8E1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3C92C836-880E-1359-5C27-16C4962CFF47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DCA0A69C-F699-5590-EB6B-EECA27132FCE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EBBC6D11-5F7E-4215-9502-47AAE60D5541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8FBE57D3-427C-D032-1CE4-BF2922E437F3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777EA34D-A7D8-AEBA-33EE-9C52B5489A58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4B7EB1F6-B237-3C68-061A-E6AD2CC230B3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850F6509-DD2A-D663-0007-BD318F5F26D8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B34454E1-7CB7-C963-1B33-EF97D6F1F6A2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95F3DE75-1DB5-58D0-CDEB-5061B409987A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1F8B7AFA-70C8-798B-AE68-62672396D688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EE6F808D-EF6F-C010-2D1F-7431EE0AB1B9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970060C9-7B99-304E-80BB-6099690AD8CC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8" name="Rechteck 127">
              <a:extLst>
                <a:ext uri="{FF2B5EF4-FFF2-40B4-BE49-F238E27FC236}">
                  <a16:creationId xmlns:a16="http://schemas.microsoft.com/office/drawing/2014/main" id="{B0DB4CFC-5C43-DA54-3FA8-A708220026D2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9" name="Rechteck 128">
              <a:extLst>
                <a:ext uri="{FF2B5EF4-FFF2-40B4-BE49-F238E27FC236}">
                  <a16:creationId xmlns:a16="http://schemas.microsoft.com/office/drawing/2014/main" id="{36FED17E-59DB-98C8-BABB-D4F4E74471FC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415DD269-C4D3-861F-D933-657D11F47371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6500811C-5477-BED1-5D65-71FCB3AAA8A4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CCEE9FC7-CEDA-AB48-47BD-C70D7C42118B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B80971FC-1F7A-F824-A385-E0DB0D13E61C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17CC7E01-BABA-8FFA-2E00-BB0759DD31F2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5" name="Rechteck 134">
              <a:extLst>
                <a:ext uri="{FF2B5EF4-FFF2-40B4-BE49-F238E27FC236}">
                  <a16:creationId xmlns:a16="http://schemas.microsoft.com/office/drawing/2014/main" id="{BF1D2BB5-B9F0-8967-E282-6C4545B65AB0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6" name="Rechteck 135">
              <a:extLst>
                <a:ext uri="{FF2B5EF4-FFF2-40B4-BE49-F238E27FC236}">
                  <a16:creationId xmlns:a16="http://schemas.microsoft.com/office/drawing/2014/main" id="{6BD21AB0-B1CD-D519-63B9-38A4162C28CB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7" name="Rechteck 136">
              <a:extLst>
                <a:ext uri="{FF2B5EF4-FFF2-40B4-BE49-F238E27FC236}">
                  <a16:creationId xmlns:a16="http://schemas.microsoft.com/office/drawing/2014/main" id="{0893A34B-C893-F89A-8A89-4458E08BA262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8" name="Rechteck 137">
              <a:extLst>
                <a:ext uri="{FF2B5EF4-FFF2-40B4-BE49-F238E27FC236}">
                  <a16:creationId xmlns:a16="http://schemas.microsoft.com/office/drawing/2014/main" id="{1A92A88A-C263-DFEA-BF4D-B6B0A6751AA7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9" name="Rechteck 138">
              <a:extLst>
                <a:ext uri="{FF2B5EF4-FFF2-40B4-BE49-F238E27FC236}">
                  <a16:creationId xmlns:a16="http://schemas.microsoft.com/office/drawing/2014/main" id="{8E66EA36-DE78-5C37-ADE2-B83AB8A91113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0" name="Rechteck 139">
              <a:extLst>
                <a:ext uri="{FF2B5EF4-FFF2-40B4-BE49-F238E27FC236}">
                  <a16:creationId xmlns:a16="http://schemas.microsoft.com/office/drawing/2014/main" id="{74482D1A-3034-E422-DDC3-DB22AB9D01AA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1" name="Rechteck 140">
              <a:extLst>
                <a:ext uri="{FF2B5EF4-FFF2-40B4-BE49-F238E27FC236}">
                  <a16:creationId xmlns:a16="http://schemas.microsoft.com/office/drawing/2014/main" id="{552B159F-9A52-ED42-B5CD-2B1528B26580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099D8A44-7D47-9FA5-EB3A-6DC92ECC743E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3" name="Rechteck 142">
              <a:extLst>
                <a:ext uri="{FF2B5EF4-FFF2-40B4-BE49-F238E27FC236}">
                  <a16:creationId xmlns:a16="http://schemas.microsoft.com/office/drawing/2014/main" id="{0F732500-8F14-EEFA-0E55-9E5DD0DA8798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4" name="Rechteck 143">
              <a:extLst>
                <a:ext uri="{FF2B5EF4-FFF2-40B4-BE49-F238E27FC236}">
                  <a16:creationId xmlns:a16="http://schemas.microsoft.com/office/drawing/2014/main" id="{0979B12F-BCE6-7C0C-665F-964A3EA3BA34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5" name="Rechteck 144">
              <a:extLst>
                <a:ext uri="{FF2B5EF4-FFF2-40B4-BE49-F238E27FC236}">
                  <a16:creationId xmlns:a16="http://schemas.microsoft.com/office/drawing/2014/main" id="{84D0E12F-214B-631F-35E2-62858FCC8E0B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6" name="Rechteck 145">
              <a:extLst>
                <a:ext uri="{FF2B5EF4-FFF2-40B4-BE49-F238E27FC236}">
                  <a16:creationId xmlns:a16="http://schemas.microsoft.com/office/drawing/2014/main" id="{84C49CF8-BCF0-1B10-4892-7514EA906C4B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7" name="Rechteck 146">
              <a:extLst>
                <a:ext uri="{FF2B5EF4-FFF2-40B4-BE49-F238E27FC236}">
                  <a16:creationId xmlns:a16="http://schemas.microsoft.com/office/drawing/2014/main" id="{F018000E-6DDD-7A20-17CB-3CD63FC7DE01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8" name="Rechteck 147">
              <a:extLst>
                <a:ext uri="{FF2B5EF4-FFF2-40B4-BE49-F238E27FC236}">
                  <a16:creationId xmlns:a16="http://schemas.microsoft.com/office/drawing/2014/main" id="{AD715E30-8A5A-A4F7-BF0F-0F00385D3902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9" name="Rechteck 148">
              <a:extLst>
                <a:ext uri="{FF2B5EF4-FFF2-40B4-BE49-F238E27FC236}">
                  <a16:creationId xmlns:a16="http://schemas.microsoft.com/office/drawing/2014/main" id="{FB499F2E-528C-0A1A-10CB-17B005CBC7FA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0" name="Rechteck 149">
              <a:extLst>
                <a:ext uri="{FF2B5EF4-FFF2-40B4-BE49-F238E27FC236}">
                  <a16:creationId xmlns:a16="http://schemas.microsoft.com/office/drawing/2014/main" id="{25355802-BC23-BB7D-ACEE-478D5DA6BB35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1" name="Rechteck 150">
              <a:extLst>
                <a:ext uri="{FF2B5EF4-FFF2-40B4-BE49-F238E27FC236}">
                  <a16:creationId xmlns:a16="http://schemas.microsoft.com/office/drawing/2014/main" id="{19D1BD8D-9C95-A810-99E0-74708A2CAEE6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2" name="Rechteck 151">
              <a:extLst>
                <a:ext uri="{FF2B5EF4-FFF2-40B4-BE49-F238E27FC236}">
                  <a16:creationId xmlns:a16="http://schemas.microsoft.com/office/drawing/2014/main" id="{EBD23B6E-A32F-FC28-2BE2-75D33E899959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3" name="Rechteck 152">
              <a:extLst>
                <a:ext uri="{FF2B5EF4-FFF2-40B4-BE49-F238E27FC236}">
                  <a16:creationId xmlns:a16="http://schemas.microsoft.com/office/drawing/2014/main" id="{0D286319-C3D2-C750-A0DE-1EADFB4F50F9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4" name="Rechteck 153">
              <a:extLst>
                <a:ext uri="{FF2B5EF4-FFF2-40B4-BE49-F238E27FC236}">
                  <a16:creationId xmlns:a16="http://schemas.microsoft.com/office/drawing/2014/main" id="{80084DE4-F4E8-19FD-3EE3-88A6B967DA65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5" name="Rechteck 154">
              <a:extLst>
                <a:ext uri="{FF2B5EF4-FFF2-40B4-BE49-F238E27FC236}">
                  <a16:creationId xmlns:a16="http://schemas.microsoft.com/office/drawing/2014/main" id="{E6130D82-7DF3-63F9-0589-1BE327BB6DEB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6" name="Rechteck 155">
              <a:extLst>
                <a:ext uri="{FF2B5EF4-FFF2-40B4-BE49-F238E27FC236}">
                  <a16:creationId xmlns:a16="http://schemas.microsoft.com/office/drawing/2014/main" id="{CAAF93A6-5EE8-2FE1-5CBA-9FDF45961D52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7" name="Rechteck 156">
              <a:extLst>
                <a:ext uri="{FF2B5EF4-FFF2-40B4-BE49-F238E27FC236}">
                  <a16:creationId xmlns:a16="http://schemas.microsoft.com/office/drawing/2014/main" id="{1B785EAB-6599-B203-2DC2-611DD0177CD3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8" name="Rechteck 157">
              <a:extLst>
                <a:ext uri="{FF2B5EF4-FFF2-40B4-BE49-F238E27FC236}">
                  <a16:creationId xmlns:a16="http://schemas.microsoft.com/office/drawing/2014/main" id="{329C1211-2EC5-9DC6-AB47-FD7B393A6767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9" name="Rechteck 158">
              <a:extLst>
                <a:ext uri="{FF2B5EF4-FFF2-40B4-BE49-F238E27FC236}">
                  <a16:creationId xmlns:a16="http://schemas.microsoft.com/office/drawing/2014/main" id="{489DADCA-9233-2830-D32C-129CEC67AAF5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0" name="Rechteck 159">
              <a:extLst>
                <a:ext uri="{FF2B5EF4-FFF2-40B4-BE49-F238E27FC236}">
                  <a16:creationId xmlns:a16="http://schemas.microsoft.com/office/drawing/2014/main" id="{74A59AB0-3F20-DC1A-A1EA-FDAFB6841DBE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1" name="Rechteck 160">
              <a:extLst>
                <a:ext uri="{FF2B5EF4-FFF2-40B4-BE49-F238E27FC236}">
                  <a16:creationId xmlns:a16="http://schemas.microsoft.com/office/drawing/2014/main" id="{5FAE1927-024F-AFE6-F58E-B3D4D41264E8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2" name="Rechteck 161">
              <a:extLst>
                <a:ext uri="{FF2B5EF4-FFF2-40B4-BE49-F238E27FC236}">
                  <a16:creationId xmlns:a16="http://schemas.microsoft.com/office/drawing/2014/main" id="{4E49C5E4-CB14-644B-BB85-6099FF2A2653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3" name="Rechteck 162">
              <a:extLst>
                <a:ext uri="{FF2B5EF4-FFF2-40B4-BE49-F238E27FC236}">
                  <a16:creationId xmlns:a16="http://schemas.microsoft.com/office/drawing/2014/main" id="{B166F63C-1038-F2C3-C0C4-B318433C96B8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4" name="Rechteck 163">
              <a:extLst>
                <a:ext uri="{FF2B5EF4-FFF2-40B4-BE49-F238E27FC236}">
                  <a16:creationId xmlns:a16="http://schemas.microsoft.com/office/drawing/2014/main" id="{A49C998F-5C93-DF4F-F56E-FD949F4C9214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5" name="Rechteck 164">
              <a:extLst>
                <a:ext uri="{FF2B5EF4-FFF2-40B4-BE49-F238E27FC236}">
                  <a16:creationId xmlns:a16="http://schemas.microsoft.com/office/drawing/2014/main" id="{1602AF14-1946-86CB-E0BE-40F2ADDF4B10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6" name="Rechteck 165">
              <a:extLst>
                <a:ext uri="{FF2B5EF4-FFF2-40B4-BE49-F238E27FC236}">
                  <a16:creationId xmlns:a16="http://schemas.microsoft.com/office/drawing/2014/main" id="{0EC2807C-EE40-B606-CC8C-687EE03EBDAB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7" name="Rechteck 166">
              <a:extLst>
                <a:ext uri="{FF2B5EF4-FFF2-40B4-BE49-F238E27FC236}">
                  <a16:creationId xmlns:a16="http://schemas.microsoft.com/office/drawing/2014/main" id="{90C83BFF-07B8-F3B8-E237-9DCBC851469C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8" name="Rechteck 167">
              <a:extLst>
                <a:ext uri="{FF2B5EF4-FFF2-40B4-BE49-F238E27FC236}">
                  <a16:creationId xmlns:a16="http://schemas.microsoft.com/office/drawing/2014/main" id="{7D3F85A2-00FC-39E0-BBF9-E46C7DC4FEFE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9" name="Rechteck 168">
              <a:extLst>
                <a:ext uri="{FF2B5EF4-FFF2-40B4-BE49-F238E27FC236}">
                  <a16:creationId xmlns:a16="http://schemas.microsoft.com/office/drawing/2014/main" id="{0929C0EB-60C0-8B8E-7F04-0BF110DD181A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0" name="Rechteck 169">
              <a:extLst>
                <a:ext uri="{FF2B5EF4-FFF2-40B4-BE49-F238E27FC236}">
                  <a16:creationId xmlns:a16="http://schemas.microsoft.com/office/drawing/2014/main" id="{54402504-4CBE-767B-51DC-7EC6D78AF76A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1" name="Rechteck 170">
              <a:extLst>
                <a:ext uri="{FF2B5EF4-FFF2-40B4-BE49-F238E27FC236}">
                  <a16:creationId xmlns:a16="http://schemas.microsoft.com/office/drawing/2014/main" id="{1A3390CB-C44B-3558-80AF-536DD8209729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2" name="Rechteck 171">
              <a:extLst>
                <a:ext uri="{FF2B5EF4-FFF2-40B4-BE49-F238E27FC236}">
                  <a16:creationId xmlns:a16="http://schemas.microsoft.com/office/drawing/2014/main" id="{BA5D4070-EAB8-89C5-BAF2-3C704D1EE889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3" name="Rechteck 172">
              <a:extLst>
                <a:ext uri="{FF2B5EF4-FFF2-40B4-BE49-F238E27FC236}">
                  <a16:creationId xmlns:a16="http://schemas.microsoft.com/office/drawing/2014/main" id="{9272FDCA-7777-B994-C5AB-0AD6A89C2B60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4" name="Rechteck 173">
              <a:extLst>
                <a:ext uri="{FF2B5EF4-FFF2-40B4-BE49-F238E27FC236}">
                  <a16:creationId xmlns:a16="http://schemas.microsoft.com/office/drawing/2014/main" id="{D459284C-2702-444C-B8F7-CEF21FBC4E44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5" name="Rechteck 174">
              <a:extLst>
                <a:ext uri="{FF2B5EF4-FFF2-40B4-BE49-F238E27FC236}">
                  <a16:creationId xmlns:a16="http://schemas.microsoft.com/office/drawing/2014/main" id="{EA045C2D-8CB2-13E6-F4CF-84815D9A6D29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6" name="Rechteck 185">
              <a:extLst>
                <a:ext uri="{FF2B5EF4-FFF2-40B4-BE49-F238E27FC236}">
                  <a16:creationId xmlns:a16="http://schemas.microsoft.com/office/drawing/2014/main" id="{53E11837-33EE-43D2-7BC3-3E26681054FA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7" name="Rechteck 186">
              <a:extLst>
                <a:ext uri="{FF2B5EF4-FFF2-40B4-BE49-F238E27FC236}">
                  <a16:creationId xmlns:a16="http://schemas.microsoft.com/office/drawing/2014/main" id="{68CD82A8-5574-3627-BCB2-CFC4C98FF248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8" name="Rechteck 187">
              <a:extLst>
                <a:ext uri="{FF2B5EF4-FFF2-40B4-BE49-F238E27FC236}">
                  <a16:creationId xmlns:a16="http://schemas.microsoft.com/office/drawing/2014/main" id="{AB1F08A5-6CEE-FF81-F0AB-AD718DF42205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9" name="Rechteck 188">
              <a:extLst>
                <a:ext uri="{FF2B5EF4-FFF2-40B4-BE49-F238E27FC236}">
                  <a16:creationId xmlns:a16="http://schemas.microsoft.com/office/drawing/2014/main" id="{F3FAB1BA-25D3-2726-5EFB-92A441B436F8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0" name="Rechteck 189">
              <a:extLst>
                <a:ext uri="{FF2B5EF4-FFF2-40B4-BE49-F238E27FC236}">
                  <a16:creationId xmlns:a16="http://schemas.microsoft.com/office/drawing/2014/main" id="{DDEDF475-DA1D-5249-4333-E3360B3E7EF5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30E21277-CB4F-0286-B37A-BC7BCC9D2B74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2" name="Rechteck 191">
              <a:extLst>
                <a:ext uri="{FF2B5EF4-FFF2-40B4-BE49-F238E27FC236}">
                  <a16:creationId xmlns:a16="http://schemas.microsoft.com/office/drawing/2014/main" id="{5BA84C0D-5DA6-5B8C-9998-9466C1A71E31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3" name="Rechteck 192">
              <a:extLst>
                <a:ext uri="{FF2B5EF4-FFF2-40B4-BE49-F238E27FC236}">
                  <a16:creationId xmlns:a16="http://schemas.microsoft.com/office/drawing/2014/main" id="{5D785DE4-8B5C-6317-1EF1-A33902AD8532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4" name="Rechteck 193">
              <a:extLst>
                <a:ext uri="{FF2B5EF4-FFF2-40B4-BE49-F238E27FC236}">
                  <a16:creationId xmlns:a16="http://schemas.microsoft.com/office/drawing/2014/main" id="{D5451349-4FE5-EA61-410A-EF8800698DB2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5" name="Rechteck 194">
              <a:extLst>
                <a:ext uri="{FF2B5EF4-FFF2-40B4-BE49-F238E27FC236}">
                  <a16:creationId xmlns:a16="http://schemas.microsoft.com/office/drawing/2014/main" id="{296101F6-0D8C-19E9-CC29-574D0C540BBF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6" name="Rechteck 195">
              <a:extLst>
                <a:ext uri="{FF2B5EF4-FFF2-40B4-BE49-F238E27FC236}">
                  <a16:creationId xmlns:a16="http://schemas.microsoft.com/office/drawing/2014/main" id="{912AC51C-A3E0-14C0-4C5F-D3147BCE73B8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7" name="Rechteck 196">
              <a:extLst>
                <a:ext uri="{FF2B5EF4-FFF2-40B4-BE49-F238E27FC236}">
                  <a16:creationId xmlns:a16="http://schemas.microsoft.com/office/drawing/2014/main" id="{0FABC33B-D737-C744-67D9-E5A0A6B4D7B1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EF42BA31-27AF-CACE-4B3D-D95669204E29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40467052-1243-52B8-BF51-3B4D3BCB0586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BEC1F705-47C4-9139-8893-01317A50013D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E592C99F-A7F3-09FA-7CC6-D79C38B1393F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3" name="Rechteck 212">
              <a:extLst>
                <a:ext uri="{FF2B5EF4-FFF2-40B4-BE49-F238E27FC236}">
                  <a16:creationId xmlns:a16="http://schemas.microsoft.com/office/drawing/2014/main" id="{65C0C616-63E3-D194-CB20-99DDFBC38089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66B18F05-F5EC-493F-995C-A3D1049FA71F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5" name="Rechteck 214">
              <a:extLst>
                <a:ext uri="{FF2B5EF4-FFF2-40B4-BE49-F238E27FC236}">
                  <a16:creationId xmlns:a16="http://schemas.microsoft.com/office/drawing/2014/main" id="{F9C0680E-4A9E-8DA2-CD84-C47B53B4DE65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6" name="Rechteck 215">
              <a:extLst>
                <a:ext uri="{FF2B5EF4-FFF2-40B4-BE49-F238E27FC236}">
                  <a16:creationId xmlns:a16="http://schemas.microsoft.com/office/drawing/2014/main" id="{4C58B4E0-BD4E-A870-4C87-F5EA7F9EADB0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7" name="Rechteck 216">
              <a:extLst>
                <a:ext uri="{FF2B5EF4-FFF2-40B4-BE49-F238E27FC236}">
                  <a16:creationId xmlns:a16="http://schemas.microsoft.com/office/drawing/2014/main" id="{72B3D559-F282-C66C-E96E-4749B9876E15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8" name="Rechteck 217">
              <a:extLst>
                <a:ext uri="{FF2B5EF4-FFF2-40B4-BE49-F238E27FC236}">
                  <a16:creationId xmlns:a16="http://schemas.microsoft.com/office/drawing/2014/main" id="{6008748E-C38D-3525-1EE2-289E043925EF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9" name="Rechteck 218">
              <a:extLst>
                <a:ext uri="{FF2B5EF4-FFF2-40B4-BE49-F238E27FC236}">
                  <a16:creationId xmlns:a16="http://schemas.microsoft.com/office/drawing/2014/main" id="{5740F1CA-6ED3-4559-B3CE-87D786DA31DB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0" name="Rechteck 219">
              <a:extLst>
                <a:ext uri="{FF2B5EF4-FFF2-40B4-BE49-F238E27FC236}">
                  <a16:creationId xmlns:a16="http://schemas.microsoft.com/office/drawing/2014/main" id="{73C80838-9467-CDDE-610F-A5422C9B28D0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3" name="Rechteck 232">
              <a:extLst>
                <a:ext uri="{FF2B5EF4-FFF2-40B4-BE49-F238E27FC236}">
                  <a16:creationId xmlns:a16="http://schemas.microsoft.com/office/drawing/2014/main" id="{BD259AE9-B717-8BBB-431A-70D911332E9A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4" name="Rechteck 233">
              <a:extLst>
                <a:ext uri="{FF2B5EF4-FFF2-40B4-BE49-F238E27FC236}">
                  <a16:creationId xmlns:a16="http://schemas.microsoft.com/office/drawing/2014/main" id="{FBA34CF0-55B9-9794-8BDB-1831AAE69020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5" name="Rechteck 234">
              <a:extLst>
                <a:ext uri="{FF2B5EF4-FFF2-40B4-BE49-F238E27FC236}">
                  <a16:creationId xmlns:a16="http://schemas.microsoft.com/office/drawing/2014/main" id="{9544C0ED-CABB-CB28-BA4E-DFA1334B7C76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6" name="Rechteck 235">
              <a:extLst>
                <a:ext uri="{FF2B5EF4-FFF2-40B4-BE49-F238E27FC236}">
                  <a16:creationId xmlns:a16="http://schemas.microsoft.com/office/drawing/2014/main" id="{49AB8CF0-6C89-C850-174A-39D0C93C84F5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7" name="Rechteck 236">
              <a:extLst>
                <a:ext uri="{FF2B5EF4-FFF2-40B4-BE49-F238E27FC236}">
                  <a16:creationId xmlns:a16="http://schemas.microsoft.com/office/drawing/2014/main" id="{8FA93304-E1BD-C84E-B8CF-06EC437E10C5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8" name="Rechteck 237">
              <a:extLst>
                <a:ext uri="{FF2B5EF4-FFF2-40B4-BE49-F238E27FC236}">
                  <a16:creationId xmlns:a16="http://schemas.microsoft.com/office/drawing/2014/main" id="{5095509E-7388-3B33-FA2B-D5BB75264E4F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9" name="Rechteck 238">
              <a:extLst>
                <a:ext uri="{FF2B5EF4-FFF2-40B4-BE49-F238E27FC236}">
                  <a16:creationId xmlns:a16="http://schemas.microsoft.com/office/drawing/2014/main" id="{C4F5902A-DFCA-1575-C765-BF96F1DF7C33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0" name="Rechteck 239">
              <a:extLst>
                <a:ext uri="{FF2B5EF4-FFF2-40B4-BE49-F238E27FC236}">
                  <a16:creationId xmlns:a16="http://schemas.microsoft.com/office/drawing/2014/main" id="{875E63A8-0487-8F2B-F910-7247A2BDDA8B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1" name="Rechteck 240">
              <a:extLst>
                <a:ext uri="{FF2B5EF4-FFF2-40B4-BE49-F238E27FC236}">
                  <a16:creationId xmlns:a16="http://schemas.microsoft.com/office/drawing/2014/main" id="{72AE98C3-2A91-89BB-FE25-E47AD1FB1181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2" name="Rechteck 241">
              <a:extLst>
                <a:ext uri="{FF2B5EF4-FFF2-40B4-BE49-F238E27FC236}">
                  <a16:creationId xmlns:a16="http://schemas.microsoft.com/office/drawing/2014/main" id="{9503688D-81C2-1FBA-0693-07C74EC09478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3" name="Rechteck 242">
              <a:extLst>
                <a:ext uri="{FF2B5EF4-FFF2-40B4-BE49-F238E27FC236}">
                  <a16:creationId xmlns:a16="http://schemas.microsoft.com/office/drawing/2014/main" id="{58E40D0A-4E9D-9791-7174-86CE2E05DD0E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4" name="Rechteck 243">
              <a:extLst>
                <a:ext uri="{FF2B5EF4-FFF2-40B4-BE49-F238E27FC236}">
                  <a16:creationId xmlns:a16="http://schemas.microsoft.com/office/drawing/2014/main" id="{1BB3A9E6-970B-8973-9E68-ED2C5AC14C36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5" name="Rechteck 244">
              <a:extLst>
                <a:ext uri="{FF2B5EF4-FFF2-40B4-BE49-F238E27FC236}">
                  <a16:creationId xmlns:a16="http://schemas.microsoft.com/office/drawing/2014/main" id="{24304A77-AD63-F9ED-9508-ECD4A17B5C77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6" name="Rechteck 245">
              <a:extLst>
                <a:ext uri="{FF2B5EF4-FFF2-40B4-BE49-F238E27FC236}">
                  <a16:creationId xmlns:a16="http://schemas.microsoft.com/office/drawing/2014/main" id="{45692114-B459-C47E-2331-A65001BB7BBD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7" name="Rechteck 246">
              <a:extLst>
                <a:ext uri="{FF2B5EF4-FFF2-40B4-BE49-F238E27FC236}">
                  <a16:creationId xmlns:a16="http://schemas.microsoft.com/office/drawing/2014/main" id="{CB8E9975-3576-9861-C664-FBEA227A89A7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8" name="Rechteck 247">
              <a:extLst>
                <a:ext uri="{FF2B5EF4-FFF2-40B4-BE49-F238E27FC236}">
                  <a16:creationId xmlns:a16="http://schemas.microsoft.com/office/drawing/2014/main" id="{D2BD38D3-7B43-83B3-6FF0-F712EE886FAC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9" name="Rechteck 248">
              <a:extLst>
                <a:ext uri="{FF2B5EF4-FFF2-40B4-BE49-F238E27FC236}">
                  <a16:creationId xmlns:a16="http://schemas.microsoft.com/office/drawing/2014/main" id="{A0AC1FC1-4A6C-3AA9-58CB-87961349F6F6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0" name="Rechteck 249">
              <a:extLst>
                <a:ext uri="{FF2B5EF4-FFF2-40B4-BE49-F238E27FC236}">
                  <a16:creationId xmlns:a16="http://schemas.microsoft.com/office/drawing/2014/main" id="{ADB448D9-7F9A-3AF4-0AA3-C43275EBBEF9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1" name="Rechteck 250">
              <a:extLst>
                <a:ext uri="{FF2B5EF4-FFF2-40B4-BE49-F238E27FC236}">
                  <a16:creationId xmlns:a16="http://schemas.microsoft.com/office/drawing/2014/main" id="{1F50700B-6DD1-B6B6-58AC-199FF3DE389A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2" name="Rechteck 251">
              <a:extLst>
                <a:ext uri="{FF2B5EF4-FFF2-40B4-BE49-F238E27FC236}">
                  <a16:creationId xmlns:a16="http://schemas.microsoft.com/office/drawing/2014/main" id="{4F001094-C890-63D8-4084-98BCF75EBA42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3" name="Rechteck 252">
              <a:extLst>
                <a:ext uri="{FF2B5EF4-FFF2-40B4-BE49-F238E27FC236}">
                  <a16:creationId xmlns:a16="http://schemas.microsoft.com/office/drawing/2014/main" id="{99304326-3269-324F-F4E7-7933810BBDF0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4" name="Rechteck 253">
              <a:extLst>
                <a:ext uri="{FF2B5EF4-FFF2-40B4-BE49-F238E27FC236}">
                  <a16:creationId xmlns:a16="http://schemas.microsoft.com/office/drawing/2014/main" id="{A0AE5923-EC7C-1B96-BDCE-B24651E3C6D0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5" name="Rechteck 254">
              <a:extLst>
                <a:ext uri="{FF2B5EF4-FFF2-40B4-BE49-F238E27FC236}">
                  <a16:creationId xmlns:a16="http://schemas.microsoft.com/office/drawing/2014/main" id="{8EE18455-9B8B-3110-FD2F-7A4A5CEAE08B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CCDEC7E3-1DDC-FF77-7860-4BB5BB44BA57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EB77FBAE-687B-8717-E2B8-EA1C15A61638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8838A9A0-770F-8429-4F2C-ABE22D0299F9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9098063D-196F-50ED-0F73-EDBC4D66A11D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D3B7A1CB-A2D7-D2BB-E078-D1B024646325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3A796ED1-1FFF-90DB-B6B6-13F20225AA86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609BFB31-C5B2-5DDF-B7C7-085D089ABFE5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0" name="Rechteck 409">
              <a:extLst>
                <a:ext uri="{FF2B5EF4-FFF2-40B4-BE49-F238E27FC236}">
                  <a16:creationId xmlns:a16="http://schemas.microsoft.com/office/drawing/2014/main" id="{1B53DD90-6493-5417-43FD-EFC7F0F74321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A2B63D19-A8F8-9D1C-0E98-6EF3A5A3C89B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73712A81-6E2D-B507-8B83-AEEBAF2D602C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A2A56C45-6109-75EF-CA48-1F424AB2216A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C7871684-610F-94D2-7346-1ECBBF9E420C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C96F0494-166E-6EFC-96FD-81E388AB75DD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6" name="Rechteck 415">
              <a:extLst>
                <a:ext uri="{FF2B5EF4-FFF2-40B4-BE49-F238E27FC236}">
                  <a16:creationId xmlns:a16="http://schemas.microsoft.com/office/drawing/2014/main" id="{7CD24995-E891-9797-54FE-721560EF5A59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C2F87D98-69BC-BCA1-941D-A5426EA61D49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8" name="Rechteck 417">
              <a:extLst>
                <a:ext uri="{FF2B5EF4-FFF2-40B4-BE49-F238E27FC236}">
                  <a16:creationId xmlns:a16="http://schemas.microsoft.com/office/drawing/2014/main" id="{B177DF16-DE3A-4B8D-5CC0-330EA22D43EA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9" name="Rechteck 418">
              <a:extLst>
                <a:ext uri="{FF2B5EF4-FFF2-40B4-BE49-F238E27FC236}">
                  <a16:creationId xmlns:a16="http://schemas.microsoft.com/office/drawing/2014/main" id="{A292A115-0C83-4473-3FEE-B7E564BCC6B5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0" name="Rechteck 419">
              <a:extLst>
                <a:ext uri="{FF2B5EF4-FFF2-40B4-BE49-F238E27FC236}">
                  <a16:creationId xmlns:a16="http://schemas.microsoft.com/office/drawing/2014/main" id="{5D5C11D3-A1D7-89C9-5DE6-760692876280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1" name="Rechteck 420">
              <a:extLst>
                <a:ext uri="{FF2B5EF4-FFF2-40B4-BE49-F238E27FC236}">
                  <a16:creationId xmlns:a16="http://schemas.microsoft.com/office/drawing/2014/main" id="{C34B84DD-2618-186E-95CC-850F98757E7A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2" name="Rechteck 421">
              <a:extLst>
                <a:ext uri="{FF2B5EF4-FFF2-40B4-BE49-F238E27FC236}">
                  <a16:creationId xmlns:a16="http://schemas.microsoft.com/office/drawing/2014/main" id="{24DED307-8F4C-20AF-22D3-EE502BF8ADB7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3" name="Rechteck 422">
              <a:extLst>
                <a:ext uri="{FF2B5EF4-FFF2-40B4-BE49-F238E27FC236}">
                  <a16:creationId xmlns:a16="http://schemas.microsoft.com/office/drawing/2014/main" id="{08870CBE-035A-3C58-6BFF-DF75293134F6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4" name="Rechteck 423">
              <a:extLst>
                <a:ext uri="{FF2B5EF4-FFF2-40B4-BE49-F238E27FC236}">
                  <a16:creationId xmlns:a16="http://schemas.microsoft.com/office/drawing/2014/main" id="{FBE8440A-E7C3-1F13-1296-B69AF71C517A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5" name="Rechteck 424">
              <a:extLst>
                <a:ext uri="{FF2B5EF4-FFF2-40B4-BE49-F238E27FC236}">
                  <a16:creationId xmlns:a16="http://schemas.microsoft.com/office/drawing/2014/main" id="{C42048B3-D774-7B3E-35B3-5F647E60CE3A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6" name="Rechteck 425">
              <a:extLst>
                <a:ext uri="{FF2B5EF4-FFF2-40B4-BE49-F238E27FC236}">
                  <a16:creationId xmlns:a16="http://schemas.microsoft.com/office/drawing/2014/main" id="{45E1A82D-10D8-2BC1-AB8E-7F963F97AD10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7" name="Rechteck 426">
              <a:extLst>
                <a:ext uri="{FF2B5EF4-FFF2-40B4-BE49-F238E27FC236}">
                  <a16:creationId xmlns:a16="http://schemas.microsoft.com/office/drawing/2014/main" id="{AF346ABF-461C-E17F-4EE5-793C01E1A631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8" name="Rechteck 427">
              <a:extLst>
                <a:ext uri="{FF2B5EF4-FFF2-40B4-BE49-F238E27FC236}">
                  <a16:creationId xmlns:a16="http://schemas.microsoft.com/office/drawing/2014/main" id="{996EF72D-77ED-2942-83AD-08D7183F1579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9" name="Rechteck 428">
              <a:extLst>
                <a:ext uri="{FF2B5EF4-FFF2-40B4-BE49-F238E27FC236}">
                  <a16:creationId xmlns:a16="http://schemas.microsoft.com/office/drawing/2014/main" id="{0631EC10-D54D-7B10-7404-EFC2E1BC4D78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0" name="Rechteck 429">
              <a:extLst>
                <a:ext uri="{FF2B5EF4-FFF2-40B4-BE49-F238E27FC236}">
                  <a16:creationId xmlns:a16="http://schemas.microsoft.com/office/drawing/2014/main" id="{CCA997D9-D344-2D0A-D222-2FEE2B8D7A15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1" name="Rechteck 430">
              <a:extLst>
                <a:ext uri="{FF2B5EF4-FFF2-40B4-BE49-F238E27FC236}">
                  <a16:creationId xmlns:a16="http://schemas.microsoft.com/office/drawing/2014/main" id="{F72E513D-CA70-E03D-5E7D-2314CA362880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2" name="Rechteck 431">
              <a:extLst>
                <a:ext uri="{FF2B5EF4-FFF2-40B4-BE49-F238E27FC236}">
                  <a16:creationId xmlns:a16="http://schemas.microsoft.com/office/drawing/2014/main" id="{10B60DE1-666F-87BA-BACB-B0676BF1C96F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3" name="Rechteck 432">
              <a:extLst>
                <a:ext uri="{FF2B5EF4-FFF2-40B4-BE49-F238E27FC236}">
                  <a16:creationId xmlns:a16="http://schemas.microsoft.com/office/drawing/2014/main" id="{FCA2B3EC-EB8A-2CA4-6E48-44E2EC63EEE3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4" name="Rechteck 433">
              <a:extLst>
                <a:ext uri="{FF2B5EF4-FFF2-40B4-BE49-F238E27FC236}">
                  <a16:creationId xmlns:a16="http://schemas.microsoft.com/office/drawing/2014/main" id="{252ABFC4-EFC3-000C-5AA2-11A006BFA3F7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5" name="Rechteck 434">
              <a:extLst>
                <a:ext uri="{FF2B5EF4-FFF2-40B4-BE49-F238E27FC236}">
                  <a16:creationId xmlns:a16="http://schemas.microsoft.com/office/drawing/2014/main" id="{27092503-557F-D776-DED7-2732FE6D0263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6" name="Rechteck 435">
              <a:extLst>
                <a:ext uri="{FF2B5EF4-FFF2-40B4-BE49-F238E27FC236}">
                  <a16:creationId xmlns:a16="http://schemas.microsoft.com/office/drawing/2014/main" id="{EF1C5E2C-DA16-6C0D-BA3B-AA076F00C448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7" name="Rechteck 436">
              <a:extLst>
                <a:ext uri="{FF2B5EF4-FFF2-40B4-BE49-F238E27FC236}">
                  <a16:creationId xmlns:a16="http://schemas.microsoft.com/office/drawing/2014/main" id="{8C8CA615-4D21-64D2-235A-2B75991C149F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8" name="Rechteck 437">
              <a:extLst>
                <a:ext uri="{FF2B5EF4-FFF2-40B4-BE49-F238E27FC236}">
                  <a16:creationId xmlns:a16="http://schemas.microsoft.com/office/drawing/2014/main" id="{BED583A2-B635-BD52-307A-368D9C757A95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9" name="Rechteck 438">
              <a:extLst>
                <a:ext uri="{FF2B5EF4-FFF2-40B4-BE49-F238E27FC236}">
                  <a16:creationId xmlns:a16="http://schemas.microsoft.com/office/drawing/2014/main" id="{8BDAB217-CBAD-1185-D56E-6C247685BF90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0" name="Rechteck 439">
              <a:extLst>
                <a:ext uri="{FF2B5EF4-FFF2-40B4-BE49-F238E27FC236}">
                  <a16:creationId xmlns:a16="http://schemas.microsoft.com/office/drawing/2014/main" id="{F4C79D80-DB83-8C74-F89F-4191B507522B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1" name="Rechteck 440">
              <a:extLst>
                <a:ext uri="{FF2B5EF4-FFF2-40B4-BE49-F238E27FC236}">
                  <a16:creationId xmlns:a16="http://schemas.microsoft.com/office/drawing/2014/main" id="{821A838F-9907-5F7D-2E3D-4C196084BE81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2" name="Rechteck 441">
              <a:extLst>
                <a:ext uri="{FF2B5EF4-FFF2-40B4-BE49-F238E27FC236}">
                  <a16:creationId xmlns:a16="http://schemas.microsoft.com/office/drawing/2014/main" id="{1D7DF9D5-C0ED-3DD2-9ABB-C3789A3BAEEA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3" name="Rechteck 442">
              <a:extLst>
                <a:ext uri="{FF2B5EF4-FFF2-40B4-BE49-F238E27FC236}">
                  <a16:creationId xmlns:a16="http://schemas.microsoft.com/office/drawing/2014/main" id="{5AC73D31-377E-E09B-A2FC-C0FB8F62488D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pic>
        <p:nvPicPr>
          <p:cNvPr id="444" name="Logo">
            <a:extLst>
              <a:ext uri="{FF2B5EF4-FFF2-40B4-BE49-F238E27FC236}">
                <a16:creationId xmlns:a16="http://schemas.microsoft.com/office/drawing/2014/main" id="{CE584E9F-DEC8-A5CF-4775-B6BFA1E3E6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  <p:grpSp>
        <p:nvGrpSpPr>
          <p:cNvPr id="447" name="Gruppieren 446">
            <a:extLst>
              <a:ext uri="{FF2B5EF4-FFF2-40B4-BE49-F238E27FC236}">
                <a16:creationId xmlns:a16="http://schemas.microsoft.com/office/drawing/2014/main" id="{9221AE83-A768-FF01-7E3B-1F4CCD5E25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1" y="2082829"/>
            <a:ext cx="2448000" cy="0"/>
            <a:chOff x="983432" y="2082829"/>
            <a:chExt cx="2448000" cy="0"/>
          </a:xfrm>
        </p:grpSpPr>
        <p:cxnSp>
          <p:nvCxnSpPr>
            <p:cNvPr id="448" name="Line">
              <a:extLst>
                <a:ext uri="{FF2B5EF4-FFF2-40B4-BE49-F238E27FC236}">
                  <a16:creationId xmlns:a16="http://schemas.microsoft.com/office/drawing/2014/main" id="{86031114-3701-5696-C982-5ABBF728528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9" name="Line">
              <a:extLst>
                <a:ext uri="{FF2B5EF4-FFF2-40B4-BE49-F238E27FC236}">
                  <a16:creationId xmlns:a16="http://schemas.microsoft.com/office/drawing/2014/main" id="{6F3E068D-F556-32C3-9957-7CB9998D428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rgbClr val="519FB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0" name="Shape">
            <a:extLst>
              <a:ext uri="{FF2B5EF4-FFF2-40B4-BE49-F238E27FC236}">
                <a16:creationId xmlns:a16="http://schemas.microsoft.com/office/drawing/2014/main" id="{837136DD-75B7-A9DA-2446-136A878556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0848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451" name="Shape">
            <a:extLst>
              <a:ext uri="{FF2B5EF4-FFF2-40B4-BE49-F238E27FC236}">
                <a16:creationId xmlns:a16="http://schemas.microsoft.com/office/drawing/2014/main" id="{7B55139D-F664-9DDA-93E0-37843A536C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9" y="2061400"/>
            <a:ext cx="5760640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rgbClr val="519FBC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452" name="Title">
            <a:extLst>
              <a:ext uri="{FF2B5EF4-FFF2-40B4-BE49-F238E27FC236}">
                <a16:creationId xmlns:a16="http://schemas.microsoft.com/office/drawing/2014/main" id="{774EE29A-906D-1695-B556-7921AE38B61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656384" y="2205159"/>
            <a:ext cx="4896000" cy="1368000"/>
          </a:xfrm>
          <a:prstGeom prst="rect">
            <a:avLst/>
          </a:prstGeom>
        </p:spPr>
        <p:txBody>
          <a:bodyPr vert="horz" tIns="54000" anchor="t">
            <a:noAutofit/>
          </a:bodyPr>
          <a:lstStyle>
            <a:lvl1pPr algn="l" rtl="0">
              <a:lnSpc>
                <a:spcPct val="90000"/>
              </a:lnSpc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Insert your long title of presentation here in maximal three lines</a:t>
            </a:r>
            <a:endParaRPr lang="en-US" dirty="0"/>
          </a:p>
        </p:txBody>
      </p:sp>
      <p:sp>
        <p:nvSpPr>
          <p:cNvPr id="453" name="Subtitle 2">
            <a:extLst>
              <a:ext uri="{FF2B5EF4-FFF2-40B4-BE49-F238E27FC236}">
                <a16:creationId xmlns:a16="http://schemas.microsoft.com/office/drawing/2014/main" id="{382A9A11-D3F4-D45B-BFB1-A6B1DFAB09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656384" y="3789160"/>
            <a:ext cx="4320000" cy="1080000"/>
          </a:xfrm>
          <a:prstGeom prst="rect">
            <a:avLst/>
          </a:prstGeom>
        </p:spPr>
        <p:txBody>
          <a:bodyPr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445" name="Author">
            <a:extLst>
              <a:ext uri="{FF2B5EF4-FFF2-40B4-BE49-F238E27FC236}">
                <a16:creationId xmlns:a16="http://schemas.microsoft.com/office/drawing/2014/main" id="{931527DE-A27C-5CCB-6547-4533CCC98E2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400" y="2348992"/>
            <a:ext cx="2520280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US"/>
              <a:t>First name Last name</a:t>
            </a:r>
            <a:endParaRPr lang="en-US" dirty="0"/>
          </a:p>
        </p:txBody>
      </p:sp>
      <p:sp>
        <p:nvSpPr>
          <p:cNvPr id="446" name="Department, Date">
            <a:extLst>
              <a:ext uri="{FF2B5EF4-FFF2-40B4-BE49-F238E27FC236}">
                <a16:creationId xmlns:a16="http://schemas.microsoft.com/office/drawing/2014/main" id="{BAD87A5D-873C-7705-7929-63D50E45AD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2564992"/>
            <a:ext cx="2520280" cy="792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US"/>
              <a:t>Department</a:t>
            </a:r>
            <a:br>
              <a:rPr lang="en-US"/>
            </a:br>
            <a:r>
              <a:rPr lang="en-US"/>
              <a:t>DD/MM/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11284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with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8DE867A-6453-3A06-50A7-65B3B75659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714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DE867A-6453-3A06-50A7-65B3B7565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3EA170A1-4423-F4C6-500F-3145AE3828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8F9A7ED9-7286-8649-7774-5D0D889A87BF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07BDB0AE-6D7D-063A-423B-2DA85D85065F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B9BB24B7-363D-13CE-75F6-0A9229C85E04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16488B6B-5B17-3459-E2BF-582505FCE521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1388798B-622C-8840-BDA9-799DB20F5489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C62B9EE3-10E8-CAAF-D42C-424FA15DCE1E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2" name="Rechteck 171">
              <a:extLst>
                <a:ext uri="{FF2B5EF4-FFF2-40B4-BE49-F238E27FC236}">
                  <a16:creationId xmlns:a16="http://schemas.microsoft.com/office/drawing/2014/main" id="{06DB4BEF-B2C3-E72D-6B32-BE802F334D6D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3" name="Rechteck 172">
              <a:extLst>
                <a:ext uri="{FF2B5EF4-FFF2-40B4-BE49-F238E27FC236}">
                  <a16:creationId xmlns:a16="http://schemas.microsoft.com/office/drawing/2014/main" id="{AA2F0287-601F-80BE-334E-0F392AE93FB8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2623B37D-D66B-8B31-8F87-FA3A8624C43A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2BC135E4-A194-F024-71C6-12FF3C94C8F1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C5CBD600-BB02-66AD-B72E-E912874D5DF7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0A286494-D2FC-4204-E3FF-6A01D186EE65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3" name="Rechteck 212">
              <a:extLst>
                <a:ext uri="{FF2B5EF4-FFF2-40B4-BE49-F238E27FC236}">
                  <a16:creationId xmlns:a16="http://schemas.microsoft.com/office/drawing/2014/main" id="{CE379752-545E-246F-5C79-F5BFEAD16710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CC874455-D846-1FD2-E5AB-1F6A869D3626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5" name="Rechteck 214">
              <a:extLst>
                <a:ext uri="{FF2B5EF4-FFF2-40B4-BE49-F238E27FC236}">
                  <a16:creationId xmlns:a16="http://schemas.microsoft.com/office/drawing/2014/main" id="{8102D552-D8D2-81C9-DD70-C9BB051F4A8B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6" name="Rechteck 215">
              <a:extLst>
                <a:ext uri="{FF2B5EF4-FFF2-40B4-BE49-F238E27FC236}">
                  <a16:creationId xmlns:a16="http://schemas.microsoft.com/office/drawing/2014/main" id="{AD65C6B9-D5C8-6461-4F17-336B24B26A4F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7" name="Rechteck 216">
              <a:extLst>
                <a:ext uri="{FF2B5EF4-FFF2-40B4-BE49-F238E27FC236}">
                  <a16:creationId xmlns:a16="http://schemas.microsoft.com/office/drawing/2014/main" id="{D7EF7ABE-0112-0298-8A33-AFFE09D2EE66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8" name="Rechteck 217">
              <a:extLst>
                <a:ext uri="{FF2B5EF4-FFF2-40B4-BE49-F238E27FC236}">
                  <a16:creationId xmlns:a16="http://schemas.microsoft.com/office/drawing/2014/main" id="{89BD8482-299E-3C29-82DE-051930B8F3CC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9" name="Rechteck 218">
              <a:extLst>
                <a:ext uri="{FF2B5EF4-FFF2-40B4-BE49-F238E27FC236}">
                  <a16:creationId xmlns:a16="http://schemas.microsoft.com/office/drawing/2014/main" id="{5DDD6DE0-6399-2D19-6AA5-A0A73E9CB1F5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0" name="Rechteck 219">
              <a:extLst>
                <a:ext uri="{FF2B5EF4-FFF2-40B4-BE49-F238E27FC236}">
                  <a16:creationId xmlns:a16="http://schemas.microsoft.com/office/drawing/2014/main" id="{EA89F9E9-F17E-9D3B-FD84-313706BE4942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1" name="Rechteck 220">
              <a:extLst>
                <a:ext uri="{FF2B5EF4-FFF2-40B4-BE49-F238E27FC236}">
                  <a16:creationId xmlns:a16="http://schemas.microsoft.com/office/drawing/2014/main" id="{03A43D4F-53CA-91DF-6C6B-4E8D3AB742C3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2" name="Rechteck 221">
              <a:extLst>
                <a:ext uri="{FF2B5EF4-FFF2-40B4-BE49-F238E27FC236}">
                  <a16:creationId xmlns:a16="http://schemas.microsoft.com/office/drawing/2014/main" id="{376F5110-1B4D-0245-5C53-DB905ABC4069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3" name="Rechteck 222">
              <a:extLst>
                <a:ext uri="{FF2B5EF4-FFF2-40B4-BE49-F238E27FC236}">
                  <a16:creationId xmlns:a16="http://schemas.microsoft.com/office/drawing/2014/main" id="{97CC33A9-C00F-2E61-DE44-37C32D3F8D08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4" name="Rechteck 223">
              <a:extLst>
                <a:ext uri="{FF2B5EF4-FFF2-40B4-BE49-F238E27FC236}">
                  <a16:creationId xmlns:a16="http://schemas.microsoft.com/office/drawing/2014/main" id="{83BF6E78-8B6D-1DA7-D2E8-3E8952EBA34B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F2359465-2A3F-55E4-E4C4-480BB0AD6ABB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AB47656F-B219-3FE2-316F-97A7FBD809A7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7" name="Rechteck 226">
              <a:extLst>
                <a:ext uri="{FF2B5EF4-FFF2-40B4-BE49-F238E27FC236}">
                  <a16:creationId xmlns:a16="http://schemas.microsoft.com/office/drawing/2014/main" id="{2F733CAD-BD14-6530-D2F5-F50B70CAFEEB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C81D05D2-190E-3ED8-BA33-54A72C165314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9" name="Rechteck 228">
              <a:extLst>
                <a:ext uri="{FF2B5EF4-FFF2-40B4-BE49-F238E27FC236}">
                  <a16:creationId xmlns:a16="http://schemas.microsoft.com/office/drawing/2014/main" id="{DAE5FBF8-0C2E-349D-2D4E-D58B39D7F5B4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0" name="Rechteck 229">
              <a:extLst>
                <a:ext uri="{FF2B5EF4-FFF2-40B4-BE49-F238E27FC236}">
                  <a16:creationId xmlns:a16="http://schemas.microsoft.com/office/drawing/2014/main" id="{CC3EA17C-0660-33DC-A2B0-EA6F758EDB60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1" name="Rechteck 230">
              <a:extLst>
                <a:ext uri="{FF2B5EF4-FFF2-40B4-BE49-F238E27FC236}">
                  <a16:creationId xmlns:a16="http://schemas.microsoft.com/office/drawing/2014/main" id="{6AD70C4A-C759-8B85-1805-C192A035DA89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2" name="Rechteck 231">
              <a:extLst>
                <a:ext uri="{FF2B5EF4-FFF2-40B4-BE49-F238E27FC236}">
                  <a16:creationId xmlns:a16="http://schemas.microsoft.com/office/drawing/2014/main" id="{063D4C1E-C1C9-029E-8037-F2E93F5FC4D1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3" name="Rechteck 232">
              <a:extLst>
                <a:ext uri="{FF2B5EF4-FFF2-40B4-BE49-F238E27FC236}">
                  <a16:creationId xmlns:a16="http://schemas.microsoft.com/office/drawing/2014/main" id="{9762FE81-0A13-5BE2-EEF4-8B02DAE700CE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4" name="Rechteck 233">
              <a:extLst>
                <a:ext uri="{FF2B5EF4-FFF2-40B4-BE49-F238E27FC236}">
                  <a16:creationId xmlns:a16="http://schemas.microsoft.com/office/drawing/2014/main" id="{1E12CABC-83ED-96AF-BB2A-F3F91271C0CB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5" name="Rechteck 234">
              <a:extLst>
                <a:ext uri="{FF2B5EF4-FFF2-40B4-BE49-F238E27FC236}">
                  <a16:creationId xmlns:a16="http://schemas.microsoft.com/office/drawing/2014/main" id="{EE2F7B54-6901-A78E-B6B3-0DFBEF07500A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6" name="Rechteck 235">
              <a:extLst>
                <a:ext uri="{FF2B5EF4-FFF2-40B4-BE49-F238E27FC236}">
                  <a16:creationId xmlns:a16="http://schemas.microsoft.com/office/drawing/2014/main" id="{C489EACA-89A4-909A-E4F1-A47A8A3161C8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7" name="Rechteck 236">
              <a:extLst>
                <a:ext uri="{FF2B5EF4-FFF2-40B4-BE49-F238E27FC236}">
                  <a16:creationId xmlns:a16="http://schemas.microsoft.com/office/drawing/2014/main" id="{C07DFF4E-7365-73BF-0A42-43F028956E2A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8" name="Rechteck 237">
              <a:extLst>
                <a:ext uri="{FF2B5EF4-FFF2-40B4-BE49-F238E27FC236}">
                  <a16:creationId xmlns:a16="http://schemas.microsoft.com/office/drawing/2014/main" id="{32D01550-51E4-F9C7-BB30-97C36137806D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9" name="Rechteck 238">
              <a:extLst>
                <a:ext uri="{FF2B5EF4-FFF2-40B4-BE49-F238E27FC236}">
                  <a16:creationId xmlns:a16="http://schemas.microsoft.com/office/drawing/2014/main" id="{6C2110C4-B154-7572-17F7-54B9F6343BCF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0" name="Rechteck 239">
              <a:extLst>
                <a:ext uri="{FF2B5EF4-FFF2-40B4-BE49-F238E27FC236}">
                  <a16:creationId xmlns:a16="http://schemas.microsoft.com/office/drawing/2014/main" id="{65FC02A0-CDA2-ED50-E9DE-DFEF95E295CE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1" name="Rechteck 240">
              <a:extLst>
                <a:ext uri="{FF2B5EF4-FFF2-40B4-BE49-F238E27FC236}">
                  <a16:creationId xmlns:a16="http://schemas.microsoft.com/office/drawing/2014/main" id="{0D73D565-D87F-727C-D035-32302B8DDF7D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2" name="Rechteck 241">
              <a:extLst>
                <a:ext uri="{FF2B5EF4-FFF2-40B4-BE49-F238E27FC236}">
                  <a16:creationId xmlns:a16="http://schemas.microsoft.com/office/drawing/2014/main" id="{5DB75C24-8953-8306-7020-428BAB7852C8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3" name="Rechteck 242">
              <a:extLst>
                <a:ext uri="{FF2B5EF4-FFF2-40B4-BE49-F238E27FC236}">
                  <a16:creationId xmlns:a16="http://schemas.microsoft.com/office/drawing/2014/main" id="{203D67A6-B7EB-5136-94C3-EA0BF69B3B54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4" name="Rechteck 243">
              <a:extLst>
                <a:ext uri="{FF2B5EF4-FFF2-40B4-BE49-F238E27FC236}">
                  <a16:creationId xmlns:a16="http://schemas.microsoft.com/office/drawing/2014/main" id="{2163CFB7-5F82-A31F-D3EE-618BFEF5B017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5" name="Rechteck 244">
              <a:extLst>
                <a:ext uri="{FF2B5EF4-FFF2-40B4-BE49-F238E27FC236}">
                  <a16:creationId xmlns:a16="http://schemas.microsoft.com/office/drawing/2014/main" id="{9F193E44-CAA7-B01F-BC57-DC80DDDFB615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6" name="Rechteck 245">
              <a:extLst>
                <a:ext uri="{FF2B5EF4-FFF2-40B4-BE49-F238E27FC236}">
                  <a16:creationId xmlns:a16="http://schemas.microsoft.com/office/drawing/2014/main" id="{47510407-E389-B654-625C-5A7A93FE98C4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7" name="Rechteck 246">
              <a:extLst>
                <a:ext uri="{FF2B5EF4-FFF2-40B4-BE49-F238E27FC236}">
                  <a16:creationId xmlns:a16="http://schemas.microsoft.com/office/drawing/2014/main" id="{7FC8A40D-D427-9AFC-B3C7-41CCF6CD466B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8" name="Rechteck 247">
              <a:extLst>
                <a:ext uri="{FF2B5EF4-FFF2-40B4-BE49-F238E27FC236}">
                  <a16:creationId xmlns:a16="http://schemas.microsoft.com/office/drawing/2014/main" id="{26B88DD2-9109-E831-0841-601BF1FA7B2C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9" name="Rechteck 248">
              <a:extLst>
                <a:ext uri="{FF2B5EF4-FFF2-40B4-BE49-F238E27FC236}">
                  <a16:creationId xmlns:a16="http://schemas.microsoft.com/office/drawing/2014/main" id="{CD749397-B9EC-5FD0-902E-CAD57D49C0EE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0" name="Rechteck 249">
              <a:extLst>
                <a:ext uri="{FF2B5EF4-FFF2-40B4-BE49-F238E27FC236}">
                  <a16:creationId xmlns:a16="http://schemas.microsoft.com/office/drawing/2014/main" id="{5024123C-6F9D-8372-AD84-AD9E2F462AF7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1" name="Rechteck 250">
              <a:extLst>
                <a:ext uri="{FF2B5EF4-FFF2-40B4-BE49-F238E27FC236}">
                  <a16:creationId xmlns:a16="http://schemas.microsoft.com/office/drawing/2014/main" id="{5DCF876E-C335-3764-E89B-B1ED0F96CAE8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2" name="Rechteck 251">
              <a:extLst>
                <a:ext uri="{FF2B5EF4-FFF2-40B4-BE49-F238E27FC236}">
                  <a16:creationId xmlns:a16="http://schemas.microsoft.com/office/drawing/2014/main" id="{E6D0406F-2E48-9855-2CD8-63227F7F94C2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3" name="Rechteck 252">
              <a:extLst>
                <a:ext uri="{FF2B5EF4-FFF2-40B4-BE49-F238E27FC236}">
                  <a16:creationId xmlns:a16="http://schemas.microsoft.com/office/drawing/2014/main" id="{DBE92752-E387-51EA-AE6C-DDB914F6ED82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4" name="Rechteck 253">
              <a:extLst>
                <a:ext uri="{FF2B5EF4-FFF2-40B4-BE49-F238E27FC236}">
                  <a16:creationId xmlns:a16="http://schemas.microsoft.com/office/drawing/2014/main" id="{DB70EF8E-2736-54B6-1A28-9E872B614BD0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5" name="Rechteck 254">
              <a:extLst>
                <a:ext uri="{FF2B5EF4-FFF2-40B4-BE49-F238E27FC236}">
                  <a16:creationId xmlns:a16="http://schemas.microsoft.com/office/drawing/2014/main" id="{DD96CF14-8240-B111-3654-F100E5B0897F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753750F4-D006-B5BD-F74A-5DDA4ABD9A68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D19DD8D4-9182-BF8F-167D-43D8CB98793B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9DB73881-58B9-611E-1FC3-3DA64CDA4917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38284B60-9AE2-5E94-6B35-2CF0055BCF4E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336BB29B-67DD-E991-2962-CE9BB66DC003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5A0AFCE4-BCCF-4C79-9EA5-936A8256A7A0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527A5B54-2A06-29A5-3D51-3C33495CE418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D4A05010-AACA-E9B3-AB3E-990549846A7E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657C9670-FE1C-B149-177C-216EE30408A8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D338BE36-C646-CBC8-13B8-0ABA1E4DC708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BAFBF828-5EE1-7F1A-D8C1-1A7D2040B0F2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406621AC-61FB-8E6A-8BEC-778BD5BBED33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F8E98E1C-178B-A9D5-8D3E-A79AADC65343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82CC8B68-52C2-B1CF-1EE0-523AAA824B42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0" name="Rechteck 269">
              <a:extLst>
                <a:ext uri="{FF2B5EF4-FFF2-40B4-BE49-F238E27FC236}">
                  <a16:creationId xmlns:a16="http://schemas.microsoft.com/office/drawing/2014/main" id="{A205CDB0-5C2C-1CF5-FE19-D2AB5D00E88A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1" name="Rechteck 270">
              <a:extLst>
                <a:ext uri="{FF2B5EF4-FFF2-40B4-BE49-F238E27FC236}">
                  <a16:creationId xmlns:a16="http://schemas.microsoft.com/office/drawing/2014/main" id="{FC9EB7BC-120A-AE16-DF44-849CD91448D9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C6CB98EB-D01F-36CE-7F2E-3787636617EE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A7036271-D068-844D-27F2-2BA47ABA9B70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AB66B896-A79C-B7C1-FFD3-AFBAF236EA95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319E3659-6EBA-D85F-3660-51A2A43C8FA4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3DACA6CE-C7CF-F659-BD89-CB358E21050A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65DB28A3-E9D7-A075-3E5E-90397CE8E2CD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8956E333-68BD-7C99-92A6-94A24867B733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B70C34CA-C4E1-5A90-B8E0-891BD73D56F1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B0AA5FBD-66EC-2C77-E3D1-BB62B6B885CF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EADA99BD-EE71-3A02-A27C-F27598E3A81D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8DF6023A-B18A-0A0F-F85A-A745A164916B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3" name="Rechteck 282">
              <a:extLst>
                <a:ext uri="{FF2B5EF4-FFF2-40B4-BE49-F238E27FC236}">
                  <a16:creationId xmlns:a16="http://schemas.microsoft.com/office/drawing/2014/main" id="{06CF5F04-3EC9-FB23-5AE4-95462F73EE5B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21693DA1-6D2F-8663-43B1-899C89519079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A3CB7A5A-D761-3830-436A-A89D53CC4248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B13ECF14-25B7-5102-0133-A3C70E4A87FA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9D042395-ED01-7719-1F11-1BC78894EF26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55617FB2-F56D-2A1D-9804-1CF4FFD054F1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D4496687-D342-4B9C-9B17-A9B2391BECC8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9CBD70A1-170A-1C00-6E60-2958555EBCEC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21384AC3-36F3-33EA-C100-ACFCD38DD957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A5F05B10-9A69-883B-C44B-1C279E9819F7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9BDC6FE6-BFC7-5BE2-424B-C10BB724EFA3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9BC1547B-2F7B-63BF-F077-775271EC746D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00DED609-89FF-F79D-6153-E8DE1E222C10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6C2CAC04-8D4C-1103-112E-D80BD8F50498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058DC296-F846-6A59-4AB5-0303C0DE2D29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8522089B-D71F-7094-4D84-8306A973517A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9DA9884B-9C2B-1292-9992-4E665EABE562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6E754E28-2328-2EA6-0E28-217234FC7354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16516D6B-2B8D-9FF9-AB31-DDE9212D6479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7A069318-7D51-5A4C-B98E-F1D1B43D302B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C5D69EDB-B1C0-FFDC-3FC3-8A98C70562E9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BFB4002F-4963-BDB3-4E56-105422C7BD5A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048C6A69-56B3-AD4D-5735-32629D214E18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61235075-3BBE-4A08-8553-E8888A16F2C4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3019E7CB-EDC6-429D-4C22-3AA4D5E8D331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3A252333-2869-05FE-7882-FE2252FF56DE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8BFAE692-BD08-AEAD-8898-7A26A0EC35CA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9631059C-EAD9-CF53-C114-40076D424E9F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22335228-E4D1-52B6-E10A-764BC7FF0203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61ED5946-4A19-ABBC-15EE-8FD5BED81E46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DB8D6881-BC50-BA8E-F57D-2D877080829D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1D6031E0-9D48-4BDC-E328-E147B9F278C7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557A8659-5248-D8D4-8863-7A26B1085923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EC432710-C86C-8ECC-DFAA-707A2F250786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0EF44DB3-26A2-071B-1418-AA69FD87FE23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E504CD39-D23A-CB50-0267-30DE16278BC3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98755E14-F3BD-452B-264D-7336C681A0B8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C574A574-B4D1-DB21-98B9-CA85FDDA3797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6353AD79-BEB9-11F8-F330-DCCA33FDD6E3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E56D6FB5-5CEA-0C89-9977-7319111B9C55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4939AEA6-F5FD-3041-BACC-EEFFB9021F88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4160B37B-A7EB-BAD6-67D3-FBFF320D7BD1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DA389E02-D552-A069-DA54-AEDB52ED0FBF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A9501410-81B4-E0FF-F2F0-D9F71BC70E53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E2BF919A-65CC-DFDD-F1EF-E80CCF5EF212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CEDBD0C9-25D0-D633-3B57-51B4030CAB9D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BDCEDAA0-C3B8-27FD-C07A-B50E2EA989FA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5C5D116F-C767-08B0-761D-8DCBFCF16C6A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698CB4BE-731E-7E54-A1E3-32AE4A657EA3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6793CDDA-E53C-6135-3E82-9E50C2EA80AC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7D948FB8-EB21-BFCC-0EAD-AD6B99CD05ED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06C2D570-A3B9-55B3-7F2B-2141D3266BC4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970B911A-C6B6-4F77-5252-66215D395EA7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F3B0AF60-4A1B-03BE-44FA-E7711311586A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ED0D112D-98CA-72BC-DEF2-9BA1212728E9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3239A8E7-3EEE-9596-62CE-7914D40BBF29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D45C6426-3F7B-66FF-FB15-B2B752C114FC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8967770E-2DB7-6C5B-ECD7-C29118036CE1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93B2FAE4-0CA9-E08A-44CE-8088D0FAE1C6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AE59367B-9C5C-6AE8-3CE0-976BE5F08C50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A38D82D7-4846-5522-3BB2-82BDCD031394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11EF7213-B967-DA8A-D3A8-F51C82BC9E4E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103F497E-2F66-B02E-EDCA-F93DDCA9DDCF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5020FA8D-BF5B-A886-3993-238E9B82B1AF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B9FD24EE-C282-9FC3-9215-0543EF099B33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B80E86D0-75DC-A3EA-CD60-8316CC8D0BA4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012CBBF0-3AC5-4B7A-2AA4-0FDD4A48D256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5EE1CF2F-BBBD-4BB8-BAB7-E4453687E325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BC482399-9B66-1B6B-70FC-64778436AC36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70F7B8B4-A983-A82F-0669-72F3A2286AD9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24290A93-C7A3-756C-90FD-59586732AF36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DBEF970C-0518-400E-484C-2C7AD909E003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C041C441-B09A-2689-C196-688B52CB586F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B83D06A3-BDB4-6D1A-642D-E92F6189CF06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057444D3-FAFE-8795-5D85-49031EDD6B06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7679093C-A61F-49F2-ADCA-E7EAA1C2BFE0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7CF8B7B7-B97A-8A81-437B-DBDC9D539AB0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3FA869D7-E972-16C8-E682-28B43606E275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99EFD6BF-452D-2553-8D2C-D4EE715C1D95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97C39930-5D19-8695-5031-B6F292FD9013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94DF4504-C3DD-4FFD-BC3C-4FAD0B1A3FBF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48C6A062-EED7-DA73-6526-384CCA180B55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E48AB336-A11E-B6DD-E053-64C8F5E16C14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4B66FD45-5324-E23F-3FC2-643C1C0EA2EF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9387DBA9-E7CD-BC38-4E6B-3FB6F0BC490C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5D782FCE-D785-AF04-6029-AAB67B7148F5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652FEE84-44C9-17AF-9C4C-91572343FB00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FC635059-86F0-09F2-2527-FF38931FE781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CEFD5084-9534-9201-2F37-FABADAD98E47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D4E7FE9F-DAA5-2F78-AF42-0BF4D6C1FC85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D314CFC7-F3F0-FA6E-315F-74273B4716EF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409796D9-EB16-D3B2-098E-B1A2C44252B2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A05090FF-BCEB-EC24-A649-25B329D66DC1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A656BEEB-61EC-01A6-8E77-1930C98056A7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28931C63-D512-894C-9778-A3BF909A7E63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1D592C88-D0B0-FF5C-A2E5-DFC8FEE6D3F6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70F7B22F-8D4C-6AEF-B953-DA9BB2F55E7C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1D824D44-72EB-B1FC-D3F2-FBE7A2AC2443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D88AE0EF-B654-FAE4-7287-8CEAB01860B4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12E7BEF8-DE80-CE26-7479-263207220B93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0AA2A119-2AE1-9327-1E52-116EED470A0A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EB65D399-662A-C52F-5CBA-AA3B56F9A937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22B798B1-C202-E51E-E357-0006025EE7F9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702743F5-C633-6518-9DCC-15131B3E8956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6BD67DF8-5129-C31D-4838-0EE68547D57B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80468885-8DFF-67E1-85A6-A926BEDB28C5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62E9B93D-855E-2B79-D038-00D719C2D46C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pic>
        <p:nvPicPr>
          <p:cNvPr id="390" name="Logo">
            <a:extLst>
              <a:ext uri="{FF2B5EF4-FFF2-40B4-BE49-F238E27FC236}">
                <a16:creationId xmlns:a16="http://schemas.microsoft.com/office/drawing/2014/main" id="{AE107197-3230-4C0B-CC9F-643D59057B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  <p:grpSp>
        <p:nvGrpSpPr>
          <p:cNvPr id="391" name="Gruppieren 390">
            <a:extLst>
              <a:ext uri="{FF2B5EF4-FFF2-40B4-BE49-F238E27FC236}">
                <a16:creationId xmlns:a16="http://schemas.microsoft.com/office/drawing/2014/main" id="{9D39E8C0-47E1-D3BF-A135-6011FBD331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1" y="2082829"/>
            <a:ext cx="2448000" cy="0"/>
            <a:chOff x="983432" y="2082829"/>
            <a:chExt cx="2448000" cy="0"/>
          </a:xfrm>
        </p:grpSpPr>
        <p:cxnSp>
          <p:nvCxnSpPr>
            <p:cNvPr id="392" name="Line">
              <a:extLst>
                <a:ext uri="{FF2B5EF4-FFF2-40B4-BE49-F238E27FC236}">
                  <a16:creationId xmlns:a16="http://schemas.microsoft.com/office/drawing/2014/main" id="{BB6745BF-F3AE-B55A-BCCB-019C25744B3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3" name="Line">
              <a:extLst>
                <a:ext uri="{FF2B5EF4-FFF2-40B4-BE49-F238E27FC236}">
                  <a16:creationId xmlns:a16="http://schemas.microsoft.com/office/drawing/2014/main" id="{9F8DFFE7-E201-6CBC-EF69-318AD77ED5E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4" name="Shape">
            <a:extLst>
              <a:ext uri="{FF2B5EF4-FFF2-40B4-BE49-F238E27FC236}">
                <a16:creationId xmlns:a16="http://schemas.microsoft.com/office/drawing/2014/main" id="{81ADCD7E-CD51-40F1-70C3-287E5126BB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0848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397" name="Bildplatzhalter 396">
            <a:extLst>
              <a:ext uri="{FF2B5EF4-FFF2-40B4-BE49-F238E27FC236}">
                <a16:creationId xmlns:a16="http://schemas.microsoft.com/office/drawing/2014/main" id="{7462A7CC-E7E5-7E2F-7A8E-26525629BE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367809" y="2061400"/>
            <a:ext cx="5760640" cy="3463099"/>
          </a:xfrm>
          <a:custGeom>
            <a:avLst/>
            <a:gdLst>
              <a:gd name="connsiteX0" fmla="*/ 5760640 w 5760640"/>
              <a:gd name="connsiteY0" fmla="*/ 0 h 3463099"/>
              <a:gd name="connsiteX1" fmla="*/ 4609453 w 5760640"/>
              <a:gd name="connsiteY1" fmla="*/ 2311556 h 3463099"/>
              <a:gd name="connsiteX2" fmla="*/ 0 w 5760640"/>
              <a:gd name="connsiteY2" fmla="*/ 3463099 h 3463099"/>
              <a:gd name="connsiteX3" fmla="*/ 0 w 5760640"/>
              <a:gd name="connsiteY3" fmla="*/ 518 h 3463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60640" h="3463099">
                <a:moveTo>
                  <a:pt x="5760640" y="0"/>
                </a:moveTo>
                <a:lnTo>
                  <a:pt x="4609453" y="2311556"/>
                </a:lnTo>
                <a:lnTo>
                  <a:pt x="0" y="3463099"/>
                </a:lnTo>
                <a:lnTo>
                  <a:pt x="0" y="518"/>
                </a:lnTo>
                <a:close/>
              </a:path>
            </a:pathLst>
          </a:custGeom>
          <a:solidFill>
            <a:srgbClr val="FFA52F"/>
          </a:solidFill>
        </p:spPr>
        <p:txBody>
          <a:bodyPr wrap="square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695400" y="2564904"/>
            <a:ext cx="2952000" cy="1152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36000" rIns="216000" anchor="t">
            <a:noAutofit/>
          </a:bodyPr>
          <a:lstStyle>
            <a:lvl1pPr algn="l" rtl="0">
              <a:lnSpc>
                <a:spcPct val="90000"/>
              </a:lnSpc>
              <a:defRPr sz="2400"/>
            </a:lvl1pPr>
          </a:lstStyle>
          <a:p>
            <a:r>
              <a:rPr lang="en-US"/>
              <a:t>Insert your long title here in max. three lin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695400" y="3717032"/>
            <a:ext cx="2952000" cy="1202385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31" name="Author"/>
          <p:cNvSpPr>
            <a:spLocks noGrp="1"/>
          </p:cNvSpPr>
          <p:nvPr userDrawn="1">
            <p:ph type="body" sz="quarter" idx="14" hasCustomPrompt="1"/>
          </p:nvPr>
        </p:nvSpPr>
        <p:spPr bwMode="gray">
          <a:xfrm>
            <a:off x="695400" y="4869160"/>
            <a:ext cx="2952000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 anchor="b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US"/>
              <a:t>First name Last name</a:t>
            </a:r>
            <a:endParaRPr lang="en-US" dirty="0"/>
          </a:p>
        </p:txBody>
      </p:sp>
      <p:sp>
        <p:nvSpPr>
          <p:cNvPr id="34" name="Department, Date"/>
          <p:cNvSpPr>
            <a:spLocks noGrp="1"/>
          </p:cNvSpPr>
          <p:nvPr userDrawn="1">
            <p:ph type="body" sz="quarter" idx="15" hasCustomPrompt="1"/>
          </p:nvPr>
        </p:nvSpPr>
        <p:spPr bwMode="gray">
          <a:xfrm>
            <a:off x="695400" y="5085160"/>
            <a:ext cx="2952000" cy="720104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US"/>
              <a:t>Department</a:t>
            </a:r>
            <a:br>
              <a:rPr lang="en-US"/>
            </a:br>
            <a:r>
              <a:rPr lang="en-US"/>
              <a:t>DD/MM/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69895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| Magent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467C0D8-E870-1A36-6454-D9394776FD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9024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67C0D8-E870-1A36-6454-D9394776FD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F82CCF50-AC8D-71AA-CBE7-91CD8E4F31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F1D45EF1-1413-2179-1179-9D95C3347955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31ECF7D-4D5E-6CE7-8B6E-6AFE834483D0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5E42FB58-7083-1C5F-E4A0-08F64FC059B2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664E6B38-6346-3095-8090-D2D9E38AB9A2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20F86035-04B5-F5C8-CE41-6579B114C488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938D8A27-30C2-EB83-16AC-C7F5349B5395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2" name="Rechteck 171">
              <a:extLst>
                <a:ext uri="{FF2B5EF4-FFF2-40B4-BE49-F238E27FC236}">
                  <a16:creationId xmlns:a16="http://schemas.microsoft.com/office/drawing/2014/main" id="{16BB91D7-E7B6-EF7A-A1CD-03E0CE9C380E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3" name="Rechteck 172">
              <a:extLst>
                <a:ext uri="{FF2B5EF4-FFF2-40B4-BE49-F238E27FC236}">
                  <a16:creationId xmlns:a16="http://schemas.microsoft.com/office/drawing/2014/main" id="{B74522FD-EAC1-8631-C335-737D38AB4D84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37F35849-A141-C30A-132A-ABA53F763516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F91649A4-3EF4-AF64-04BE-C5197DC40B86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FE505EA5-9AB6-4C84-F856-A92E9AE3962F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2298381E-6F93-21E2-303C-B4CC379F76E2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3" name="Rechteck 212">
              <a:extLst>
                <a:ext uri="{FF2B5EF4-FFF2-40B4-BE49-F238E27FC236}">
                  <a16:creationId xmlns:a16="http://schemas.microsoft.com/office/drawing/2014/main" id="{A9A2761B-9283-EA11-00DE-9E34DA9CA034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39368781-2621-7E6A-AB49-25EAA7A408CC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5" name="Rechteck 214">
              <a:extLst>
                <a:ext uri="{FF2B5EF4-FFF2-40B4-BE49-F238E27FC236}">
                  <a16:creationId xmlns:a16="http://schemas.microsoft.com/office/drawing/2014/main" id="{E799809A-1F99-F902-C843-4C6028CFFA1B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6" name="Rechteck 215">
              <a:extLst>
                <a:ext uri="{FF2B5EF4-FFF2-40B4-BE49-F238E27FC236}">
                  <a16:creationId xmlns:a16="http://schemas.microsoft.com/office/drawing/2014/main" id="{0E6D5FDF-2B76-9E9A-53BA-ED656E72EA7F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7" name="Rechteck 216">
              <a:extLst>
                <a:ext uri="{FF2B5EF4-FFF2-40B4-BE49-F238E27FC236}">
                  <a16:creationId xmlns:a16="http://schemas.microsoft.com/office/drawing/2014/main" id="{EFAE6407-C778-8873-CB85-EE763AAB9F61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8" name="Rechteck 217">
              <a:extLst>
                <a:ext uri="{FF2B5EF4-FFF2-40B4-BE49-F238E27FC236}">
                  <a16:creationId xmlns:a16="http://schemas.microsoft.com/office/drawing/2014/main" id="{1209747A-6209-09A5-CC1D-1194157A6539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9" name="Rechteck 218">
              <a:extLst>
                <a:ext uri="{FF2B5EF4-FFF2-40B4-BE49-F238E27FC236}">
                  <a16:creationId xmlns:a16="http://schemas.microsoft.com/office/drawing/2014/main" id="{507C611C-2D4F-4B39-C4BC-1E8E39B6C2FC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0" name="Rechteck 219">
              <a:extLst>
                <a:ext uri="{FF2B5EF4-FFF2-40B4-BE49-F238E27FC236}">
                  <a16:creationId xmlns:a16="http://schemas.microsoft.com/office/drawing/2014/main" id="{929E5C75-2F11-A324-5C09-A5FFDCCFF3D3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1" name="Rechteck 220">
              <a:extLst>
                <a:ext uri="{FF2B5EF4-FFF2-40B4-BE49-F238E27FC236}">
                  <a16:creationId xmlns:a16="http://schemas.microsoft.com/office/drawing/2014/main" id="{C64C9CC6-3D80-F396-C8ED-0C4A332484AA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2" name="Rechteck 221">
              <a:extLst>
                <a:ext uri="{FF2B5EF4-FFF2-40B4-BE49-F238E27FC236}">
                  <a16:creationId xmlns:a16="http://schemas.microsoft.com/office/drawing/2014/main" id="{29EFDB8E-770D-9D67-90DC-249C243CB8EF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3" name="Rechteck 222">
              <a:extLst>
                <a:ext uri="{FF2B5EF4-FFF2-40B4-BE49-F238E27FC236}">
                  <a16:creationId xmlns:a16="http://schemas.microsoft.com/office/drawing/2014/main" id="{852EAC4E-0B42-47E7-B0B0-302D2D8321EE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4" name="Rechteck 223">
              <a:extLst>
                <a:ext uri="{FF2B5EF4-FFF2-40B4-BE49-F238E27FC236}">
                  <a16:creationId xmlns:a16="http://schemas.microsoft.com/office/drawing/2014/main" id="{FA579DF0-7795-03E7-7CAB-0E4FC2AE5FAE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DCE22264-E28D-AFEE-3914-8F8511D5FA5F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D08DA59B-5593-F3BF-7FC3-0FC358200802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7" name="Rechteck 226">
              <a:extLst>
                <a:ext uri="{FF2B5EF4-FFF2-40B4-BE49-F238E27FC236}">
                  <a16:creationId xmlns:a16="http://schemas.microsoft.com/office/drawing/2014/main" id="{35563DD8-35ED-43F2-72B2-F0E25AC11A8D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B23906F4-E896-3A96-B396-6D3694FD35BB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9" name="Rechteck 228">
              <a:extLst>
                <a:ext uri="{FF2B5EF4-FFF2-40B4-BE49-F238E27FC236}">
                  <a16:creationId xmlns:a16="http://schemas.microsoft.com/office/drawing/2014/main" id="{ADCE39CB-ECFD-B3CA-C1F9-0EE6A072A4AE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0" name="Rechteck 229">
              <a:extLst>
                <a:ext uri="{FF2B5EF4-FFF2-40B4-BE49-F238E27FC236}">
                  <a16:creationId xmlns:a16="http://schemas.microsoft.com/office/drawing/2014/main" id="{EB9FF971-B82A-D748-6034-8E7759739D90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1" name="Rechteck 230">
              <a:extLst>
                <a:ext uri="{FF2B5EF4-FFF2-40B4-BE49-F238E27FC236}">
                  <a16:creationId xmlns:a16="http://schemas.microsoft.com/office/drawing/2014/main" id="{F6A37980-C02A-A7D8-D1DB-255989FE1536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2" name="Rechteck 231">
              <a:extLst>
                <a:ext uri="{FF2B5EF4-FFF2-40B4-BE49-F238E27FC236}">
                  <a16:creationId xmlns:a16="http://schemas.microsoft.com/office/drawing/2014/main" id="{22FCA950-F21C-DCD9-1582-3A04CA07531B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3" name="Rechteck 232">
              <a:extLst>
                <a:ext uri="{FF2B5EF4-FFF2-40B4-BE49-F238E27FC236}">
                  <a16:creationId xmlns:a16="http://schemas.microsoft.com/office/drawing/2014/main" id="{664178BE-D70D-B339-33C6-9ED9D7F758CB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4" name="Rechteck 233">
              <a:extLst>
                <a:ext uri="{FF2B5EF4-FFF2-40B4-BE49-F238E27FC236}">
                  <a16:creationId xmlns:a16="http://schemas.microsoft.com/office/drawing/2014/main" id="{B5B1E0EA-7711-E4DA-6672-40BAF0A4D261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5" name="Rechteck 234">
              <a:extLst>
                <a:ext uri="{FF2B5EF4-FFF2-40B4-BE49-F238E27FC236}">
                  <a16:creationId xmlns:a16="http://schemas.microsoft.com/office/drawing/2014/main" id="{72B62C78-1900-EA6E-43B8-3F4E23A465A9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6" name="Rechteck 235">
              <a:extLst>
                <a:ext uri="{FF2B5EF4-FFF2-40B4-BE49-F238E27FC236}">
                  <a16:creationId xmlns:a16="http://schemas.microsoft.com/office/drawing/2014/main" id="{ACAE0931-D038-4BD2-20B8-EE05B9EAA041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7" name="Rechteck 236">
              <a:extLst>
                <a:ext uri="{FF2B5EF4-FFF2-40B4-BE49-F238E27FC236}">
                  <a16:creationId xmlns:a16="http://schemas.microsoft.com/office/drawing/2014/main" id="{4EB2539E-5A60-DCC9-FA20-C3E732D96E65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8" name="Rechteck 237">
              <a:extLst>
                <a:ext uri="{FF2B5EF4-FFF2-40B4-BE49-F238E27FC236}">
                  <a16:creationId xmlns:a16="http://schemas.microsoft.com/office/drawing/2014/main" id="{1814B4FB-2CAA-7EB1-C773-88527B1267EF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9" name="Rechteck 238">
              <a:extLst>
                <a:ext uri="{FF2B5EF4-FFF2-40B4-BE49-F238E27FC236}">
                  <a16:creationId xmlns:a16="http://schemas.microsoft.com/office/drawing/2014/main" id="{EA886707-B801-22A0-F0E9-AC0C8D58EE0A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0" name="Rechteck 239">
              <a:extLst>
                <a:ext uri="{FF2B5EF4-FFF2-40B4-BE49-F238E27FC236}">
                  <a16:creationId xmlns:a16="http://schemas.microsoft.com/office/drawing/2014/main" id="{8652C363-740C-F649-A2F4-065CBAC49F06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1" name="Rechteck 240">
              <a:extLst>
                <a:ext uri="{FF2B5EF4-FFF2-40B4-BE49-F238E27FC236}">
                  <a16:creationId xmlns:a16="http://schemas.microsoft.com/office/drawing/2014/main" id="{E9552B0B-28DE-4291-210B-0D845A12E9A3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2" name="Rechteck 241">
              <a:extLst>
                <a:ext uri="{FF2B5EF4-FFF2-40B4-BE49-F238E27FC236}">
                  <a16:creationId xmlns:a16="http://schemas.microsoft.com/office/drawing/2014/main" id="{BC8B5324-AC0D-867C-CC6D-BC6118077141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3" name="Rechteck 242">
              <a:extLst>
                <a:ext uri="{FF2B5EF4-FFF2-40B4-BE49-F238E27FC236}">
                  <a16:creationId xmlns:a16="http://schemas.microsoft.com/office/drawing/2014/main" id="{BDB5714C-7FB7-69C3-BC66-0BAD63AF4DC4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4" name="Rechteck 243">
              <a:extLst>
                <a:ext uri="{FF2B5EF4-FFF2-40B4-BE49-F238E27FC236}">
                  <a16:creationId xmlns:a16="http://schemas.microsoft.com/office/drawing/2014/main" id="{926BA2AC-73A1-6C36-0EAA-A13CAFA16BC6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5" name="Rechteck 244">
              <a:extLst>
                <a:ext uri="{FF2B5EF4-FFF2-40B4-BE49-F238E27FC236}">
                  <a16:creationId xmlns:a16="http://schemas.microsoft.com/office/drawing/2014/main" id="{EF571841-CD57-0F3E-EF77-C655169A5CB0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6" name="Rechteck 245">
              <a:extLst>
                <a:ext uri="{FF2B5EF4-FFF2-40B4-BE49-F238E27FC236}">
                  <a16:creationId xmlns:a16="http://schemas.microsoft.com/office/drawing/2014/main" id="{C8E0BF00-836D-BD68-9560-FE57E6D4FC7D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7" name="Rechteck 246">
              <a:extLst>
                <a:ext uri="{FF2B5EF4-FFF2-40B4-BE49-F238E27FC236}">
                  <a16:creationId xmlns:a16="http://schemas.microsoft.com/office/drawing/2014/main" id="{C805ED61-D2A9-1476-4E64-893A49664AC2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8" name="Rechteck 247">
              <a:extLst>
                <a:ext uri="{FF2B5EF4-FFF2-40B4-BE49-F238E27FC236}">
                  <a16:creationId xmlns:a16="http://schemas.microsoft.com/office/drawing/2014/main" id="{3A9089DC-9049-6A13-1566-EC964C321CCB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9" name="Rechteck 248">
              <a:extLst>
                <a:ext uri="{FF2B5EF4-FFF2-40B4-BE49-F238E27FC236}">
                  <a16:creationId xmlns:a16="http://schemas.microsoft.com/office/drawing/2014/main" id="{FB842C0A-7B84-910A-FDEA-055E983E00EB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0" name="Rechteck 249">
              <a:extLst>
                <a:ext uri="{FF2B5EF4-FFF2-40B4-BE49-F238E27FC236}">
                  <a16:creationId xmlns:a16="http://schemas.microsoft.com/office/drawing/2014/main" id="{48873349-850F-61DB-9C6E-6B025FFCA9F1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1" name="Rechteck 250">
              <a:extLst>
                <a:ext uri="{FF2B5EF4-FFF2-40B4-BE49-F238E27FC236}">
                  <a16:creationId xmlns:a16="http://schemas.microsoft.com/office/drawing/2014/main" id="{E668CCD0-074F-5014-3343-67409E7C943F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2" name="Rechteck 251">
              <a:extLst>
                <a:ext uri="{FF2B5EF4-FFF2-40B4-BE49-F238E27FC236}">
                  <a16:creationId xmlns:a16="http://schemas.microsoft.com/office/drawing/2014/main" id="{FDC70A77-43C1-8639-4BA3-03E914874015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3" name="Rechteck 252">
              <a:extLst>
                <a:ext uri="{FF2B5EF4-FFF2-40B4-BE49-F238E27FC236}">
                  <a16:creationId xmlns:a16="http://schemas.microsoft.com/office/drawing/2014/main" id="{9B470030-211F-142F-778C-9D3904FBC09B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4" name="Rechteck 253">
              <a:extLst>
                <a:ext uri="{FF2B5EF4-FFF2-40B4-BE49-F238E27FC236}">
                  <a16:creationId xmlns:a16="http://schemas.microsoft.com/office/drawing/2014/main" id="{70190B47-C519-5BEF-98CA-D3E5B14AED6B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5" name="Rechteck 254">
              <a:extLst>
                <a:ext uri="{FF2B5EF4-FFF2-40B4-BE49-F238E27FC236}">
                  <a16:creationId xmlns:a16="http://schemas.microsoft.com/office/drawing/2014/main" id="{7E9921D4-6AE9-4ADA-F3BE-F87D697BDEC6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7739BDFF-180C-390E-E4D9-85C74133980F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3CA1F511-4678-17A2-1691-7EFAC378DA4D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1EC4D92B-F50A-BF43-4E6F-2BE3222C4A8D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EFBDC69A-B7FC-172F-24A5-48DDF473360E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8057ED5E-9276-B070-0428-2372C52AA551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9021EE4E-05F0-CCA4-7A88-D740D8B01654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60E681C1-AA2A-8B45-97BA-8F54B2F2153C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6DF70FE7-E4C3-4D8D-40A6-98343B423CAF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351E1E4E-667A-05CC-8975-86E6B95C7432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05E04E42-7A0E-B810-DEDE-BE1A45B677BA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43525712-0C94-F118-DB74-563D27BAF641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D74385FC-1323-B0D1-5EB1-31067A0C1D9A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7362D7B9-3A45-106F-4604-03354DAA1019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A246ECF1-BD1A-4457-F0B0-9215694C73A9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0" name="Rechteck 269">
              <a:extLst>
                <a:ext uri="{FF2B5EF4-FFF2-40B4-BE49-F238E27FC236}">
                  <a16:creationId xmlns:a16="http://schemas.microsoft.com/office/drawing/2014/main" id="{885A6630-F457-3D57-97E5-B37C9B442C47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1" name="Rechteck 270">
              <a:extLst>
                <a:ext uri="{FF2B5EF4-FFF2-40B4-BE49-F238E27FC236}">
                  <a16:creationId xmlns:a16="http://schemas.microsoft.com/office/drawing/2014/main" id="{82AFF486-9B3E-E999-D9DD-E55BF78A6835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9065781A-A3C7-9C9E-1E9A-46361C239FFD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E798BB9C-87FB-6E23-0621-D41755F865D8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7193340B-9801-4D78-A200-7B83099FD128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860DB300-8445-DB07-1913-14C8A98459C2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057A437E-4D2C-960E-8A5C-97213E8CFEA2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489E7755-77B6-145E-DDE3-70D291A43E3E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265A5581-45D2-BA58-1C02-55186D440866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673D37DB-4337-FE1C-6615-4657CC415517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52B0293E-6496-8D24-1453-CFDF83F8CFB3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C87B4648-B6B3-667A-94B3-AD77A3D9E62A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DBD53BE0-CAA0-B255-6851-F7CE735F9B5D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3" name="Rechteck 282">
              <a:extLst>
                <a:ext uri="{FF2B5EF4-FFF2-40B4-BE49-F238E27FC236}">
                  <a16:creationId xmlns:a16="http://schemas.microsoft.com/office/drawing/2014/main" id="{458EC90F-78E7-73AF-3389-C31FD510732A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0E586992-3C07-8BC5-46FE-06525DAC2A8E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84071912-14F1-54E7-B535-1610C1C6931B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FB94E6ED-A4EB-8354-6378-3440B0BAE8A9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FF01F104-55FF-F0B9-0EFA-22835DB146A2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EF04B698-9714-D915-BF55-63D3B1990489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2A4388E0-2B5B-2373-F308-6E82E26D1AD1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0025A6DE-EB02-7E21-BE1A-72D6D04B2DD2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6512F9F9-5D21-FE7A-B27E-37708495EEB1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4EAE6FC6-3020-76E8-1758-01ACCD855CEC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0DCD3B8F-B48D-8192-1D24-ADF3C810F0E2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3B090F12-B2AF-7BF0-C328-32FB0028C231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0035B1EF-2F52-C4EA-F58B-EF79D7762E7F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2F01DD9B-CF3E-D01C-2721-4C23F48C8712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4E0C8342-2468-C416-D418-CCC48E30CE4B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8D1EF65B-1AC3-E653-A9B0-9C57872E0001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EF56C678-A96E-2C6E-ECB8-450E8245CEE9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81950E06-DDEA-0574-2B50-D95A76C3C161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CFFF59EE-4BC5-D7FC-6BD3-8DB7E80C7DA3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CE8E5665-841D-439D-88F9-C0482D213167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D51C9449-A3AC-EB89-4852-421D2A670377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C57FFAAC-E227-D0ED-AFED-5C9BD33A3AAD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1E886C4F-096D-71CF-7C4D-DF86BD55D9A7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69053717-98E1-683D-BAD1-082785210534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9DFD58B2-8138-B7FF-224D-8713A4070833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5D79BECC-0554-89E6-FF01-E4B43E5FB58E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8721D6C0-EB7F-25FB-3032-D0A24D1CD931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E5FF118A-F75E-E9D0-2A74-1AE891020EEF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C1467030-00D9-1604-1296-C10E4620710E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4E8CFE52-7F20-1A6F-2FB9-E9AB6FBC6535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192AB724-786F-5456-0327-BA9658F9C9B1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3400A77F-6766-12AE-ABF4-E2DDABBA1A12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63F3154C-D126-54C7-8FF9-54828F0EAAE5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3AFA8A15-EFA6-31E0-E385-4A8841DF92D9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D0D86538-BC21-C290-5815-BAF2E8E935B7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55E5B7D2-9E53-B633-FE80-5E15245D345C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26A48755-ACE9-8556-D55C-4A0C0432D850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F32AAAE1-763B-F4FC-5358-0BAE45AF412E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645F32EB-AFAA-49C6-003F-851ED76E7E9D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D6C617D8-97F2-D7BB-0295-938B828BA7C5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72AB4B90-3073-E981-549B-3CF209097AE3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1BC855CE-ADB8-0066-2B13-DAF402B9D105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0E77CEF3-6B9E-D0E6-DBB6-C461B8EB1F42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A087F359-63EC-089B-2CFC-FF5ABB29BE5B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80572B67-7D10-3D35-B4C7-80B05490354F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FB8DA8F8-A462-CDE2-A51F-3D6456CD36B1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94B0F9E2-EE5B-C65C-984A-EE652DB49C30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E7EC6427-04DA-47CB-17CC-FCB14DFBF1CC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BE52F97C-E17F-C11B-0683-C1B3A23CE31D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D580A496-4D81-6BA5-5F30-C10E6702B348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5317D3F2-D04F-777E-2002-87845719095B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3D06D903-5749-EDA0-1A03-9684D1622CFE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24213A02-2D31-8234-FA2F-80950967E43C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48B5F45E-FD0D-8121-36D6-2AE268CFFECD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8D815B26-6838-FF20-2FA7-0BD7AC40E2A3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FA8BB8B7-DF39-EB0E-51B4-95343C14E372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DDF8CE9A-5EC0-CD6C-C81E-97960FB42341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90906833-3297-4443-F0F7-A1009662225C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C866BE7C-07B5-D0C7-178B-EC0FB7FF1D9A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10F7F222-00B4-1CD8-2878-A2D770711531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18425981-E168-58C7-FC9E-903B2B00162A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934A7AD3-495D-82BB-FEAF-7ED562DE4C1E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349E896F-19AD-C92B-EC27-A2CEC3827ED2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B016E223-2580-A63E-5110-E95D0ACF55E0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9D31E695-01D1-5797-C3D7-028A9125937C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E5844D6D-B146-72B7-E858-FC3E4AE0A0A5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F00A0CC2-369A-2D67-3345-0D68D1F17550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851722DE-C462-2073-FA8E-4F695130E5CE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06E45819-AD49-8875-F29A-87BBD5B7E776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3C5E75E6-6796-912C-0361-465BA7871EA5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3F1D9520-3624-B3F2-C9A9-231BA696DABA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E6A80A22-C74A-5A04-96DF-568B63452921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E36E6904-2344-33E6-252C-AAC22A97D3D8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D7B285F8-507F-6920-E4F8-954AF97B3711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A07DA9F8-43D4-6490-EC8D-B7AA61A1E163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0897592B-5BF2-BAE6-0B94-19160374AC23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49089D65-6E0E-CF4E-A859-511934CF609C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5DFC814A-FDB1-FD93-30AC-84AC7AE573DB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9125E63C-FCE4-4F2B-5DA5-57A86E462219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DC13DAD2-F54D-6935-233A-2C4611FA542D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9522CC35-B808-95E4-8260-19F61B10D691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FC420D5F-126E-A4A9-DEB2-00993A4A0A45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592A07D9-4B2F-1E98-3779-1707DA3A2613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39BAD770-F3E7-182A-955D-21A103DE1AB4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A4BDE51D-1CB2-6C51-3FF4-02ABDCE9B474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CED435C8-D4C9-3835-D587-E0E834E83C2F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13340522-EE91-1A08-B231-0E9911D1C059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8D435A81-CB44-38A3-8F5A-C5FD555974E1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B7E86F9B-1971-4CE1-B7DF-0B5CE0445805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994F6B04-CDCA-C318-CD1C-EFF88064D65B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7CEF5DB6-CA82-1E10-578C-18D47F30D281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E6785616-FD42-3D7A-48D2-FFEDF06D5C6A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E2F131A8-B17A-B634-573D-A41B9202A5C3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6AD91C81-1777-8DC7-49BF-267B7D184DDE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4C49B4D4-C30A-DE57-E482-BEC792C5C1A8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9926BD96-9B4A-60D4-BA70-17C1CDC6CE48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F1662142-0CDA-771D-EAF2-428F2F861924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131E3891-8963-7047-9A62-EC78E9DF168A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ACB779BD-E252-4801-D481-34D090CD8EDD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C01F8A0F-7B94-F13F-F286-2A6C0575CE43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FA539BAA-EF22-086B-0891-FBD76EE717DD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E2C60E01-F078-06F4-47A0-1C3C6B02036E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E86E1E23-0D21-27BE-2724-E9DEEDEAC1A7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9A3E77E7-CEAF-7DCA-467A-8C1D6CBE7ABB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1B8B5B4B-CF97-D78E-66A1-85C749291533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10FAAB18-6797-A678-E178-FB790C06B767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B72C259D-B03D-E1F8-20AE-DCFD6A0345D2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pic>
        <p:nvPicPr>
          <p:cNvPr id="390" name="Logo">
            <a:extLst>
              <a:ext uri="{FF2B5EF4-FFF2-40B4-BE49-F238E27FC236}">
                <a16:creationId xmlns:a16="http://schemas.microsoft.com/office/drawing/2014/main" id="{3627F822-9B55-3809-49A9-52FA4A204E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  <p:grpSp>
        <p:nvGrpSpPr>
          <p:cNvPr id="403" name="Gruppieren 402">
            <a:extLst>
              <a:ext uri="{FF2B5EF4-FFF2-40B4-BE49-F238E27FC236}">
                <a16:creationId xmlns:a16="http://schemas.microsoft.com/office/drawing/2014/main" id="{83A786F0-CFEF-2D98-E7D9-F4EC9FE066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1" y="2082829"/>
            <a:ext cx="2448000" cy="0"/>
            <a:chOff x="983432" y="2082829"/>
            <a:chExt cx="2448000" cy="0"/>
          </a:xfrm>
        </p:grpSpPr>
        <p:cxnSp>
          <p:nvCxnSpPr>
            <p:cNvPr id="404" name="Line">
              <a:extLst>
                <a:ext uri="{FF2B5EF4-FFF2-40B4-BE49-F238E27FC236}">
                  <a16:creationId xmlns:a16="http://schemas.microsoft.com/office/drawing/2014/main" id="{0CFC1E8E-9C4E-C938-A2CB-E252F6107F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5" name="Line">
              <a:extLst>
                <a:ext uri="{FF2B5EF4-FFF2-40B4-BE49-F238E27FC236}">
                  <a16:creationId xmlns:a16="http://schemas.microsoft.com/office/drawing/2014/main" id="{F8E15E37-AFB6-540E-647D-AA8E8340BD1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6" name="Shape">
            <a:extLst>
              <a:ext uri="{FF2B5EF4-FFF2-40B4-BE49-F238E27FC236}">
                <a16:creationId xmlns:a16="http://schemas.microsoft.com/office/drawing/2014/main" id="{87FA4392-0D1B-C338-7F51-6219712A85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0848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407" name="Bildplatzhalter 406">
            <a:extLst>
              <a:ext uri="{FF2B5EF4-FFF2-40B4-BE49-F238E27FC236}">
                <a16:creationId xmlns:a16="http://schemas.microsoft.com/office/drawing/2014/main" id="{2510D404-DBC3-1692-EA41-E7524DB6C9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367809" y="2061400"/>
            <a:ext cx="5760640" cy="3463099"/>
          </a:xfrm>
          <a:custGeom>
            <a:avLst/>
            <a:gdLst>
              <a:gd name="connsiteX0" fmla="*/ 5760640 w 5760640"/>
              <a:gd name="connsiteY0" fmla="*/ 0 h 3463099"/>
              <a:gd name="connsiteX1" fmla="*/ 4609453 w 5760640"/>
              <a:gd name="connsiteY1" fmla="*/ 2311556 h 3463099"/>
              <a:gd name="connsiteX2" fmla="*/ 0 w 5760640"/>
              <a:gd name="connsiteY2" fmla="*/ 3463099 h 3463099"/>
              <a:gd name="connsiteX3" fmla="*/ 0 w 5760640"/>
              <a:gd name="connsiteY3" fmla="*/ 518 h 3463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60640" h="3463099">
                <a:moveTo>
                  <a:pt x="5760640" y="0"/>
                </a:moveTo>
                <a:lnTo>
                  <a:pt x="4609453" y="2311556"/>
                </a:lnTo>
                <a:lnTo>
                  <a:pt x="0" y="3463099"/>
                </a:lnTo>
                <a:lnTo>
                  <a:pt x="0" y="518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399" name="Title">
            <a:extLst>
              <a:ext uri="{FF2B5EF4-FFF2-40B4-BE49-F238E27FC236}">
                <a16:creationId xmlns:a16="http://schemas.microsoft.com/office/drawing/2014/main" id="{5A31CA2D-E074-BD09-8FB1-60D8252638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695400" y="2564904"/>
            <a:ext cx="2952000" cy="1152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36000" rIns="216000" anchor="t">
            <a:noAutofit/>
          </a:bodyPr>
          <a:lstStyle>
            <a:lvl1pPr algn="l" rtl="0">
              <a:lnSpc>
                <a:spcPct val="90000"/>
              </a:lnSpc>
              <a:defRPr sz="2400"/>
            </a:lvl1pPr>
          </a:lstStyle>
          <a:p>
            <a:r>
              <a:rPr lang="en-US"/>
              <a:t>Insert your long title here in max. three lines</a:t>
            </a:r>
            <a:endParaRPr lang="en-US" dirty="0"/>
          </a:p>
        </p:txBody>
      </p:sp>
      <p:sp>
        <p:nvSpPr>
          <p:cNvPr id="400" name="Subtitle 2">
            <a:extLst>
              <a:ext uri="{FF2B5EF4-FFF2-40B4-BE49-F238E27FC236}">
                <a16:creationId xmlns:a16="http://schemas.microsoft.com/office/drawing/2014/main" id="{86E7FA45-9FD2-F40E-013B-E42E1250F9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400" y="3717032"/>
            <a:ext cx="2952000" cy="1202385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401" name="Author">
            <a:extLst>
              <a:ext uri="{FF2B5EF4-FFF2-40B4-BE49-F238E27FC236}">
                <a16:creationId xmlns:a16="http://schemas.microsoft.com/office/drawing/2014/main" id="{B0691ABE-DB6B-FCA3-26EE-D19124967C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400" y="4869160"/>
            <a:ext cx="2952000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 anchor="b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US"/>
              <a:t>First name Last name</a:t>
            </a:r>
            <a:endParaRPr lang="en-US" dirty="0"/>
          </a:p>
        </p:txBody>
      </p:sp>
      <p:sp>
        <p:nvSpPr>
          <p:cNvPr id="402" name="Department, Date">
            <a:extLst>
              <a:ext uri="{FF2B5EF4-FFF2-40B4-BE49-F238E27FC236}">
                <a16:creationId xmlns:a16="http://schemas.microsoft.com/office/drawing/2014/main" id="{6F2378A6-2EA0-7AD3-D3B3-69216EA41E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5085160"/>
            <a:ext cx="2952000" cy="720104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US"/>
              <a:t>Department</a:t>
            </a:r>
            <a:br>
              <a:rPr lang="en-US"/>
            </a:br>
            <a:r>
              <a:rPr lang="en-US"/>
              <a:t>DD/MM/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72661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|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DD11F8F-8410-8F90-D47B-8DA5FE0638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276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D11F8F-8410-8F90-D47B-8DA5FE0638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D0B7EAD1-D403-6006-8638-3B821879AC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8B7C92CF-EA39-582F-C369-FE148172783F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E6F027C0-A2BB-A0CC-1CF3-57934A8CE893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E62F518F-2AD9-099C-EC8A-3B22D3467D45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72FB2EC0-2F3A-2048-6FC6-DC4397442D98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1E3B162B-1D4A-1415-F076-A950A7CCDAA0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D5939C76-D103-3E74-7476-367ED478A48F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2" name="Rechteck 171">
              <a:extLst>
                <a:ext uri="{FF2B5EF4-FFF2-40B4-BE49-F238E27FC236}">
                  <a16:creationId xmlns:a16="http://schemas.microsoft.com/office/drawing/2014/main" id="{7718F72E-7079-D94C-8D3D-782E947F895D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3" name="Rechteck 172">
              <a:extLst>
                <a:ext uri="{FF2B5EF4-FFF2-40B4-BE49-F238E27FC236}">
                  <a16:creationId xmlns:a16="http://schemas.microsoft.com/office/drawing/2014/main" id="{860C586F-B095-7AC1-E4F0-07D38DCE17CD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5536E526-096B-4DEB-2B08-C20AF7862D69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2C02C7AC-0F11-2357-090E-150B2EF10EFF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E9FED89E-41D9-5607-E552-903C27416822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EF024D74-FAFD-D892-77F5-5CF4A28B9D8F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3" name="Rechteck 212">
              <a:extLst>
                <a:ext uri="{FF2B5EF4-FFF2-40B4-BE49-F238E27FC236}">
                  <a16:creationId xmlns:a16="http://schemas.microsoft.com/office/drawing/2014/main" id="{989CEA06-DBE6-279F-E184-79B5CC771588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6DA004B8-A0F1-0F05-9438-ED25C38EB938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5" name="Rechteck 214">
              <a:extLst>
                <a:ext uri="{FF2B5EF4-FFF2-40B4-BE49-F238E27FC236}">
                  <a16:creationId xmlns:a16="http://schemas.microsoft.com/office/drawing/2014/main" id="{E609046D-5092-1D0D-1641-BDCB3A8726E8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6" name="Rechteck 215">
              <a:extLst>
                <a:ext uri="{FF2B5EF4-FFF2-40B4-BE49-F238E27FC236}">
                  <a16:creationId xmlns:a16="http://schemas.microsoft.com/office/drawing/2014/main" id="{622C8FD2-DBB5-3447-1EB8-9FE3FDF0A8D4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7" name="Rechteck 216">
              <a:extLst>
                <a:ext uri="{FF2B5EF4-FFF2-40B4-BE49-F238E27FC236}">
                  <a16:creationId xmlns:a16="http://schemas.microsoft.com/office/drawing/2014/main" id="{1C4E9C6D-5CF8-2B15-B255-15647B2A64FA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8" name="Rechteck 217">
              <a:extLst>
                <a:ext uri="{FF2B5EF4-FFF2-40B4-BE49-F238E27FC236}">
                  <a16:creationId xmlns:a16="http://schemas.microsoft.com/office/drawing/2014/main" id="{0F833EE5-CAE6-5744-6906-50D3F2B0FEE1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9" name="Rechteck 218">
              <a:extLst>
                <a:ext uri="{FF2B5EF4-FFF2-40B4-BE49-F238E27FC236}">
                  <a16:creationId xmlns:a16="http://schemas.microsoft.com/office/drawing/2014/main" id="{454C5197-AED1-149B-ED26-262B2841F50D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0" name="Rechteck 219">
              <a:extLst>
                <a:ext uri="{FF2B5EF4-FFF2-40B4-BE49-F238E27FC236}">
                  <a16:creationId xmlns:a16="http://schemas.microsoft.com/office/drawing/2014/main" id="{5505D093-E6CC-2743-D6F0-5167B1DF11E6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1" name="Rechteck 220">
              <a:extLst>
                <a:ext uri="{FF2B5EF4-FFF2-40B4-BE49-F238E27FC236}">
                  <a16:creationId xmlns:a16="http://schemas.microsoft.com/office/drawing/2014/main" id="{A1CECBF9-8FF4-009E-2C38-FF42B7F6648B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2" name="Rechteck 221">
              <a:extLst>
                <a:ext uri="{FF2B5EF4-FFF2-40B4-BE49-F238E27FC236}">
                  <a16:creationId xmlns:a16="http://schemas.microsoft.com/office/drawing/2014/main" id="{AB3E564B-BE98-E755-FBF3-311F1B592A64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3" name="Rechteck 222">
              <a:extLst>
                <a:ext uri="{FF2B5EF4-FFF2-40B4-BE49-F238E27FC236}">
                  <a16:creationId xmlns:a16="http://schemas.microsoft.com/office/drawing/2014/main" id="{85F4CCA9-5C75-95AF-AF39-09ADF2CA3157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4" name="Rechteck 223">
              <a:extLst>
                <a:ext uri="{FF2B5EF4-FFF2-40B4-BE49-F238E27FC236}">
                  <a16:creationId xmlns:a16="http://schemas.microsoft.com/office/drawing/2014/main" id="{AD04EC9C-A152-96F5-8EFB-917EB42D5D81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B90CA084-0212-16E7-35F3-21520E0D735F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D5FF6BEF-8F32-1CA3-F39D-C68BB959D9CC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7" name="Rechteck 226">
              <a:extLst>
                <a:ext uri="{FF2B5EF4-FFF2-40B4-BE49-F238E27FC236}">
                  <a16:creationId xmlns:a16="http://schemas.microsoft.com/office/drawing/2014/main" id="{0F47FABF-E354-5DE1-E669-D9E3FE443B5F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5411DC85-0684-D24B-C4F0-A233ADBE7657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9" name="Rechteck 228">
              <a:extLst>
                <a:ext uri="{FF2B5EF4-FFF2-40B4-BE49-F238E27FC236}">
                  <a16:creationId xmlns:a16="http://schemas.microsoft.com/office/drawing/2014/main" id="{40FCDB6F-59A2-1ECB-B9EA-D2B293D2E535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0" name="Rechteck 229">
              <a:extLst>
                <a:ext uri="{FF2B5EF4-FFF2-40B4-BE49-F238E27FC236}">
                  <a16:creationId xmlns:a16="http://schemas.microsoft.com/office/drawing/2014/main" id="{EDC1BBBA-34C5-1993-3F40-B5BD08423839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1" name="Rechteck 230">
              <a:extLst>
                <a:ext uri="{FF2B5EF4-FFF2-40B4-BE49-F238E27FC236}">
                  <a16:creationId xmlns:a16="http://schemas.microsoft.com/office/drawing/2014/main" id="{0A7642A7-F6C9-6C53-FFFE-2CBF33A29079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2" name="Rechteck 231">
              <a:extLst>
                <a:ext uri="{FF2B5EF4-FFF2-40B4-BE49-F238E27FC236}">
                  <a16:creationId xmlns:a16="http://schemas.microsoft.com/office/drawing/2014/main" id="{134183F6-066E-7BEC-20BE-8656CA33F940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3" name="Rechteck 232">
              <a:extLst>
                <a:ext uri="{FF2B5EF4-FFF2-40B4-BE49-F238E27FC236}">
                  <a16:creationId xmlns:a16="http://schemas.microsoft.com/office/drawing/2014/main" id="{2C74112C-CF40-11A1-E07A-D5D1E6E5A2E1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4" name="Rechteck 233">
              <a:extLst>
                <a:ext uri="{FF2B5EF4-FFF2-40B4-BE49-F238E27FC236}">
                  <a16:creationId xmlns:a16="http://schemas.microsoft.com/office/drawing/2014/main" id="{4A92AE38-2D76-9897-6BE9-302642AFAE56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5" name="Rechteck 234">
              <a:extLst>
                <a:ext uri="{FF2B5EF4-FFF2-40B4-BE49-F238E27FC236}">
                  <a16:creationId xmlns:a16="http://schemas.microsoft.com/office/drawing/2014/main" id="{2A59BE32-6AD3-AB05-E1D5-5993AAFB1592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6" name="Rechteck 235">
              <a:extLst>
                <a:ext uri="{FF2B5EF4-FFF2-40B4-BE49-F238E27FC236}">
                  <a16:creationId xmlns:a16="http://schemas.microsoft.com/office/drawing/2014/main" id="{57812970-ABA0-1409-C41E-5117C2FB29C9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7" name="Rechteck 236">
              <a:extLst>
                <a:ext uri="{FF2B5EF4-FFF2-40B4-BE49-F238E27FC236}">
                  <a16:creationId xmlns:a16="http://schemas.microsoft.com/office/drawing/2014/main" id="{60911A34-795A-DC38-F998-D942935BE375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8" name="Rechteck 237">
              <a:extLst>
                <a:ext uri="{FF2B5EF4-FFF2-40B4-BE49-F238E27FC236}">
                  <a16:creationId xmlns:a16="http://schemas.microsoft.com/office/drawing/2014/main" id="{32F3BA15-C907-A99D-6ECC-087B3100B834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9" name="Rechteck 238">
              <a:extLst>
                <a:ext uri="{FF2B5EF4-FFF2-40B4-BE49-F238E27FC236}">
                  <a16:creationId xmlns:a16="http://schemas.microsoft.com/office/drawing/2014/main" id="{3E05A9E2-EB93-275D-1878-58432B2326EA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0" name="Rechteck 239">
              <a:extLst>
                <a:ext uri="{FF2B5EF4-FFF2-40B4-BE49-F238E27FC236}">
                  <a16:creationId xmlns:a16="http://schemas.microsoft.com/office/drawing/2014/main" id="{6A5D0DA1-4F2E-6C74-E3D7-727F08630655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1" name="Rechteck 240">
              <a:extLst>
                <a:ext uri="{FF2B5EF4-FFF2-40B4-BE49-F238E27FC236}">
                  <a16:creationId xmlns:a16="http://schemas.microsoft.com/office/drawing/2014/main" id="{8424702E-0D6D-2DE5-AA50-0E0D960ADE7B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2" name="Rechteck 241">
              <a:extLst>
                <a:ext uri="{FF2B5EF4-FFF2-40B4-BE49-F238E27FC236}">
                  <a16:creationId xmlns:a16="http://schemas.microsoft.com/office/drawing/2014/main" id="{41891A94-F223-2C1A-AEA8-98B30DFEA822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3" name="Rechteck 242">
              <a:extLst>
                <a:ext uri="{FF2B5EF4-FFF2-40B4-BE49-F238E27FC236}">
                  <a16:creationId xmlns:a16="http://schemas.microsoft.com/office/drawing/2014/main" id="{5E127752-2FFB-9432-AB82-21110CA13765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4" name="Rechteck 243">
              <a:extLst>
                <a:ext uri="{FF2B5EF4-FFF2-40B4-BE49-F238E27FC236}">
                  <a16:creationId xmlns:a16="http://schemas.microsoft.com/office/drawing/2014/main" id="{07FD6154-47DA-E3BF-1B6B-32A7C8045CFC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5" name="Rechteck 244">
              <a:extLst>
                <a:ext uri="{FF2B5EF4-FFF2-40B4-BE49-F238E27FC236}">
                  <a16:creationId xmlns:a16="http://schemas.microsoft.com/office/drawing/2014/main" id="{14B7037C-6618-375B-C35E-2FA260E2D0A2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6" name="Rechteck 245">
              <a:extLst>
                <a:ext uri="{FF2B5EF4-FFF2-40B4-BE49-F238E27FC236}">
                  <a16:creationId xmlns:a16="http://schemas.microsoft.com/office/drawing/2014/main" id="{0ED46A30-0599-2E80-4CF1-D01FA67CF114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7" name="Rechteck 246">
              <a:extLst>
                <a:ext uri="{FF2B5EF4-FFF2-40B4-BE49-F238E27FC236}">
                  <a16:creationId xmlns:a16="http://schemas.microsoft.com/office/drawing/2014/main" id="{DC788DBE-029C-2F6B-6BE1-95D9ED27C0C9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8" name="Rechteck 247">
              <a:extLst>
                <a:ext uri="{FF2B5EF4-FFF2-40B4-BE49-F238E27FC236}">
                  <a16:creationId xmlns:a16="http://schemas.microsoft.com/office/drawing/2014/main" id="{F9C25BAD-8AF5-77A0-A905-6AF5E69F4C6F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9" name="Rechteck 248">
              <a:extLst>
                <a:ext uri="{FF2B5EF4-FFF2-40B4-BE49-F238E27FC236}">
                  <a16:creationId xmlns:a16="http://schemas.microsoft.com/office/drawing/2014/main" id="{091583D8-5A98-EC02-A8E7-9420B2607D81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0" name="Rechteck 249">
              <a:extLst>
                <a:ext uri="{FF2B5EF4-FFF2-40B4-BE49-F238E27FC236}">
                  <a16:creationId xmlns:a16="http://schemas.microsoft.com/office/drawing/2014/main" id="{9F765DE5-48A5-5DB4-31F7-1C923A981DE4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1" name="Rechteck 250">
              <a:extLst>
                <a:ext uri="{FF2B5EF4-FFF2-40B4-BE49-F238E27FC236}">
                  <a16:creationId xmlns:a16="http://schemas.microsoft.com/office/drawing/2014/main" id="{58D831CA-DAA2-34F7-C06B-8ADFCE54197A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2" name="Rechteck 251">
              <a:extLst>
                <a:ext uri="{FF2B5EF4-FFF2-40B4-BE49-F238E27FC236}">
                  <a16:creationId xmlns:a16="http://schemas.microsoft.com/office/drawing/2014/main" id="{B3109F73-5954-B6A1-4C0E-A394DEE300A1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3" name="Rechteck 252">
              <a:extLst>
                <a:ext uri="{FF2B5EF4-FFF2-40B4-BE49-F238E27FC236}">
                  <a16:creationId xmlns:a16="http://schemas.microsoft.com/office/drawing/2014/main" id="{09630349-B93F-A093-B591-A3AA2489C7D5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4" name="Rechteck 253">
              <a:extLst>
                <a:ext uri="{FF2B5EF4-FFF2-40B4-BE49-F238E27FC236}">
                  <a16:creationId xmlns:a16="http://schemas.microsoft.com/office/drawing/2014/main" id="{90358D0A-EB14-556D-3C85-4DAE5F4230C9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5" name="Rechteck 254">
              <a:extLst>
                <a:ext uri="{FF2B5EF4-FFF2-40B4-BE49-F238E27FC236}">
                  <a16:creationId xmlns:a16="http://schemas.microsoft.com/office/drawing/2014/main" id="{C6DDB27E-22FA-DAAE-41A0-88E64DB43665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E1582447-6864-0519-DD57-DCF6607D1D9F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006C0A17-721F-00D6-596C-6FD9473A982A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FF0CD5CE-CCEF-842E-5934-01871EF41C8F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FB9B51FD-67C1-3A33-FC10-55D5EECDA3AF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91E3CB2E-E243-5E35-555B-C24A7DA60999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212AE44E-E40A-1396-306B-67030EC6D1AB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A60B7763-F800-69F3-9E20-07489CC7D553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1D9D2C50-E11F-B0D2-F251-D077D5AE71B5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EDCD3041-1880-15B3-1DB6-E12265EEBC70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8351321B-22FC-4ADA-12A5-F7803BBFA530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CC42B3A6-4DF6-8B84-8E61-ECD9EC17C590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2C11D9FE-C4C0-AFB2-9422-E5553086247A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FE032BFE-818A-B89A-9AAA-04000FC7AD0E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10D2A200-BC43-7D10-15F9-394C5E0C2474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0" name="Rechteck 269">
              <a:extLst>
                <a:ext uri="{FF2B5EF4-FFF2-40B4-BE49-F238E27FC236}">
                  <a16:creationId xmlns:a16="http://schemas.microsoft.com/office/drawing/2014/main" id="{A3C40986-AB5F-E186-C0A2-770B695D0B06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1" name="Rechteck 270">
              <a:extLst>
                <a:ext uri="{FF2B5EF4-FFF2-40B4-BE49-F238E27FC236}">
                  <a16:creationId xmlns:a16="http://schemas.microsoft.com/office/drawing/2014/main" id="{8232B754-C652-FF67-59A0-05C8789A5508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651F8887-008F-1685-DF04-76155EBA9707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EC83B9C4-2620-CBE8-C414-CF1DD20EABD1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B2F67A20-8B7F-B6BF-2134-49936E06F7CA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223C6353-7F74-1858-A8C4-ABB3DA02307B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62A88E0F-9E6B-9D04-4A87-928F25805D94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27B869E8-67A0-FFDB-1D22-0ADD55EB282E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7F3FE13F-CA7D-ECC3-808D-DC81977743B0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30D055BF-302C-B16C-7F84-CBDAEA291C2C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BC79BF5B-CDDA-E770-A9D2-D02A990CA6FB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5E6C8FE4-10B9-0629-B7E5-89212887A54C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5CA203C2-30D1-F8F6-D00A-9F48A29DDF90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3" name="Rechteck 282">
              <a:extLst>
                <a:ext uri="{FF2B5EF4-FFF2-40B4-BE49-F238E27FC236}">
                  <a16:creationId xmlns:a16="http://schemas.microsoft.com/office/drawing/2014/main" id="{68ED8DE5-3252-EA59-6128-D15942EBD1EB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40BCE36B-B7B7-B0CC-AD94-B858BE10E17C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E23430E9-48A5-62F2-888B-1CA5057A6F71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7D12BDF6-784E-83CF-5C45-FFAC2A87791F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B4F8BF2B-03F7-3664-5747-98FE8369B354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1A1D6489-AC9F-67D1-D9AA-387E5A85CC93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99ADACAE-E4A1-BA88-EF20-C56C9A6FF8A3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428F2B26-C0DE-1D27-3843-EA5B03BCD81B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84928061-64D2-896A-906E-5FD795FB5964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310AAD0F-B6F1-CCAD-F063-7FDD6A670DF3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0C8FC18E-3F7A-B37C-74A6-079BFF3EF06D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8ACC7A2B-796B-7C92-FBBE-54E1F1E533C6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E3578EC2-EFEC-321D-3A2F-769902DD5690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53934412-4E19-858B-37E4-4D303D4933BB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FC10BFA0-E91C-8DFB-0C36-DEEC89645D21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FA9DFD86-DC67-5951-76CA-C2DDAC4F1863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EC01C746-8380-120D-4250-B51A4177D83F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50F07972-9DDD-78B7-559B-2C11467CD2E1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44A5AA82-5B56-999E-99CF-779CF1683C91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DFAC789B-05BF-776F-5277-462BD8747A65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38AE2885-CF13-394D-6055-6FE201938551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BBACC2DB-997B-404C-F3C5-BDE6CD46D2D2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7AA08332-ECA8-8808-559A-C292C836C94D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AA97677D-272D-689C-4DE5-C056750B0983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B240D7A5-45AC-37D5-07C4-BA8AB595EA0D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2F08070C-69A8-7CF7-6671-928F0A0F5276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915BB64D-30EF-2A19-79AB-BE5E29DD6F5B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8FD1C94A-DB0D-FDE2-3638-86B99B1F8376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5AAE3E07-7E81-F4A3-F93C-F2446FD1E3D4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80C20069-DA6F-6B69-D5E6-A9789ABACD5D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20C983B4-3570-DCCE-31E1-96062DBD8D39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43E84DB9-7B83-ADDA-269B-113F555A42DC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32561406-9D94-61B1-262C-2D9CAD9B1177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6E3FD0B6-180B-6821-067B-0E398687E5D2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3B0C3F3F-8364-0766-2A90-E9C70808933E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C6EE40DA-61B0-C72F-CFD5-506F3A3818F7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6704919F-C0DC-FAF1-6B07-6E2F7D979087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84F7FF9B-9E84-1779-4691-6C5868BA282F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E5FA257C-8057-2E81-3693-BAC3D0D92894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63B74D79-03A0-4D84-6A0D-BFF43F778008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80C45A54-E9E8-8833-8738-3DA56022342C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B417FB20-695F-81D4-5E78-E351F1A69B3B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0AE0B98A-58A7-006F-A931-F23D39E12F7A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957F01F1-9004-BEDF-CBC7-9100131098EE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851BB049-309C-B6B9-5A38-91489499DC71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4B6DE0B5-EB30-F32C-0726-37D0C108BE7A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25A31F02-55E9-F9F8-43A9-BD7C501C54C2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BE254222-E5D6-7769-FCDF-E09CAF38FE3E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99AFA52A-340D-E229-F4A5-70EC6FCDF3DC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3BE35DE5-EA7C-D630-22C0-DDD9568F967A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403851DE-1D64-2C8B-0D34-DDAE03C75A0D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A8DBCA75-B9C3-35F0-1615-FFA310B936E7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E2CE0505-B1EB-23F4-19C2-BAF966A3552C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8645E52A-83C9-B173-ED3C-7C98B453838A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5DD4F53E-3168-F6FD-B6C0-4425F262610A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54350890-E211-13FC-67B8-21F57B849529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4E5E9DD5-9B62-471C-1EBF-11D5684AD075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5984D6AD-11B0-0C65-8A44-A0717419255C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057838B9-00EC-6C01-836F-0111D2A1121C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2748F153-CD21-7316-29BE-CD7E0D86FCFE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20A56734-CE41-4078-11E0-D1D8BD9A8FBF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3D427AAA-14DF-6315-60A3-520D28C5F366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7B4F843A-811A-81A9-50B1-511FF8F42C97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B6296AC4-F068-DA85-9212-3D6482ECDDC4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4EC56454-FA18-2BA5-4034-0AE451F8C654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531A28E7-5A0B-AE1B-795C-CC66F14567B0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D8213420-EBD0-7E34-2963-995BA09AF8C4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8D92521C-D37C-23A6-FBC1-53B4E18180BC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692DB327-17EF-B959-62D1-33E17838C916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4A80F828-9C99-626A-9602-EB6FDDE69103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691DD7AB-D56F-D993-BDB2-89F89DFF70BC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AEA624D0-8297-AB24-72B7-F21D62419DA1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B3E1279C-685E-77C2-336D-CCD19C67F92D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43ED1D1F-82DB-4EDD-4FCD-63A4D1377AAF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160E2D9A-3B69-56B6-353F-0B24CA5F1692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7CB1A176-2A4E-F51A-50DF-5E4FD5A4ACEE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9CDF43FF-9094-C05F-22B6-6C6E1CCCBE46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2859005D-AD1F-15BD-1A2E-551AD1AC06ED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1D9A0E22-888E-05BD-D7EC-CA3AD8BB138F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C9765E93-6A65-C40D-70CC-7502AF5A56CB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305AEA0D-B67D-A870-5021-DFE6B69178E8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B9C742C5-26E6-F17C-5BE5-0E68C28E4C02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987B3872-F081-BD47-4CC5-E5906B90793F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D5ADB594-5A53-DAC3-8DF7-6FE9ACAF2600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54FAA1F8-465D-4C65-94AC-96E4721D3039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F3BA2099-45E9-6BAC-9E80-E0AA4C00DF8F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C89CD14E-5CCA-0392-3B52-D8D09D28CCDA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594F2001-87DF-3231-C564-21B33EED8191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39B490BA-67E5-7896-5B6C-9C4192D12353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C86D55C9-590F-17D1-A93D-7724BB3C8786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DD18BEBE-C39C-215D-08C1-16CA14DC9A0B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2A9274BE-75CB-50D6-ED97-BDDF647076D3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B2F57AEC-1468-4E9A-2A3A-252F016035DF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E7C6F021-CC83-1425-2BE2-26EE411920E0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40645E0C-9F0A-CF1A-75B6-B69F2D6BBD39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5E789FFB-8FAA-7C0F-327D-F9AECB76D024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98785188-8E49-FFB3-8EB1-85A80C1F0B20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E7296F80-6D6D-96B6-FBC8-690D59A615F6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71B971D6-0D6D-2337-3755-7956ED1E27AD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A3588D1A-5AE0-2C42-D18F-339521E382DA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387B6B08-8E78-0607-2B42-0F6BB272A351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7080A25F-BA47-2185-5C99-38D938B877B3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4EBA54C3-45A4-0D1E-CB32-55AF924D9706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B80A2D11-08CD-7047-EA68-AD4324489C33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704EB6CC-28C4-4F1B-4A14-747452C89921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49AD51F4-67F4-63FA-57B0-FC919813BCB8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6A618C66-DDAB-DAA6-EF13-028F5F418CF2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pic>
        <p:nvPicPr>
          <p:cNvPr id="390" name="Logo">
            <a:extLst>
              <a:ext uri="{FF2B5EF4-FFF2-40B4-BE49-F238E27FC236}">
                <a16:creationId xmlns:a16="http://schemas.microsoft.com/office/drawing/2014/main" id="{96E1BBEE-8F44-7FB4-F875-1DCE3DB0FA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  <p:grpSp>
        <p:nvGrpSpPr>
          <p:cNvPr id="395" name="Gruppieren 394">
            <a:extLst>
              <a:ext uri="{FF2B5EF4-FFF2-40B4-BE49-F238E27FC236}">
                <a16:creationId xmlns:a16="http://schemas.microsoft.com/office/drawing/2014/main" id="{86733395-689B-B1DC-3DA2-BDA86CB2D0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1" y="2082829"/>
            <a:ext cx="2448000" cy="0"/>
            <a:chOff x="983432" y="2082829"/>
            <a:chExt cx="2448000" cy="0"/>
          </a:xfrm>
        </p:grpSpPr>
        <p:cxnSp>
          <p:nvCxnSpPr>
            <p:cNvPr id="396" name="Line">
              <a:extLst>
                <a:ext uri="{FF2B5EF4-FFF2-40B4-BE49-F238E27FC236}">
                  <a16:creationId xmlns:a16="http://schemas.microsoft.com/office/drawing/2014/main" id="{6359EF94-3185-D196-FD29-AEA5CBBC9FD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7" name="Line">
              <a:extLst>
                <a:ext uri="{FF2B5EF4-FFF2-40B4-BE49-F238E27FC236}">
                  <a16:creationId xmlns:a16="http://schemas.microsoft.com/office/drawing/2014/main" id="{DDD5C039-ED42-74AB-0FD5-84E3A555340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8" name="Shape">
            <a:extLst>
              <a:ext uri="{FF2B5EF4-FFF2-40B4-BE49-F238E27FC236}">
                <a16:creationId xmlns:a16="http://schemas.microsoft.com/office/drawing/2014/main" id="{477750BE-BB1D-4D56-EC7F-426D9A6570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0848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399" name="Bildplatzhalter 398">
            <a:extLst>
              <a:ext uri="{FF2B5EF4-FFF2-40B4-BE49-F238E27FC236}">
                <a16:creationId xmlns:a16="http://schemas.microsoft.com/office/drawing/2014/main" id="{31543CDB-C044-44F8-7750-4F8FFD210E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367809" y="2061400"/>
            <a:ext cx="5760640" cy="3463099"/>
          </a:xfrm>
          <a:custGeom>
            <a:avLst/>
            <a:gdLst>
              <a:gd name="connsiteX0" fmla="*/ 5760640 w 5760640"/>
              <a:gd name="connsiteY0" fmla="*/ 0 h 3463099"/>
              <a:gd name="connsiteX1" fmla="*/ 4609453 w 5760640"/>
              <a:gd name="connsiteY1" fmla="*/ 2311556 h 3463099"/>
              <a:gd name="connsiteX2" fmla="*/ 0 w 5760640"/>
              <a:gd name="connsiteY2" fmla="*/ 3463099 h 3463099"/>
              <a:gd name="connsiteX3" fmla="*/ 0 w 5760640"/>
              <a:gd name="connsiteY3" fmla="*/ 518 h 3463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60640" h="3463099">
                <a:moveTo>
                  <a:pt x="5760640" y="0"/>
                </a:moveTo>
                <a:lnTo>
                  <a:pt x="4609453" y="2311556"/>
                </a:lnTo>
                <a:lnTo>
                  <a:pt x="0" y="3463099"/>
                </a:lnTo>
                <a:lnTo>
                  <a:pt x="0" y="518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391" name="Title">
            <a:extLst>
              <a:ext uri="{FF2B5EF4-FFF2-40B4-BE49-F238E27FC236}">
                <a16:creationId xmlns:a16="http://schemas.microsoft.com/office/drawing/2014/main" id="{77CF7618-62C1-59D8-3F1E-39D5FFD18F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695400" y="2564904"/>
            <a:ext cx="2952000" cy="1152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36000" rIns="216000" anchor="t">
            <a:noAutofit/>
          </a:bodyPr>
          <a:lstStyle>
            <a:lvl1pPr algn="l" rtl="0">
              <a:lnSpc>
                <a:spcPct val="90000"/>
              </a:lnSpc>
              <a:defRPr sz="2400"/>
            </a:lvl1pPr>
          </a:lstStyle>
          <a:p>
            <a:r>
              <a:rPr lang="en-US"/>
              <a:t>Insert your long title here in max. three lines</a:t>
            </a:r>
            <a:endParaRPr lang="en-US" dirty="0"/>
          </a:p>
        </p:txBody>
      </p:sp>
      <p:sp>
        <p:nvSpPr>
          <p:cNvPr id="392" name="Subtitle 2">
            <a:extLst>
              <a:ext uri="{FF2B5EF4-FFF2-40B4-BE49-F238E27FC236}">
                <a16:creationId xmlns:a16="http://schemas.microsoft.com/office/drawing/2014/main" id="{F31B0785-48A2-10D1-559E-CD4E7BF103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400" y="3717032"/>
            <a:ext cx="2952000" cy="1202385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393" name="Author">
            <a:extLst>
              <a:ext uri="{FF2B5EF4-FFF2-40B4-BE49-F238E27FC236}">
                <a16:creationId xmlns:a16="http://schemas.microsoft.com/office/drawing/2014/main" id="{32E862E9-C1BE-11CB-4DD2-17F6C7EF54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400" y="4869160"/>
            <a:ext cx="2952000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 anchor="b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US"/>
              <a:t>First name Last name</a:t>
            </a:r>
            <a:endParaRPr lang="en-US" dirty="0"/>
          </a:p>
        </p:txBody>
      </p:sp>
      <p:sp>
        <p:nvSpPr>
          <p:cNvPr id="394" name="Department, Date">
            <a:extLst>
              <a:ext uri="{FF2B5EF4-FFF2-40B4-BE49-F238E27FC236}">
                <a16:creationId xmlns:a16="http://schemas.microsoft.com/office/drawing/2014/main" id="{A46B147F-22E8-D942-D908-E04960ACCE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5085160"/>
            <a:ext cx="2952000" cy="720104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US"/>
              <a:t>Department</a:t>
            </a:r>
            <a:br>
              <a:rPr lang="en-US"/>
            </a:br>
            <a:r>
              <a:rPr lang="en-US"/>
              <a:t>DD/MM/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94904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 |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5B6092E3-BB3D-62C3-E5C3-DB923BCEAA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ADFE758D-7730-9845-AD21-674416B875F6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F21DA2E8-B94F-C509-D272-2D2BAD272FE0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C731765D-8BB8-7B3C-E854-B509A1A45DD1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7FE81260-22F7-BE75-0143-F1B11391169E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C85F4AC2-57C9-0C72-5A39-AC5AFE3C13D1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061ED26D-D119-878B-99F1-21A9EC186758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62B17131-2BEB-E555-8E30-FF66FF891D3C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424AA650-FE3F-88F5-2EA9-781D2F950998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31A3CD9E-CBAD-E02D-3A43-556D392DBD15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A05642BF-5509-CE90-1438-56F76E7A308A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C5F136B4-5FED-005D-83A7-0A4C0E7AAB13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3FDF53B-8449-157B-8A8A-613B74C4CF59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AE960CD8-32CE-9B11-F770-2CF645C4DA92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064C600F-3BE3-52EB-1ECF-0C657B555177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0" name="Rechteck 79">
              <a:extLst>
                <a:ext uri="{FF2B5EF4-FFF2-40B4-BE49-F238E27FC236}">
                  <a16:creationId xmlns:a16="http://schemas.microsoft.com/office/drawing/2014/main" id="{DECE1A43-83E1-7464-C128-BC14E6BFD0BE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B096E7E5-7CE0-385E-1E97-472F5E5B2299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EA26D28-2204-842E-9100-7FE038522711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74022AC1-CC08-F121-D65A-9B0BD3F22CF4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F4156B04-8906-6DA2-C632-AAD9022FF15B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AAC9C4C7-1AEB-4221-457C-251574219B0F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9CEAF80F-0A04-6B70-8A66-39A3F49882FF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7" name="Rechteck 86">
              <a:extLst>
                <a:ext uri="{FF2B5EF4-FFF2-40B4-BE49-F238E27FC236}">
                  <a16:creationId xmlns:a16="http://schemas.microsoft.com/office/drawing/2014/main" id="{FEEE46D2-A242-AAF9-1DA8-EBF096021C4C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8" name="Rechteck 87">
              <a:extLst>
                <a:ext uri="{FF2B5EF4-FFF2-40B4-BE49-F238E27FC236}">
                  <a16:creationId xmlns:a16="http://schemas.microsoft.com/office/drawing/2014/main" id="{6D2AABF8-BA73-D70F-59CA-DAAA5788A8C9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9" name="Rechteck 88">
              <a:extLst>
                <a:ext uri="{FF2B5EF4-FFF2-40B4-BE49-F238E27FC236}">
                  <a16:creationId xmlns:a16="http://schemas.microsoft.com/office/drawing/2014/main" id="{EFAB6654-C4A8-D88B-7448-05F61D8C3C76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5" name="Rechteck 94">
              <a:extLst>
                <a:ext uri="{FF2B5EF4-FFF2-40B4-BE49-F238E27FC236}">
                  <a16:creationId xmlns:a16="http://schemas.microsoft.com/office/drawing/2014/main" id="{D94C6721-18A7-5921-1EA7-AEE19F87A965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425D2D93-466A-BF12-22F5-EF3E43428E33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EF1B5BD7-51C5-7806-FD98-FF29E6882F4E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3801F6C5-46FB-B12D-ABBC-C68388CB039D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6F92E027-11E4-D145-D28C-0375EBAB6505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AB2E04B7-C2E1-524D-4D31-9D4320222512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18" name="Rechteck 117">
              <a:extLst>
                <a:ext uri="{FF2B5EF4-FFF2-40B4-BE49-F238E27FC236}">
                  <a16:creationId xmlns:a16="http://schemas.microsoft.com/office/drawing/2014/main" id="{E4E9B356-6B80-27C7-B162-7D51674BA664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19" name="Rechteck 118">
              <a:extLst>
                <a:ext uri="{FF2B5EF4-FFF2-40B4-BE49-F238E27FC236}">
                  <a16:creationId xmlns:a16="http://schemas.microsoft.com/office/drawing/2014/main" id="{5F47675C-6C1B-7D52-D5A5-463D5E0E6700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20" name="Rechteck 119">
              <a:extLst>
                <a:ext uri="{FF2B5EF4-FFF2-40B4-BE49-F238E27FC236}">
                  <a16:creationId xmlns:a16="http://schemas.microsoft.com/office/drawing/2014/main" id="{B375CF5D-BD81-FA5F-00B9-351218A71B69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21" name="Rechteck 120">
              <a:extLst>
                <a:ext uri="{FF2B5EF4-FFF2-40B4-BE49-F238E27FC236}">
                  <a16:creationId xmlns:a16="http://schemas.microsoft.com/office/drawing/2014/main" id="{7C10C87E-738C-9212-8D9F-A7001541DD7A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22" name="Rechteck 121">
              <a:extLst>
                <a:ext uri="{FF2B5EF4-FFF2-40B4-BE49-F238E27FC236}">
                  <a16:creationId xmlns:a16="http://schemas.microsoft.com/office/drawing/2014/main" id="{AEC70AB7-CDF4-7339-AE9D-C4F5A3424909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23" name="Rechteck 122">
              <a:extLst>
                <a:ext uri="{FF2B5EF4-FFF2-40B4-BE49-F238E27FC236}">
                  <a16:creationId xmlns:a16="http://schemas.microsoft.com/office/drawing/2014/main" id="{92D4B29D-69ED-8966-F876-FFF8E2EE0D2C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1" name="Rechteck 140">
              <a:extLst>
                <a:ext uri="{FF2B5EF4-FFF2-40B4-BE49-F238E27FC236}">
                  <a16:creationId xmlns:a16="http://schemas.microsoft.com/office/drawing/2014/main" id="{B9040217-B886-465A-4BA3-D3D32AC280BC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F8F62BC1-B322-9DDE-60DD-EAE00CADFAB4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3" name="Rechteck 142">
              <a:extLst>
                <a:ext uri="{FF2B5EF4-FFF2-40B4-BE49-F238E27FC236}">
                  <a16:creationId xmlns:a16="http://schemas.microsoft.com/office/drawing/2014/main" id="{D652073B-064F-8623-EDFF-F1DA067EC47A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4" name="Rechteck 143">
              <a:extLst>
                <a:ext uri="{FF2B5EF4-FFF2-40B4-BE49-F238E27FC236}">
                  <a16:creationId xmlns:a16="http://schemas.microsoft.com/office/drawing/2014/main" id="{0598082A-1DCE-7F5A-962F-81158E61E4FB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5" name="Rechteck 144">
              <a:extLst>
                <a:ext uri="{FF2B5EF4-FFF2-40B4-BE49-F238E27FC236}">
                  <a16:creationId xmlns:a16="http://schemas.microsoft.com/office/drawing/2014/main" id="{DD898DB8-B146-0B66-714B-A472FAC9EB76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6" name="Rechteck 145">
              <a:extLst>
                <a:ext uri="{FF2B5EF4-FFF2-40B4-BE49-F238E27FC236}">
                  <a16:creationId xmlns:a16="http://schemas.microsoft.com/office/drawing/2014/main" id="{4800D790-92FE-BFA5-AEAF-42E00B5E0280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4" name="Rechteck 163">
              <a:extLst>
                <a:ext uri="{FF2B5EF4-FFF2-40B4-BE49-F238E27FC236}">
                  <a16:creationId xmlns:a16="http://schemas.microsoft.com/office/drawing/2014/main" id="{54E9252E-1CD4-175B-3E5D-F3151DA39D69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5" name="Rechteck 164">
              <a:extLst>
                <a:ext uri="{FF2B5EF4-FFF2-40B4-BE49-F238E27FC236}">
                  <a16:creationId xmlns:a16="http://schemas.microsoft.com/office/drawing/2014/main" id="{D5C3856B-A287-5F25-AA54-FABDB0E54749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6" name="Rechteck 165">
              <a:extLst>
                <a:ext uri="{FF2B5EF4-FFF2-40B4-BE49-F238E27FC236}">
                  <a16:creationId xmlns:a16="http://schemas.microsoft.com/office/drawing/2014/main" id="{CE06743E-B055-2957-4BFB-67E709A766EC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7" name="Rechteck 166">
              <a:extLst>
                <a:ext uri="{FF2B5EF4-FFF2-40B4-BE49-F238E27FC236}">
                  <a16:creationId xmlns:a16="http://schemas.microsoft.com/office/drawing/2014/main" id="{A7A52160-3890-5A0A-A1F1-34C95BF1A174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8" name="Rechteck 167">
              <a:extLst>
                <a:ext uri="{FF2B5EF4-FFF2-40B4-BE49-F238E27FC236}">
                  <a16:creationId xmlns:a16="http://schemas.microsoft.com/office/drawing/2014/main" id="{5FA3B395-6413-DD2A-0374-5D69126B3499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9" name="Rechteck 168">
              <a:extLst>
                <a:ext uri="{FF2B5EF4-FFF2-40B4-BE49-F238E27FC236}">
                  <a16:creationId xmlns:a16="http://schemas.microsoft.com/office/drawing/2014/main" id="{1B504F0D-EE4B-F53B-826B-5B2CFCA551EB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87" name="Rechteck 186">
              <a:extLst>
                <a:ext uri="{FF2B5EF4-FFF2-40B4-BE49-F238E27FC236}">
                  <a16:creationId xmlns:a16="http://schemas.microsoft.com/office/drawing/2014/main" id="{549DE55F-AEE3-F66A-E0A0-32214BBD3C6A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88" name="Rechteck 187">
              <a:extLst>
                <a:ext uri="{FF2B5EF4-FFF2-40B4-BE49-F238E27FC236}">
                  <a16:creationId xmlns:a16="http://schemas.microsoft.com/office/drawing/2014/main" id="{8BB551D1-3F8C-81AA-2E3E-01399BD37B5C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89" name="Rechteck 188">
              <a:extLst>
                <a:ext uri="{FF2B5EF4-FFF2-40B4-BE49-F238E27FC236}">
                  <a16:creationId xmlns:a16="http://schemas.microsoft.com/office/drawing/2014/main" id="{3D4D1ED7-30A0-22D6-CE65-4EA680B0BED0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0" name="Rechteck 189">
              <a:extLst>
                <a:ext uri="{FF2B5EF4-FFF2-40B4-BE49-F238E27FC236}">
                  <a16:creationId xmlns:a16="http://schemas.microsoft.com/office/drawing/2014/main" id="{50B4A194-4625-DBB4-1AB2-7807250ECDB3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513CF13A-E352-6616-9660-DE783745C877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D1C84EC0-808A-0948-A0D9-518CE5D0B33E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E5BA60B3-89E5-2EDF-371C-3C93CF984BEA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D833789F-BB6F-A741-FA9D-5ECACED4EEF7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F2F9A28C-6166-2526-D7AF-D30BE35EC932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C6739921-84B8-5AFC-F3DF-1BA5573C8C62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8ADC0129-D80D-F1BC-60BC-33F252699437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DC68F6E7-E5E5-5B0F-FE73-BC3819E9E887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ECD52194-7001-8DE9-82C3-842047148941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2C9E4984-15DE-EA3C-AB2A-2DF597A5BEA2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3" name="Rechteck 282">
              <a:extLst>
                <a:ext uri="{FF2B5EF4-FFF2-40B4-BE49-F238E27FC236}">
                  <a16:creationId xmlns:a16="http://schemas.microsoft.com/office/drawing/2014/main" id="{F36D6CC5-BB66-1DEB-CE22-0BE00569506C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284AC05A-711F-16B5-566F-5E24DEC0964A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30114E5F-0A6B-A14F-956F-99493F201C7E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6BFD95E9-FBCD-8899-C6A7-AC8744E739CC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86961A03-074A-50F8-EF1E-66F8363A0058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EA4BE0F6-704E-E762-25BD-14872EF75738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1AA29E82-5D1A-C4A5-F461-0867845BDD4C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41D0A04D-EFCD-E2D0-29E3-A71A2ED42947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319DB583-227C-A41E-1CDB-20B879E92263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D5AAB9A7-2436-0F15-F8F3-24B53910819D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B87EFB61-C353-3437-E48A-20C784833AB7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C9CC7723-7C62-96E2-3785-1E5880F910AD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CD6BEA59-56B4-7C5C-1B30-3F2E70A2599D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B3BC321B-6D5E-317F-13B3-F86EFBE247CF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6A6462D6-2FBB-AFEC-A93D-934D0D458224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FDBAFC78-7084-9BDD-79CD-9DE51C8A013F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DEF4FDC3-8816-2E66-087D-BC8FDE1748CF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855CA52D-9C18-F90E-48DB-5EE039779486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7D711CC0-39E8-906D-D631-00CBF488F48B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9B2079A0-8C2B-86D7-E6A4-9DD4B3325F8D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2F9F5FB1-6203-E9C1-4428-D30E93954166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DDE6B4AF-6E51-6405-9469-7391188437F9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023ED7FC-40DE-A1A3-BA05-76D5BE62A82B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85120DF9-10A8-EF76-C8FC-12E5D08DA21D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1342D6A9-30BE-51BF-2BF1-12F297DB7191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BA6ECA71-4722-F9BB-89D7-9A5F3ABF6AAC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D0EDEF9B-0402-BFB2-D262-FCC46C876AD9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3B0FECCE-C269-C84B-98DA-2F06AFDD1F46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262A233C-4D5B-80F8-AF41-AEA3C637FF44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0E4BF6E8-B10F-E524-5197-6775B764E103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C69829A1-F555-4DFB-2468-1E007D6AD83B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0C2EA107-A603-7E2D-1663-463892E19684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A26461B3-3FAB-2C2C-CA40-6BE4EB61695E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CFFE3EAD-39D8-9329-400C-64D36D99787D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177AB9AE-EB81-12A2-0C78-FFCCFA8B49B9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86EC370F-0270-C6C2-23B2-B2C56CF4C12A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195DCBE4-A2AD-2E3A-2C91-0EB8CF2C2BBF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5D3C4C11-CA67-D0AF-999C-A66CFC9C08E3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72C6AC26-AE74-0825-6400-466D30E9039A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92E68E51-848F-A446-6552-EFA70697F99B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83C03A34-585B-473D-ED76-ED831A2558CC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CF136AB9-E460-40B1-01A1-7FB869022054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D4E9AB20-6FA5-E9D9-55DE-D01002D853E1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896B8BBB-C45B-504D-B5E5-6B6A3150BA85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8E2BCAF0-DFE2-F5D7-EB28-AD1D69EB4677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D827F783-1CF7-FC03-FCC9-7073017DF5A9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B567EE53-5AC0-5C60-BDE7-3F90EA98A038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17386832-62F4-0BF0-C824-6E74BC6A6F8A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214998EC-F3BF-C05F-1302-CA260DED8AB9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96787D3D-76B8-9930-7D91-306D72914FDE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7F7E690D-2BEA-138D-2F8B-4F55D5FD1FA6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2F7496A3-80FC-55E5-1EB0-20A05CB034AA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B983114D-18D1-36D1-E538-7AE4CC44EC8B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CB6A403A-A33A-FCE2-20C5-231929AABE6A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D67E989E-BF4F-05A3-77C6-FC4DEB430934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94AB2C24-E430-26AE-913B-A62E5A7C7DEE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148F02F8-DB5E-1585-04D8-13601656E88B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66E95D41-A775-3179-19D6-E9F9479D86ED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C7772BF1-E253-761C-5646-C0C760AA263A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ADDA250A-02E0-D5B6-0B22-DEBBBE57DB63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B9080BDE-151F-1560-6CA7-A8B85048FFF8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6DA148A4-1D81-DF61-3BCD-95E925B7D79B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BF82E0A3-E94C-80DC-A064-42A20B1230BC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03072B08-66C4-7798-F3CB-52B4040892E5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D1852D4A-6474-A174-D543-1C5EB5F2A2B5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2A4CC4D0-9DDE-9C76-4E27-CF418D43F7B8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7B0DE93B-48A5-3CB2-E181-4E90A2437534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ACD20F9D-AE88-9779-53D3-E15BF79F1091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AA0510A3-9141-39A6-7402-56EC7F084E01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D6530F85-DF64-4189-6E95-D949598CED98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87DA7BC9-7DEB-531A-8331-A7025602C5AA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3745243A-7A99-127E-1914-16289C00FA5D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2B22C0E4-972E-8315-885F-BE7717710439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6BEDC334-BB1E-7AFB-12E2-15234EE02DCB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A2BE4561-B652-A91A-A5DE-D9601A68B1DD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8E0CA352-6399-7EBA-A890-14BCBE066218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85555C70-E91C-1DF1-7703-7FCB5646E470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981CF177-B7C5-DB63-3918-46F9C6707AA5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D0000442-16A9-902D-07B0-78E784F6EBE9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F345E3C6-93C3-8E68-AABF-C397B8D55D06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D557E22D-9124-4A52-DAD5-79D2BC4F9F52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CE20D4C1-22EF-282A-2B51-6467664973A5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0D78E315-F654-6056-74A6-FF3172E66590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22648560-0BB3-2AB3-1974-602B72FE3D9A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88B8D9E1-3D27-76A6-367A-4831B30D8C47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9F358AD8-256C-A53F-701C-94426256DE6B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66E4AD82-5E7C-CBAD-D67B-8D5C13F3814C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0CFEC580-FCCD-9DDF-DD69-5F36C93A39FD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0C041A00-4437-5403-D635-F324AD243357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94F1C352-0A76-1878-D174-5E8272317581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9FF89084-FD98-ED39-7268-0CE7154303DB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72BFBB6F-8B11-B5C6-B5A5-DDB55F3B4032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36DBD36C-13FF-243F-7922-A9B48D0D37B5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35F517D4-F7FA-1CB0-9DF7-027A75D3A932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9798625A-E072-4C65-3DF5-7D0FB7626977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74683D24-3935-1DA5-12F3-9B4E0872F53C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34EDF014-0A6C-1D17-646B-C897C6AF29CF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B489A388-C7F0-A003-E30D-8B8023A5640E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39DD6218-DEF2-3073-CC9E-1FE91AEFCB2E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F18E9C62-713B-8FD4-1B95-CCE4333528DF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4338D0BF-E7C6-4D3C-4FD9-642CC26262CA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418F8E35-62BA-343D-1B12-7BA6C596AD2D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3240D4E4-9C54-1AE9-DDD4-997F11670F7B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00A7FDA1-267A-5DBE-57E9-B2D8DA22B262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6D4786B4-64CE-A45C-278D-66CFFFF59399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41E26555-2B13-F4B9-0F44-20240CB0FDC1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B10601F1-11E5-E77E-519A-9BEA61E2C72D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0" name="Rechteck 389">
              <a:extLst>
                <a:ext uri="{FF2B5EF4-FFF2-40B4-BE49-F238E27FC236}">
                  <a16:creationId xmlns:a16="http://schemas.microsoft.com/office/drawing/2014/main" id="{C4872143-88E8-F8CE-2B9D-58328C826640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1" name="Rechteck 390">
              <a:extLst>
                <a:ext uri="{FF2B5EF4-FFF2-40B4-BE49-F238E27FC236}">
                  <a16:creationId xmlns:a16="http://schemas.microsoft.com/office/drawing/2014/main" id="{5813D00C-85B1-BA03-9D2E-99DF2DEFF3F7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2" name="Rechteck 391">
              <a:extLst>
                <a:ext uri="{FF2B5EF4-FFF2-40B4-BE49-F238E27FC236}">
                  <a16:creationId xmlns:a16="http://schemas.microsoft.com/office/drawing/2014/main" id="{C45CFE6A-98ED-057C-53A7-8DAB0342EB9E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3" name="Rechteck 392">
              <a:extLst>
                <a:ext uri="{FF2B5EF4-FFF2-40B4-BE49-F238E27FC236}">
                  <a16:creationId xmlns:a16="http://schemas.microsoft.com/office/drawing/2014/main" id="{E0A86586-C8AA-B44E-372C-4A5CAFD3D547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4" name="Rechteck 393">
              <a:extLst>
                <a:ext uri="{FF2B5EF4-FFF2-40B4-BE49-F238E27FC236}">
                  <a16:creationId xmlns:a16="http://schemas.microsoft.com/office/drawing/2014/main" id="{10659ACA-8546-144F-2BF0-5EAD5B10890B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5" name="Rechteck 394">
              <a:extLst>
                <a:ext uri="{FF2B5EF4-FFF2-40B4-BE49-F238E27FC236}">
                  <a16:creationId xmlns:a16="http://schemas.microsoft.com/office/drawing/2014/main" id="{E2B7D295-06D1-6805-09B8-AFC7B74F23DE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6" name="Rechteck 395">
              <a:extLst>
                <a:ext uri="{FF2B5EF4-FFF2-40B4-BE49-F238E27FC236}">
                  <a16:creationId xmlns:a16="http://schemas.microsoft.com/office/drawing/2014/main" id="{4FEBD252-E5AA-5BB9-DC20-29543B993E8B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7" name="Rechteck 396">
              <a:extLst>
                <a:ext uri="{FF2B5EF4-FFF2-40B4-BE49-F238E27FC236}">
                  <a16:creationId xmlns:a16="http://schemas.microsoft.com/office/drawing/2014/main" id="{90E447B1-CC5F-F274-C758-F8F45B18B9CD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86B2105A-1249-37D5-05C1-F3E25143B864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9E6784DB-0CA5-AB3F-6FDA-6771D8930386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63A2E910-0B54-A6CB-F901-ED663CA5109A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67F30C89-F3FC-274B-4088-53568D89359A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BA60F1E6-A634-72C2-D2F1-7650E8075549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3" name="Rechteck 402">
              <a:extLst>
                <a:ext uri="{FF2B5EF4-FFF2-40B4-BE49-F238E27FC236}">
                  <a16:creationId xmlns:a16="http://schemas.microsoft.com/office/drawing/2014/main" id="{E0E03A59-B9DB-E923-918B-73A0DCC70B6C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207049EA-022E-E455-617C-3C3A3472C2E0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5" name="Rechteck 404">
              <a:extLst>
                <a:ext uri="{FF2B5EF4-FFF2-40B4-BE49-F238E27FC236}">
                  <a16:creationId xmlns:a16="http://schemas.microsoft.com/office/drawing/2014/main" id="{F0F73520-BC85-7706-A16B-E55FD0E4C56E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6" name="Rechteck 405">
              <a:extLst>
                <a:ext uri="{FF2B5EF4-FFF2-40B4-BE49-F238E27FC236}">
                  <a16:creationId xmlns:a16="http://schemas.microsoft.com/office/drawing/2014/main" id="{9943852D-1081-63A8-FBBA-DD0D77BECC40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0047F6DD-3966-B875-956D-CCF3ADB8DEBB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7315CC30-438D-87EF-886A-D954D8AE5572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5B4FF126-6B87-1B6C-41DE-BF1F7A636E5E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sp>
        <p:nvSpPr>
          <p:cNvPr id="410" name="Freihandform: Form 409">
            <a:extLst>
              <a:ext uri="{FF2B5EF4-FFF2-40B4-BE49-F238E27FC236}">
                <a16:creationId xmlns:a16="http://schemas.microsoft.com/office/drawing/2014/main" id="{B519BAD5-7401-764D-1A93-5C3CF2A8C9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1424" y="2060848"/>
            <a:ext cx="2892425" cy="2879303"/>
          </a:xfrm>
          <a:custGeom>
            <a:avLst/>
            <a:gdLst>
              <a:gd name="connsiteX0" fmla="*/ 0 w 2892425"/>
              <a:gd name="connsiteY0" fmla="*/ 0 h 2879303"/>
              <a:gd name="connsiteX1" fmla="*/ 2892425 w 2892425"/>
              <a:gd name="connsiteY1" fmla="*/ 0 h 2879303"/>
              <a:gd name="connsiteX2" fmla="*/ 2307742 w 2892425"/>
              <a:gd name="connsiteY2" fmla="*/ 2298575 h 2879303"/>
              <a:gd name="connsiteX3" fmla="*/ 0 w 2892425"/>
              <a:gd name="connsiteY3" fmla="*/ 2879303 h 2879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92425" h="2879303">
                <a:moveTo>
                  <a:pt x="0" y="0"/>
                </a:moveTo>
                <a:lnTo>
                  <a:pt x="2892425" y="0"/>
                </a:lnTo>
                <a:lnTo>
                  <a:pt x="2307742" y="2298575"/>
                </a:lnTo>
                <a:lnTo>
                  <a:pt x="0" y="2879303"/>
                </a:lnTo>
                <a:close/>
              </a:path>
            </a:pathLst>
          </a:custGeom>
          <a:solidFill>
            <a:schemeClr val="bg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en-GB" sz="1600" err="1"/>
          </a:p>
        </p:txBody>
      </p:sp>
      <p:sp>
        <p:nvSpPr>
          <p:cNvPr id="272" name="Number">
            <a:extLst>
              <a:ext uri="{FF2B5EF4-FFF2-40B4-BE49-F238E27FC236}">
                <a16:creationId xmlns:a16="http://schemas.microsoft.com/office/drawing/2014/main" id="{05129C6C-1C1D-470A-AEB9-61C957AD29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11424" y="2060997"/>
            <a:ext cx="2880320" cy="2880171"/>
          </a:xfrm>
          <a:custGeom>
            <a:avLst/>
            <a:gdLst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517775 w 3022600"/>
              <a:gd name="connsiteY2" fmla="*/ 2520950 h 3024187"/>
              <a:gd name="connsiteX3" fmla="*/ 0 w 3022600"/>
              <a:gd name="connsiteY3" fmla="*/ 3024187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384501 w 3022600"/>
              <a:gd name="connsiteY2" fmla="*/ 2357596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407824 w 3022600"/>
              <a:gd name="connsiteY2" fmla="*/ 2420937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2600" h="3024187">
                <a:moveTo>
                  <a:pt x="0" y="0"/>
                </a:moveTo>
                <a:lnTo>
                  <a:pt x="3022600" y="0"/>
                </a:lnTo>
                <a:lnTo>
                  <a:pt x="2407824" y="2420937"/>
                </a:lnTo>
                <a:lnTo>
                  <a:pt x="0" y="3024187"/>
                </a:lnTo>
                <a:lnTo>
                  <a:pt x="0" y="0"/>
                </a:lnTo>
                <a:close/>
              </a:path>
            </a:pathLst>
          </a:custGeom>
          <a:solidFill>
            <a:srgbClr val="7B4DB3"/>
          </a:solidFill>
          <a:ln w="127">
            <a:solidFill>
              <a:srgbClr val="7B4DB3">
                <a:alpha val="0"/>
              </a:srgbClr>
            </a:solidFill>
          </a:ln>
        </p:spPr>
        <p:txBody>
          <a:bodyPr wrap="square" lIns="21600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9pPr>
          </a:lstStyle>
          <a:p>
            <a:r>
              <a:rPr lang="en-GB"/>
              <a:t>00</a:t>
            </a:r>
          </a:p>
        </p:txBody>
      </p:sp>
      <p:sp>
        <p:nvSpPr>
          <p:cNvPr id="2" name="Title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4727849" y="1989184"/>
            <a:ext cx="5040000" cy="1799856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tIns="36000" rIns="216000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Divider slide | Insert your headline in maximal three lines her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46297C-A90E-4725-9584-F26D2B59D3D8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4727848" y="3717033"/>
            <a:ext cx="5040000" cy="936104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271" name="Source">
            <a:extLst>
              <a:ext uri="{FF2B5EF4-FFF2-40B4-BE49-F238E27FC236}">
                <a16:creationId xmlns:a16="http://schemas.microsoft.com/office/drawing/2014/main" id="{DAC8EFAD-9559-4867-97CB-ABA60D14E8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87488" y="6525000"/>
            <a:ext cx="9144512" cy="144000"/>
          </a:xfrm>
        </p:spPr>
        <p:txBody>
          <a:bodyPr anchor="b"/>
          <a:lstStyle>
            <a:lvl1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2pPr>
            <a:lvl3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3pPr>
            <a:lvl4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6pPr>
            <a:lvl7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7pPr>
            <a:lvl8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8pPr>
            <a:lvl9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/>
              <a:t>Source, Footnot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4C4D2C-3CD7-4167-ACBE-67C59EAFCF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3A6EEE-896C-4CFC-B5A2-5866ED5AFA46}" type="datetime1">
              <a:rPr lang="en-GB" smtClean="0"/>
              <a:t>12/02/2026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17F1470-B343-C390-7A8B-E257A28541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9DB696-345D-0EAF-6BFC-545F90AEC6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18929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|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4777E04-242A-BFE7-E66F-F3968A1C63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9632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777E04-242A-BFE7-E66F-F3968A1C63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32534F82-1506-EBFD-8238-2A3F85566F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5D8080AE-AF83-3B4F-C0DC-1D334A29B9AF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BC326249-F777-5B56-C3FA-677BDADB4DCA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22E961BF-DA7D-4A16-47E3-2C4EB81CDD92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D6DD0E49-17F5-E90D-B347-C3CF04F8A7E7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158EF7C0-5A26-3623-35A7-8FF5FD3D1A45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15A7D909-AD3B-9783-1B2B-83A76C90172A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2" name="Rechteck 171">
              <a:extLst>
                <a:ext uri="{FF2B5EF4-FFF2-40B4-BE49-F238E27FC236}">
                  <a16:creationId xmlns:a16="http://schemas.microsoft.com/office/drawing/2014/main" id="{B479E4C1-99FA-3A5A-1F27-6EC380E4A540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3" name="Rechteck 172">
              <a:extLst>
                <a:ext uri="{FF2B5EF4-FFF2-40B4-BE49-F238E27FC236}">
                  <a16:creationId xmlns:a16="http://schemas.microsoft.com/office/drawing/2014/main" id="{49F639A4-D1E6-6C4E-17B4-DD3622FD4CCA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0AB83A91-A1D3-941E-7AB9-2AE0D3ECA3F5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63CE720C-BE12-BB10-A98A-72720E664547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1ACFEF9F-C299-4C80-DB65-19CC5F22084B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E1CC0775-7794-AAAD-52F4-1BFB1FD9337F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3" name="Rechteck 212">
              <a:extLst>
                <a:ext uri="{FF2B5EF4-FFF2-40B4-BE49-F238E27FC236}">
                  <a16:creationId xmlns:a16="http://schemas.microsoft.com/office/drawing/2014/main" id="{2CFE9583-286B-87DD-1C36-94D3295EB913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47DA1C60-D5A6-721F-C767-2D5702BD5806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5" name="Rechteck 214">
              <a:extLst>
                <a:ext uri="{FF2B5EF4-FFF2-40B4-BE49-F238E27FC236}">
                  <a16:creationId xmlns:a16="http://schemas.microsoft.com/office/drawing/2014/main" id="{2F207EC8-546F-1137-E2FA-5BF0D29DF9A6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6" name="Rechteck 215">
              <a:extLst>
                <a:ext uri="{FF2B5EF4-FFF2-40B4-BE49-F238E27FC236}">
                  <a16:creationId xmlns:a16="http://schemas.microsoft.com/office/drawing/2014/main" id="{FF3FCB96-48AB-22CB-2A7B-8D2968874F24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7" name="Rechteck 216">
              <a:extLst>
                <a:ext uri="{FF2B5EF4-FFF2-40B4-BE49-F238E27FC236}">
                  <a16:creationId xmlns:a16="http://schemas.microsoft.com/office/drawing/2014/main" id="{C6C9272E-00EC-C142-527C-15B2A6AF0D53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8" name="Rechteck 217">
              <a:extLst>
                <a:ext uri="{FF2B5EF4-FFF2-40B4-BE49-F238E27FC236}">
                  <a16:creationId xmlns:a16="http://schemas.microsoft.com/office/drawing/2014/main" id="{DA855F50-BFB6-FDCB-605D-82AEB671DFE9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9" name="Rechteck 218">
              <a:extLst>
                <a:ext uri="{FF2B5EF4-FFF2-40B4-BE49-F238E27FC236}">
                  <a16:creationId xmlns:a16="http://schemas.microsoft.com/office/drawing/2014/main" id="{4281739E-E7B7-9BDB-131F-84AC8C23BA96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0" name="Rechteck 219">
              <a:extLst>
                <a:ext uri="{FF2B5EF4-FFF2-40B4-BE49-F238E27FC236}">
                  <a16:creationId xmlns:a16="http://schemas.microsoft.com/office/drawing/2014/main" id="{C04C16CB-5373-D852-FB5B-60914E7AF52A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1" name="Rechteck 220">
              <a:extLst>
                <a:ext uri="{FF2B5EF4-FFF2-40B4-BE49-F238E27FC236}">
                  <a16:creationId xmlns:a16="http://schemas.microsoft.com/office/drawing/2014/main" id="{48C4EAAC-78ED-C7D0-8211-5405B2C8ADCA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2" name="Rechteck 221">
              <a:extLst>
                <a:ext uri="{FF2B5EF4-FFF2-40B4-BE49-F238E27FC236}">
                  <a16:creationId xmlns:a16="http://schemas.microsoft.com/office/drawing/2014/main" id="{73D46493-72AD-597A-D3CC-438D81F718DC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3" name="Rechteck 222">
              <a:extLst>
                <a:ext uri="{FF2B5EF4-FFF2-40B4-BE49-F238E27FC236}">
                  <a16:creationId xmlns:a16="http://schemas.microsoft.com/office/drawing/2014/main" id="{24D8B43D-A5A2-8CBB-5495-B660467A0AAB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4" name="Rechteck 223">
              <a:extLst>
                <a:ext uri="{FF2B5EF4-FFF2-40B4-BE49-F238E27FC236}">
                  <a16:creationId xmlns:a16="http://schemas.microsoft.com/office/drawing/2014/main" id="{EB9D1010-B747-503A-8066-C5ED5BC0E590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437ABC38-73D9-6559-0A64-5E8D0CB9476E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E8E9BA53-CCD6-0513-F591-306770708630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7" name="Rechteck 226">
              <a:extLst>
                <a:ext uri="{FF2B5EF4-FFF2-40B4-BE49-F238E27FC236}">
                  <a16:creationId xmlns:a16="http://schemas.microsoft.com/office/drawing/2014/main" id="{1468DA82-BBB6-29B8-F453-58AD471F1255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43263AA6-23B0-7397-E8C2-0EE9F0D881EB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9" name="Rechteck 228">
              <a:extLst>
                <a:ext uri="{FF2B5EF4-FFF2-40B4-BE49-F238E27FC236}">
                  <a16:creationId xmlns:a16="http://schemas.microsoft.com/office/drawing/2014/main" id="{F661DD01-F5F0-B43E-E1FF-D13097785BF3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0" name="Rechteck 229">
              <a:extLst>
                <a:ext uri="{FF2B5EF4-FFF2-40B4-BE49-F238E27FC236}">
                  <a16:creationId xmlns:a16="http://schemas.microsoft.com/office/drawing/2014/main" id="{821932BF-F2C0-F6A2-BE67-A123A05AE1CC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1" name="Rechteck 230">
              <a:extLst>
                <a:ext uri="{FF2B5EF4-FFF2-40B4-BE49-F238E27FC236}">
                  <a16:creationId xmlns:a16="http://schemas.microsoft.com/office/drawing/2014/main" id="{0B003E75-1D77-183D-6E22-FE16A2596159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2" name="Rechteck 231">
              <a:extLst>
                <a:ext uri="{FF2B5EF4-FFF2-40B4-BE49-F238E27FC236}">
                  <a16:creationId xmlns:a16="http://schemas.microsoft.com/office/drawing/2014/main" id="{96DEAB5D-90E2-4153-6B77-EA5AD8E0BE61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3" name="Rechteck 232">
              <a:extLst>
                <a:ext uri="{FF2B5EF4-FFF2-40B4-BE49-F238E27FC236}">
                  <a16:creationId xmlns:a16="http://schemas.microsoft.com/office/drawing/2014/main" id="{41168525-4BE4-965A-64B3-8819FA9D79C9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4" name="Rechteck 233">
              <a:extLst>
                <a:ext uri="{FF2B5EF4-FFF2-40B4-BE49-F238E27FC236}">
                  <a16:creationId xmlns:a16="http://schemas.microsoft.com/office/drawing/2014/main" id="{7E83C9FF-28AA-B4FE-F794-48A93886CA5B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5" name="Rechteck 234">
              <a:extLst>
                <a:ext uri="{FF2B5EF4-FFF2-40B4-BE49-F238E27FC236}">
                  <a16:creationId xmlns:a16="http://schemas.microsoft.com/office/drawing/2014/main" id="{E7462BBA-675E-BBCB-4A30-6CC137FF9F79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6" name="Rechteck 235">
              <a:extLst>
                <a:ext uri="{FF2B5EF4-FFF2-40B4-BE49-F238E27FC236}">
                  <a16:creationId xmlns:a16="http://schemas.microsoft.com/office/drawing/2014/main" id="{57AF37C3-247E-1FBD-2BA4-784ABFE9A93A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7" name="Rechteck 236">
              <a:extLst>
                <a:ext uri="{FF2B5EF4-FFF2-40B4-BE49-F238E27FC236}">
                  <a16:creationId xmlns:a16="http://schemas.microsoft.com/office/drawing/2014/main" id="{A8BF931C-C333-6389-150F-601F175977D1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8" name="Rechteck 237">
              <a:extLst>
                <a:ext uri="{FF2B5EF4-FFF2-40B4-BE49-F238E27FC236}">
                  <a16:creationId xmlns:a16="http://schemas.microsoft.com/office/drawing/2014/main" id="{702D6551-24FF-FF39-C272-C7232F56CBA7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9" name="Rechteck 238">
              <a:extLst>
                <a:ext uri="{FF2B5EF4-FFF2-40B4-BE49-F238E27FC236}">
                  <a16:creationId xmlns:a16="http://schemas.microsoft.com/office/drawing/2014/main" id="{411626C7-335D-D874-13DF-A76A12897459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0" name="Rechteck 239">
              <a:extLst>
                <a:ext uri="{FF2B5EF4-FFF2-40B4-BE49-F238E27FC236}">
                  <a16:creationId xmlns:a16="http://schemas.microsoft.com/office/drawing/2014/main" id="{8B148FB8-C0C0-A645-83CE-67E19139A152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1" name="Rechteck 240">
              <a:extLst>
                <a:ext uri="{FF2B5EF4-FFF2-40B4-BE49-F238E27FC236}">
                  <a16:creationId xmlns:a16="http://schemas.microsoft.com/office/drawing/2014/main" id="{7BA5B129-73E9-C5AB-3398-4E8FD3FE4084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2" name="Rechteck 241">
              <a:extLst>
                <a:ext uri="{FF2B5EF4-FFF2-40B4-BE49-F238E27FC236}">
                  <a16:creationId xmlns:a16="http://schemas.microsoft.com/office/drawing/2014/main" id="{6D877FEF-E81B-65FC-FEBC-62A8C582CB5B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3" name="Rechteck 242">
              <a:extLst>
                <a:ext uri="{FF2B5EF4-FFF2-40B4-BE49-F238E27FC236}">
                  <a16:creationId xmlns:a16="http://schemas.microsoft.com/office/drawing/2014/main" id="{94099468-B996-CC9D-69C1-2D7CAA5BD129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4" name="Rechteck 243">
              <a:extLst>
                <a:ext uri="{FF2B5EF4-FFF2-40B4-BE49-F238E27FC236}">
                  <a16:creationId xmlns:a16="http://schemas.microsoft.com/office/drawing/2014/main" id="{F4FA763D-3005-F2F4-10A0-ED8F132E79AE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5" name="Rechteck 244">
              <a:extLst>
                <a:ext uri="{FF2B5EF4-FFF2-40B4-BE49-F238E27FC236}">
                  <a16:creationId xmlns:a16="http://schemas.microsoft.com/office/drawing/2014/main" id="{29682364-1D4A-FB00-BA89-4D76DE584234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6" name="Rechteck 245">
              <a:extLst>
                <a:ext uri="{FF2B5EF4-FFF2-40B4-BE49-F238E27FC236}">
                  <a16:creationId xmlns:a16="http://schemas.microsoft.com/office/drawing/2014/main" id="{B58D876E-3793-7EFA-AA5B-00125CA374E0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7" name="Rechteck 246">
              <a:extLst>
                <a:ext uri="{FF2B5EF4-FFF2-40B4-BE49-F238E27FC236}">
                  <a16:creationId xmlns:a16="http://schemas.microsoft.com/office/drawing/2014/main" id="{80191F52-E13B-72FD-2E75-6B595EC2665C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8" name="Rechteck 247">
              <a:extLst>
                <a:ext uri="{FF2B5EF4-FFF2-40B4-BE49-F238E27FC236}">
                  <a16:creationId xmlns:a16="http://schemas.microsoft.com/office/drawing/2014/main" id="{C9F244E1-BF86-3DF8-9A58-4B02584B7426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9" name="Rechteck 248">
              <a:extLst>
                <a:ext uri="{FF2B5EF4-FFF2-40B4-BE49-F238E27FC236}">
                  <a16:creationId xmlns:a16="http://schemas.microsoft.com/office/drawing/2014/main" id="{D14EE24A-F952-5130-4FB5-2FBAEC086821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0" name="Rechteck 249">
              <a:extLst>
                <a:ext uri="{FF2B5EF4-FFF2-40B4-BE49-F238E27FC236}">
                  <a16:creationId xmlns:a16="http://schemas.microsoft.com/office/drawing/2014/main" id="{F8E5A96D-8D8A-97F5-96D2-399E425F19FB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1" name="Rechteck 250">
              <a:extLst>
                <a:ext uri="{FF2B5EF4-FFF2-40B4-BE49-F238E27FC236}">
                  <a16:creationId xmlns:a16="http://schemas.microsoft.com/office/drawing/2014/main" id="{EF7C7DD9-2BB0-1E23-AC5B-9FAD412BD337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2" name="Rechteck 251">
              <a:extLst>
                <a:ext uri="{FF2B5EF4-FFF2-40B4-BE49-F238E27FC236}">
                  <a16:creationId xmlns:a16="http://schemas.microsoft.com/office/drawing/2014/main" id="{AF107BAA-784B-7CF0-8A0A-F5B4CAA7DF03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3" name="Rechteck 252">
              <a:extLst>
                <a:ext uri="{FF2B5EF4-FFF2-40B4-BE49-F238E27FC236}">
                  <a16:creationId xmlns:a16="http://schemas.microsoft.com/office/drawing/2014/main" id="{F2FE2ED3-05EF-3D21-6A3A-54E4430BBBAB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4" name="Rechteck 253">
              <a:extLst>
                <a:ext uri="{FF2B5EF4-FFF2-40B4-BE49-F238E27FC236}">
                  <a16:creationId xmlns:a16="http://schemas.microsoft.com/office/drawing/2014/main" id="{36EE0479-6AF7-23B0-9143-1E7D473986E1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5" name="Rechteck 254">
              <a:extLst>
                <a:ext uri="{FF2B5EF4-FFF2-40B4-BE49-F238E27FC236}">
                  <a16:creationId xmlns:a16="http://schemas.microsoft.com/office/drawing/2014/main" id="{46634663-152C-3F16-7240-37D328C5B56F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8EBB1F17-D396-0307-26C4-B269910A49B1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23D2124E-93E5-E21B-5687-B86DDB906490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A1BFEADB-AF63-D874-2550-09EFE52467ED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F6875E95-249A-A482-36DD-1081407297C5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E5F521E5-C95D-650A-0870-FFDBB97B60BC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5FFF7890-7927-791B-DEC5-D44A8078A242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ACD3E02D-4E72-71CE-B37B-B1823D43002B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D17B773B-4EA4-4C93-EA2D-459E5A69C1F3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5DD5E1CE-A44C-223C-73B6-2F75D76784DA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48A8B844-BE83-034C-D901-8B4999184DE2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4695CB49-EDC9-1DA0-7DA9-1DEC526A17EC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66CAA2D2-895B-8940-7E52-BBEBCDEF8B73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B53D8AC4-8D17-338E-149D-BCC53BE8B5B7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0B1E8C07-A0C0-61EB-58F6-63A873E0188D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0" name="Rechteck 269">
              <a:extLst>
                <a:ext uri="{FF2B5EF4-FFF2-40B4-BE49-F238E27FC236}">
                  <a16:creationId xmlns:a16="http://schemas.microsoft.com/office/drawing/2014/main" id="{0C3C644C-1654-C9C4-A20F-414EB9929FAB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1" name="Rechteck 270">
              <a:extLst>
                <a:ext uri="{FF2B5EF4-FFF2-40B4-BE49-F238E27FC236}">
                  <a16:creationId xmlns:a16="http://schemas.microsoft.com/office/drawing/2014/main" id="{3BA8B1E7-9033-A636-6C35-71F27C815723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15FC7DDE-2878-6F09-C189-8E52B1220099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DA75147D-1D80-4CE1-D090-7A971D567216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EE9B3972-0150-DD80-45C8-A3212272D6A1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DE2D9045-F74E-1478-3EE8-00DE9D255A45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5FCE645C-4519-5755-AD97-FE310E5605E4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D74B9EDC-D7B0-A1C0-9654-18BD4185ACEE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D6463FFD-8AA6-5995-495C-77CA3159912B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93D6D3A8-B445-981B-587E-0B5323834F3D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F96E58A7-6D5A-538E-9006-8230B2F74944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AF4517F7-E5FD-D8EF-836B-5716F5C5A5FA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8A5B91A1-403C-83A8-33B4-A70A055AAA55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3" name="Rechteck 282">
              <a:extLst>
                <a:ext uri="{FF2B5EF4-FFF2-40B4-BE49-F238E27FC236}">
                  <a16:creationId xmlns:a16="http://schemas.microsoft.com/office/drawing/2014/main" id="{2E28C4FC-DA87-BEF0-4A16-9B5B34053824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5E592081-8E7C-EB64-94D5-E97C655691B0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97B31262-C004-1B77-F6B5-4A860776D4AC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055FC7A0-0700-5460-D215-DE79D3C13109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FC2029D4-6CB4-E460-E1B5-1F91D006CB75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FC1C4111-69C1-BC9C-B332-8E3A700CA0B7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5434EB44-A966-91E3-3032-FF9136855CEB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7575E3BC-19E2-DE93-EB83-A5AAE10708C3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50762871-F1DA-FB45-2F50-78F99EC73BEB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095C8337-DB1F-09E5-ED29-CD396B2CA4BF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735E28DB-B140-44A6-B165-5F6E5F7D16D5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A7916FD5-974C-0ABE-6F9F-4DC38722AD66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31C32AC5-8088-58B8-F758-9122FADDE40C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9A6753EC-91CB-BCE6-1BAA-4B9825B2E428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EB924952-E665-EC37-DAA1-CF6D07AFDADF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440850A6-C8B6-970B-F0B8-9BB820BD1698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E101BA5C-0696-874D-2424-E986E0CD6556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B5473C80-F860-7B10-EDF2-21F0718ACBF4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399EF873-220F-959C-5A9F-7504E462C386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0092FE3C-1F32-990A-8E2D-6617A13047E4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340A177D-CEC2-35A6-6637-BA783D0AA91A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8D9A015C-D984-D8EF-B43D-4A5D7CEC39B8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8F1D5FE6-9BF6-23A4-3875-0C03DC62787C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1AF14334-ED89-DC4D-A747-2A3149E95403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AF380567-1BEF-D144-E6CE-AD87A8FB1A87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A48469E2-8004-7AE7-9209-AFA2A99C3AAC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0DE39E82-0D89-D957-ECB4-063D88A8E311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2C195A2A-3F2C-046A-31BA-EDA65ABA684C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63BADE9B-4EC8-6FB4-83AC-8597CBC2FFA9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F94EC168-956C-0905-4669-1E5F3200407C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06BD54F1-F400-A51D-70B0-949B4AE5432B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1C9B8F9D-423B-53C5-7031-C0F29D2A07CF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BD9D6A2F-7F82-AA2C-B46B-F1D35116F43B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B42B637F-B697-A05B-E506-8582E04F5063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386C7AB2-3DB7-B8B0-8F8E-932BF77798B5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DF2C3921-A6EE-1564-8EB6-86E54CAE2F37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9A291F76-F9C0-4F1F-322B-F8C7B8D2649F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FA125E10-7CAF-F526-8FEC-E27E7FDC9326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5A3BF2D0-6A06-F29A-3657-BA90B3703F17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25F71FB4-D6B8-A0FE-9672-6632D2E1258C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A652998C-3EC7-BBB5-6D2F-5E7C1F96362B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09EAA50E-0B31-AC04-F6D6-F10E52B9F4E5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C525EE89-11AE-229F-69FE-298E6A89AAB7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FC309F6C-B597-5BCB-27FC-DA7C41A614DD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C0F13427-A1DE-89C9-F1A3-6998F03DFE5D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75568E60-1C8A-E7DE-1D3A-87ED86E984CF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887AF5E4-682A-B89B-E9D7-8AC515F58250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9E2B0B3C-85E5-CE06-F36C-6B63B36DADCC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5B3B5E18-1BD3-A166-84B7-EC6854E6F119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A64AEAE6-889A-8031-4AF7-77A36D6C04F5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7949AF8C-0F4C-D570-6A0C-ABAB83C5EB5E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B8BC125B-AFFC-84D5-43B2-FC41E5B561D5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19CBFE2D-1F4A-38ED-5DC4-E3C956CAD277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A037AE53-43BB-8111-F6BC-3FF00615C29C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84CF2BAA-0E7A-1A64-738A-77538E867FB3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470FBC55-675A-4E80-4401-7ED3E9BA727D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8C92ECB3-C0F5-81EB-ACBC-6DA198F6F407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FC491929-101B-B10E-C62C-AD30B5F7DD38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C32CA8D9-07C7-BA48-B2F8-863B353E9FCC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1A9B1259-B694-CD32-C2DA-85EF65E42187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7F7A2297-390D-E084-DFAA-D415006AAF07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71144E8E-2823-61C3-D930-12801B7CDA8A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19554DE5-E0F3-3D41-472F-13F3763316CC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BBE45D6E-1506-D449-DAB8-E4AC4BC4B70D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48A90556-9999-C807-3E5E-99054EAE6657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CFFF9AE8-7FFF-642E-EA0E-252110334DB4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D00C04BB-FD84-7C92-0A17-05F4C19331D2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91A5D1AD-FAD3-8920-AA6B-881738C7A579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091D4A12-1AFA-3923-1836-D29070546D4A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5E4FC953-2CD8-1F44-0AEB-C2724625531B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1F2CCFB4-C12F-CE74-57CD-FF12D420CA89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D5889B24-014C-AACD-6704-59A4A0D5C14C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48907522-1FD0-5C35-A116-15B577F49970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6CD48130-78E2-FFE6-90D2-788927EBA5B0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1A053ED9-AF37-ECE5-EEA2-04A5D1B8EA83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94F1E6CA-38D5-6415-FECE-9FE38050D140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5FB83D34-4A22-4A04-1093-571CBFDB4AC7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845ECAF5-AD2D-B461-083C-37EFC201EA98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4774FB9A-B077-63B4-8D96-87F1C21D3B01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29B5E140-51EC-3F0D-C4CF-B7ECE78D9BBE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C9AA032B-80DC-A135-6C91-B2682CCD5754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E868F3A5-6207-CAD3-B0DB-DE755FC4DE6A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ED6F84BD-2D87-DA06-692B-51F281295878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C9E9CDD8-98DD-33DF-1E5A-7178FD8BBCA6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99C36470-3EB7-2F89-9B16-F09DF70B91D7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72FC14F1-9EB7-2DE0-6785-CA0E51AA9630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AC05846F-3741-1A74-BB34-1F2924DD54F2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51F5A38E-1326-554E-20C1-4DFE94F43BCC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A87FB715-D88F-35AC-332E-06F6F985E417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EA6CB972-20D1-B212-802B-EDB7AB98A2AE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0040422A-A05C-53B1-13CC-B636F95ED3D3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666AC9D4-7B45-E1BA-A64B-FA31E7C456CF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F9915DAC-1BD3-AE4B-F004-D5A18AEA5899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2FA6E05B-0AE3-01B2-8714-7BF9DDE18533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51E06D59-CDD0-BAB1-665B-431268EA64EA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0D353E87-C263-4055-8EE9-1F7F06FA8830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B26CB989-A5A8-620B-ACAF-43DA60181597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A6764D34-83D5-1B60-6501-E750EE85E0E9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AFBD627E-5245-6945-06F3-5CED924717FB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7866DF84-586B-A0EB-8AD1-DF720D177B2C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36D8321F-48E0-27E1-0C95-9BD7853368D5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82016D08-4B10-E41B-28D8-6384695E2775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CCCCC6CB-B481-B65E-56B0-68E3EB05EF24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DCB9DB2C-53AB-B02B-A941-F1209DF9BA9B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A18DB5F0-03F5-17CA-1D04-ECB89DC7AACF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8AFC8ABD-924D-919F-73EE-7515D9B53BA6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69F1A562-3F13-F7E3-2205-7960A4ED1078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pic>
        <p:nvPicPr>
          <p:cNvPr id="390" name="Logo">
            <a:extLst>
              <a:ext uri="{FF2B5EF4-FFF2-40B4-BE49-F238E27FC236}">
                <a16:creationId xmlns:a16="http://schemas.microsoft.com/office/drawing/2014/main" id="{68AC4FDA-6697-1E82-D72F-E80B2C9017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  <p:grpSp>
        <p:nvGrpSpPr>
          <p:cNvPr id="395" name="Gruppieren 394">
            <a:extLst>
              <a:ext uri="{FF2B5EF4-FFF2-40B4-BE49-F238E27FC236}">
                <a16:creationId xmlns:a16="http://schemas.microsoft.com/office/drawing/2014/main" id="{2A2B01A3-8671-A6DB-3AD5-52305CBD43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1" y="2082829"/>
            <a:ext cx="2448000" cy="0"/>
            <a:chOff x="983432" y="2082829"/>
            <a:chExt cx="2448000" cy="0"/>
          </a:xfrm>
        </p:grpSpPr>
        <p:cxnSp>
          <p:nvCxnSpPr>
            <p:cNvPr id="396" name="Line">
              <a:extLst>
                <a:ext uri="{FF2B5EF4-FFF2-40B4-BE49-F238E27FC236}">
                  <a16:creationId xmlns:a16="http://schemas.microsoft.com/office/drawing/2014/main" id="{D5CA2A2B-3AFA-2A34-9C4F-1795B8C546F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7" name="Line">
              <a:extLst>
                <a:ext uri="{FF2B5EF4-FFF2-40B4-BE49-F238E27FC236}">
                  <a16:creationId xmlns:a16="http://schemas.microsoft.com/office/drawing/2014/main" id="{499FA9B0-41DE-42A0-0D2E-9B835D55D04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rgbClr val="519FB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8" name="Shape">
            <a:extLst>
              <a:ext uri="{FF2B5EF4-FFF2-40B4-BE49-F238E27FC236}">
                <a16:creationId xmlns:a16="http://schemas.microsoft.com/office/drawing/2014/main" id="{F5321458-CC8B-D7DB-B839-3ED0BCCC26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0848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399" name="Bildplatzhalter 398">
            <a:extLst>
              <a:ext uri="{FF2B5EF4-FFF2-40B4-BE49-F238E27FC236}">
                <a16:creationId xmlns:a16="http://schemas.microsoft.com/office/drawing/2014/main" id="{548B01D6-1A79-F4B3-0D53-2E69D8FF9D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367809" y="2061400"/>
            <a:ext cx="5760640" cy="3463099"/>
          </a:xfrm>
          <a:custGeom>
            <a:avLst/>
            <a:gdLst>
              <a:gd name="connsiteX0" fmla="*/ 5760640 w 5760640"/>
              <a:gd name="connsiteY0" fmla="*/ 0 h 3463099"/>
              <a:gd name="connsiteX1" fmla="*/ 4609453 w 5760640"/>
              <a:gd name="connsiteY1" fmla="*/ 2311556 h 3463099"/>
              <a:gd name="connsiteX2" fmla="*/ 0 w 5760640"/>
              <a:gd name="connsiteY2" fmla="*/ 3463099 h 3463099"/>
              <a:gd name="connsiteX3" fmla="*/ 0 w 5760640"/>
              <a:gd name="connsiteY3" fmla="*/ 518 h 3463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60640" h="3463099">
                <a:moveTo>
                  <a:pt x="5760640" y="0"/>
                </a:moveTo>
                <a:lnTo>
                  <a:pt x="4609453" y="2311556"/>
                </a:lnTo>
                <a:lnTo>
                  <a:pt x="0" y="3463099"/>
                </a:lnTo>
                <a:lnTo>
                  <a:pt x="0" y="518"/>
                </a:lnTo>
                <a:close/>
              </a:path>
            </a:pathLst>
          </a:custGeom>
          <a:solidFill>
            <a:srgbClr val="519FBC"/>
          </a:solidFill>
        </p:spPr>
        <p:txBody>
          <a:bodyPr wrap="square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391" name="Title">
            <a:extLst>
              <a:ext uri="{FF2B5EF4-FFF2-40B4-BE49-F238E27FC236}">
                <a16:creationId xmlns:a16="http://schemas.microsoft.com/office/drawing/2014/main" id="{AFE8FB08-C394-0927-1635-0D7B1B1DF06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695400" y="2564904"/>
            <a:ext cx="2952000" cy="1152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36000" rIns="216000" anchor="t">
            <a:noAutofit/>
          </a:bodyPr>
          <a:lstStyle>
            <a:lvl1pPr algn="l" rtl="0">
              <a:lnSpc>
                <a:spcPct val="90000"/>
              </a:lnSpc>
              <a:defRPr sz="2400"/>
            </a:lvl1pPr>
          </a:lstStyle>
          <a:p>
            <a:r>
              <a:rPr lang="en-US"/>
              <a:t>Insert your long title here in max. three lines</a:t>
            </a:r>
            <a:endParaRPr lang="en-US" dirty="0"/>
          </a:p>
        </p:txBody>
      </p:sp>
      <p:sp>
        <p:nvSpPr>
          <p:cNvPr id="392" name="Subtitle 2">
            <a:extLst>
              <a:ext uri="{FF2B5EF4-FFF2-40B4-BE49-F238E27FC236}">
                <a16:creationId xmlns:a16="http://schemas.microsoft.com/office/drawing/2014/main" id="{2C73C20C-0C65-985B-DA85-E7C67365D3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400" y="3717032"/>
            <a:ext cx="2952000" cy="1202385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393" name="Author">
            <a:extLst>
              <a:ext uri="{FF2B5EF4-FFF2-40B4-BE49-F238E27FC236}">
                <a16:creationId xmlns:a16="http://schemas.microsoft.com/office/drawing/2014/main" id="{B9D7B0DE-954C-8A3D-EF54-7991A0A4CE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400" y="4869160"/>
            <a:ext cx="2952000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 anchor="b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US"/>
              <a:t>First name Last name</a:t>
            </a:r>
            <a:endParaRPr lang="en-US" dirty="0"/>
          </a:p>
        </p:txBody>
      </p:sp>
      <p:sp>
        <p:nvSpPr>
          <p:cNvPr id="394" name="Department, Date">
            <a:extLst>
              <a:ext uri="{FF2B5EF4-FFF2-40B4-BE49-F238E27FC236}">
                <a16:creationId xmlns:a16="http://schemas.microsoft.com/office/drawing/2014/main" id="{ECE5E946-7FD8-F6AF-AB1B-79AA7DAF0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5085160"/>
            <a:ext cx="2952000" cy="720104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US"/>
              <a:t>Department</a:t>
            </a:r>
            <a:br>
              <a:rPr lang="en-US"/>
            </a:br>
            <a:r>
              <a:rPr lang="en-US"/>
              <a:t>DD/MM/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9330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|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EDA0DFE-AD5E-AF53-09EC-F20DC0451F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4671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DA0DFE-AD5E-AF53-09EC-F20DC0451F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32534F82-1506-EBFD-8238-2A3F85566F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  <a:solidFill>
            <a:schemeClr val="tx1"/>
          </a:solidFill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5D8080AE-AF83-3B4F-C0DC-1D334A29B9AF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BC326249-F777-5B56-C3FA-677BDADB4DCA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22E961BF-DA7D-4A16-47E3-2C4EB81CDD92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D6DD0E49-17F5-E90D-B347-C3CF04F8A7E7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158EF7C0-5A26-3623-35A7-8FF5FD3D1A45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15A7D909-AD3B-9783-1B2B-83A76C90172A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2" name="Rechteck 171">
              <a:extLst>
                <a:ext uri="{FF2B5EF4-FFF2-40B4-BE49-F238E27FC236}">
                  <a16:creationId xmlns:a16="http://schemas.microsoft.com/office/drawing/2014/main" id="{B479E4C1-99FA-3A5A-1F27-6EC380E4A540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3" name="Rechteck 172">
              <a:extLst>
                <a:ext uri="{FF2B5EF4-FFF2-40B4-BE49-F238E27FC236}">
                  <a16:creationId xmlns:a16="http://schemas.microsoft.com/office/drawing/2014/main" id="{49F639A4-D1E6-6C4E-17B4-DD3622FD4CCA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0AB83A91-A1D3-941E-7AB9-2AE0D3ECA3F5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63CE720C-BE12-BB10-A98A-72720E664547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1ACFEF9F-C299-4C80-DB65-19CC5F22084B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E1CC0775-7794-AAAD-52F4-1BFB1FD9337F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3" name="Rechteck 212">
              <a:extLst>
                <a:ext uri="{FF2B5EF4-FFF2-40B4-BE49-F238E27FC236}">
                  <a16:creationId xmlns:a16="http://schemas.microsoft.com/office/drawing/2014/main" id="{2CFE9583-286B-87DD-1C36-94D3295EB913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47DA1C60-D5A6-721F-C767-2D5702BD5806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5" name="Rechteck 214">
              <a:extLst>
                <a:ext uri="{FF2B5EF4-FFF2-40B4-BE49-F238E27FC236}">
                  <a16:creationId xmlns:a16="http://schemas.microsoft.com/office/drawing/2014/main" id="{2F207EC8-546F-1137-E2FA-5BF0D29DF9A6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6" name="Rechteck 215">
              <a:extLst>
                <a:ext uri="{FF2B5EF4-FFF2-40B4-BE49-F238E27FC236}">
                  <a16:creationId xmlns:a16="http://schemas.microsoft.com/office/drawing/2014/main" id="{FF3FCB96-48AB-22CB-2A7B-8D2968874F24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7" name="Rechteck 216">
              <a:extLst>
                <a:ext uri="{FF2B5EF4-FFF2-40B4-BE49-F238E27FC236}">
                  <a16:creationId xmlns:a16="http://schemas.microsoft.com/office/drawing/2014/main" id="{C6C9272E-00EC-C142-527C-15B2A6AF0D53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8" name="Rechteck 217">
              <a:extLst>
                <a:ext uri="{FF2B5EF4-FFF2-40B4-BE49-F238E27FC236}">
                  <a16:creationId xmlns:a16="http://schemas.microsoft.com/office/drawing/2014/main" id="{DA855F50-BFB6-FDCB-605D-82AEB671DFE9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9" name="Rechteck 218">
              <a:extLst>
                <a:ext uri="{FF2B5EF4-FFF2-40B4-BE49-F238E27FC236}">
                  <a16:creationId xmlns:a16="http://schemas.microsoft.com/office/drawing/2014/main" id="{4281739E-E7B7-9BDB-131F-84AC8C23BA96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0" name="Rechteck 219">
              <a:extLst>
                <a:ext uri="{FF2B5EF4-FFF2-40B4-BE49-F238E27FC236}">
                  <a16:creationId xmlns:a16="http://schemas.microsoft.com/office/drawing/2014/main" id="{C04C16CB-5373-D852-FB5B-60914E7AF52A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1" name="Rechteck 220">
              <a:extLst>
                <a:ext uri="{FF2B5EF4-FFF2-40B4-BE49-F238E27FC236}">
                  <a16:creationId xmlns:a16="http://schemas.microsoft.com/office/drawing/2014/main" id="{48C4EAAC-78ED-C7D0-8211-5405B2C8ADCA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2" name="Rechteck 221">
              <a:extLst>
                <a:ext uri="{FF2B5EF4-FFF2-40B4-BE49-F238E27FC236}">
                  <a16:creationId xmlns:a16="http://schemas.microsoft.com/office/drawing/2014/main" id="{73D46493-72AD-597A-D3CC-438D81F718DC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3" name="Rechteck 222">
              <a:extLst>
                <a:ext uri="{FF2B5EF4-FFF2-40B4-BE49-F238E27FC236}">
                  <a16:creationId xmlns:a16="http://schemas.microsoft.com/office/drawing/2014/main" id="{24D8B43D-A5A2-8CBB-5495-B660467A0AAB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4" name="Rechteck 223">
              <a:extLst>
                <a:ext uri="{FF2B5EF4-FFF2-40B4-BE49-F238E27FC236}">
                  <a16:creationId xmlns:a16="http://schemas.microsoft.com/office/drawing/2014/main" id="{EB9D1010-B747-503A-8066-C5ED5BC0E590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437ABC38-73D9-6559-0A64-5E8D0CB9476E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E8E9BA53-CCD6-0513-F591-306770708630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7" name="Rechteck 226">
              <a:extLst>
                <a:ext uri="{FF2B5EF4-FFF2-40B4-BE49-F238E27FC236}">
                  <a16:creationId xmlns:a16="http://schemas.microsoft.com/office/drawing/2014/main" id="{1468DA82-BBB6-29B8-F453-58AD471F1255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43263AA6-23B0-7397-E8C2-0EE9F0D881EB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9" name="Rechteck 228">
              <a:extLst>
                <a:ext uri="{FF2B5EF4-FFF2-40B4-BE49-F238E27FC236}">
                  <a16:creationId xmlns:a16="http://schemas.microsoft.com/office/drawing/2014/main" id="{F661DD01-F5F0-B43E-E1FF-D13097785BF3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0" name="Rechteck 229">
              <a:extLst>
                <a:ext uri="{FF2B5EF4-FFF2-40B4-BE49-F238E27FC236}">
                  <a16:creationId xmlns:a16="http://schemas.microsoft.com/office/drawing/2014/main" id="{821932BF-F2C0-F6A2-BE67-A123A05AE1CC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1" name="Rechteck 230">
              <a:extLst>
                <a:ext uri="{FF2B5EF4-FFF2-40B4-BE49-F238E27FC236}">
                  <a16:creationId xmlns:a16="http://schemas.microsoft.com/office/drawing/2014/main" id="{0B003E75-1D77-183D-6E22-FE16A2596159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2" name="Rechteck 231">
              <a:extLst>
                <a:ext uri="{FF2B5EF4-FFF2-40B4-BE49-F238E27FC236}">
                  <a16:creationId xmlns:a16="http://schemas.microsoft.com/office/drawing/2014/main" id="{96DEAB5D-90E2-4153-6B77-EA5AD8E0BE61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3" name="Rechteck 232">
              <a:extLst>
                <a:ext uri="{FF2B5EF4-FFF2-40B4-BE49-F238E27FC236}">
                  <a16:creationId xmlns:a16="http://schemas.microsoft.com/office/drawing/2014/main" id="{41168525-4BE4-965A-64B3-8819FA9D79C9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4" name="Rechteck 233">
              <a:extLst>
                <a:ext uri="{FF2B5EF4-FFF2-40B4-BE49-F238E27FC236}">
                  <a16:creationId xmlns:a16="http://schemas.microsoft.com/office/drawing/2014/main" id="{7E83C9FF-28AA-B4FE-F794-48A93886CA5B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5" name="Rechteck 234">
              <a:extLst>
                <a:ext uri="{FF2B5EF4-FFF2-40B4-BE49-F238E27FC236}">
                  <a16:creationId xmlns:a16="http://schemas.microsoft.com/office/drawing/2014/main" id="{E7462BBA-675E-BBCB-4A30-6CC137FF9F79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6" name="Rechteck 235">
              <a:extLst>
                <a:ext uri="{FF2B5EF4-FFF2-40B4-BE49-F238E27FC236}">
                  <a16:creationId xmlns:a16="http://schemas.microsoft.com/office/drawing/2014/main" id="{57AF37C3-247E-1FBD-2BA4-784ABFE9A93A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7" name="Rechteck 236">
              <a:extLst>
                <a:ext uri="{FF2B5EF4-FFF2-40B4-BE49-F238E27FC236}">
                  <a16:creationId xmlns:a16="http://schemas.microsoft.com/office/drawing/2014/main" id="{A8BF931C-C333-6389-150F-601F175977D1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8" name="Rechteck 237">
              <a:extLst>
                <a:ext uri="{FF2B5EF4-FFF2-40B4-BE49-F238E27FC236}">
                  <a16:creationId xmlns:a16="http://schemas.microsoft.com/office/drawing/2014/main" id="{702D6551-24FF-FF39-C272-C7232F56CBA7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9" name="Rechteck 238">
              <a:extLst>
                <a:ext uri="{FF2B5EF4-FFF2-40B4-BE49-F238E27FC236}">
                  <a16:creationId xmlns:a16="http://schemas.microsoft.com/office/drawing/2014/main" id="{411626C7-335D-D874-13DF-A76A12897459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0" name="Rechteck 239">
              <a:extLst>
                <a:ext uri="{FF2B5EF4-FFF2-40B4-BE49-F238E27FC236}">
                  <a16:creationId xmlns:a16="http://schemas.microsoft.com/office/drawing/2014/main" id="{8B148FB8-C0C0-A645-83CE-67E19139A152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1" name="Rechteck 240">
              <a:extLst>
                <a:ext uri="{FF2B5EF4-FFF2-40B4-BE49-F238E27FC236}">
                  <a16:creationId xmlns:a16="http://schemas.microsoft.com/office/drawing/2014/main" id="{7BA5B129-73E9-C5AB-3398-4E8FD3FE4084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2" name="Rechteck 241">
              <a:extLst>
                <a:ext uri="{FF2B5EF4-FFF2-40B4-BE49-F238E27FC236}">
                  <a16:creationId xmlns:a16="http://schemas.microsoft.com/office/drawing/2014/main" id="{6D877FEF-E81B-65FC-FEBC-62A8C582CB5B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3" name="Rechteck 242">
              <a:extLst>
                <a:ext uri="{FF2B5EF4-FFF2-40B4-BE49-F238E27FC236}">
                  <a16:creationId xmlns:a16="http://schemas.microsoft.com/office/drawing/2014/main" id="{94099468-B996-CC9D-69C1-2D7CAA5BD129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4" name="Rechteck 243">
              <a:extLst>
                <a:ext uri="{FF2B5EF4-FFF2-40B4-BE49-F238E27FC236}">
                  <a16:creationId xmlns:a16="http://schemas.microsoft.com/office/drawing/2014/main" id="{F4FA763D-3005-F2F4-10A0-ED8F132E79AE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5" name="Rechteck 244">
              <a:extLst>
                <a:ext uri="{FF2B5EF4-FFF2-40B4-BE49-F238E27FC236}">
                  <a16:creationId xmlns:a16="http://schemas.microsoft.com/office/drawing/2014/main" id="{29682364-1D4A-FB00-BA89-4D76DE584234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6" name="Rechteck 245">
              <a:extLst>
                <a:ext uri="{FF2B5EF4-FFF2-40B4-BE49-F238E27FC236}">
                  <a16:creationId xmlns:a16="http://schemas.microsoft.com/office/drawing/2014/main" id="{B58D876E-3793-7EFA-AA5B-00125CA374E0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7" name="Rechteck 246">
              <a:extLst>
                <a:ext uri="{FF2B5EF4-FFF2-40B4-BE49-F238E27FC236}">
                  <a16:creationId xmlns:a16="http://schemas.microsoft.com/office/drawing/2014/main" id="{80191F52-E13B-72FD-2E75-6B595EC2665C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8" name="Rechteck 247">
              <a:extLst>
                <a:ext uri="{FF2B5EF4-FFF2-40B4-BE49-F238E27FC236}">
                  <a16:creationId xmlns:a16="http://schemas.microsoft.com/office/drawing/2014/main" id="{C9F244E1-BF86-3DF8-9A58-4B02584B7426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9" name="Rechteck 248">
              <a:extLst>
                <a:ext uri="{FF2B5EF4-FFF2-40B4-BE49-F238E27FC236}">
                  <a16:creationId xmlns:a16="http://schemas.microsoft.com/office/drawing/2014/main" id="{D14EE24A-F952-5130-4FB5-2FBAEC086821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0" name="Rechteck 249">
              <a:extLst>
                <a:ext uri="{FF2B5EF4-FFF2-40B4-BE49-F238E27FC236}">
                  <a16:creationId xmlns:a16="http://schemas.microsoft.com/office/drawing/2014/main" id="{F8E5A96D-8D8A-97F5-96D2-399E425F19FB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1" name="Rechteck 250">
              <a:extLst>
                <a:ext uri="{FF2B5EF4-FFF2-40B4-BE49-F238E27FC236}">
                  <a16:creationId xmlns:a16="http://schemas.microsoft.com/office/drawing/2014/main" id="{EF7C7DD9-2BB0-1E23-AC5B-9FAD412BD337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2" name="Rechteck 251">
              <a:extLst>
                <a:ext uri="{FF2B5EF4-FFF2-40B4-BE49-F238E27FC236}">
                  <a16:creationId xmlns:a16="http://schemas.microsoft.com/office/drawing/2014/main" id="{AF107BAA-784B-7CF0-8A0A-F5B4CAA7DF03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3" name="Rechteck 252">
              <a:extLst>
                <a:ext uri="{FF2B5EF4-FFF2-40B4-BE49-F238E27FC236}">
                  <a16:creationId xmlns:a16="http://schemas.microsoft.com/office/drawing/2014/main" id="{F2FE2ED3-05EF-3D21-6A3A-54E4430BBBAB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4" name="Rechteck 253">
              <a:extLst>
                <a:ext uri="{FF2B5EF4-FFF2-40B4-BE49-F238E27FC236}">
                  <a16:creationId xmlns:a16="http://schemas.microsoft.com/office/drawing/2014/main" id="{36EE0479-6AF7-23B0-9143-1E7D473986E1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5" name="Rechteck 254">
              <a:extLst>
                <a:ext uri="{FF2B5EF4-FFF2-40B4-BE49-F238E27FC236}">
                  <a16:creationId xmlns:a16="http://schemas.microsoft.com/office/drawing/2014/main" id="{46634663-152C-3F16-7240-37D328C5B56F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8EBB1F17-D396-0307-26C4-B269910A49B1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23D2124E-93E5-E21B-5687-B86DDB906490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A1BFEADB-AF63-D874-2550-09EFE52467ED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F6875E95-249A-A482-36DD-1081407297C5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E5F521E5-C95D-650A-0870-FFDBB97B60BC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5FFF7890-7927-791B-DEC5-D44A8078A242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ACD3E02D-4E72-71CE-B37B-B1823D43002B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D17B773B-4EA4-4C93-EA2D-459E5A69C1F3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5DD5E1CE-A44C-223C-73B6-2F75D76784DA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48A8B844-BE83-034C-D901-8B4999184DE2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4695CB49-EDC9-1DA0-7DA9-1DEC526A17EC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66CAA2D2-895B-8940-7E52-BBEBCDEF8B73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B53D8AC4-8D17-338E-149D-BCC53BE8B5B7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0B1E8C07-A0C0-61EB-58F6-63A873E0188D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0" name="Rechteck 269">
              <a:extLst>
                <a:ext uri="{FF2B5EF4-FFF2-40B4-BE49-F238E27FC236}">
                  <a16:creationId xmlns:a16="http://schemas.microsoft.com/office/drawing/2014/main" id="{0C3C644C-1654-C9C4-A20F-414EB9929FAB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1" name="Rechteck 270">
              <a:extLst>
                <a:ext uri="{FF2B5EF4-FFF2-40B4-BE49-F238E27FC236}">
                  <a16:creationId xmlns:a16="http://schemas.microsoft.com/office/drawing/2014/main" id="{3BA8B1E7-9033-A636-6C35-71F27C815723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15FC7DDE-2878-6F09-C189-8E52B1220099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DA75147D-1D80-4CE1-D090-7A971D567216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EE9B3972-0150-DD80-45C8-A3212272D6A1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DE2D9045-F74E-1478-3EE8-00DE9D255A45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5FCE645C-4519-5755-AD97-FE310E5605E4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D74B9EDC-D7B0-A1C0-9654-18BD4185ACEE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D6463FFD-8AA6-5995-495C-77CA3159912B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93D6D3A8-B445-981B-587E-0B5323834F3D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F96E58A7-6D5A-538E-9006-8230B2F74944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AF4517F7-E5FD-D8EF-836B-5716F5C5A5FA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8A5B91A1-403C-83A8-33B4-A70A055AAA55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3" name="Rechteck 282">
              <a:extLst>
                <a:ext uri="{FF2B5EF4-FFF2-40B4-BE49-F238E27FC236}">
                  <a16:creationId xmlns:a16="http://schemas.microsoft.com/office/drawing/2014/main" id="{2E28C4FC-DA87-BEF0-4A16-9B5B34053824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5E592081-8E7C-EB64-94D5-E97C655691B0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97B31262-C004-1B77-F6B5-4A860776D4AC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055FC7A0-0700-5460-D215-DE79D3C13109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FC2029D4-6CB4-E460-E1B5-1F91D006CB75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FC1C4111-69C1-BC9C-B332-8E3A700CA0B7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5434EB44-A966-91E3-3032-FF9136855CEB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7575E3BC-19E2-DE93-EB83-A5AAE10708C3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50762871-F1DA-FB45-2F50-78F99EC73BEB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095C8337-DB1F-09E5-ED29-CD396B2CA4BF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735E28DB-B140-44A6-B165-5F6E5F7D16D5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A7916FD5-974C-0ABE-6F9F-4DC38722AD66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31C32AC5-8088-58B8-F758-9122FADDE40C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9A6753EC-91CB-BCE6-1BAA-4B9825B2E428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EB924952-E665-EC37-DAA1-CF6D07AFDADF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440850A6-C8B6-970B-F0B8-9BB820BD1698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E101BA5C-0696-874D-2424-E986E0CD6556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B5473C80-F860-7B10-EDF2-21F0718ACBF4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399EF873-220F-959C-5A9F-7504E462C386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0092FE3C-1F32-990A-8E2D-6617A13047E4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340A177D-CEC2-35A6-6637-BA783D0AA91A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8D9A015C-D984-D8EF-B43D-4A5D7CEC39B8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8F1D5FE6-9BF6-23A4-3875-0C03DC62787C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1AF14334-ED89-DC4D-A747-2A3149E95403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AF380567-1BEF-D144-E6CE-AD87A8FB1A87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A48469E2-8004-7AE7-9209-AFA2A99C3AAC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0DE39E82-0D89-D957-ECB4-063D88A8E311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2C195A2A-3F2C-046A-31BA-EDA65ABA684C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63BADE9B-4EC8-6FB4-83AC-8597CBC2FFA9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F94EC168-956C-0905-4669-1E5F3200407C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06BD54F1-F400-A51D-70B0-949B4AE5432B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1C9B8F9D-423B-53C5-7031-C0F29D2A07CF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BD9D6A2F-7F82-AA2C-B46B-F1D35116F43B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B42B637F-B697-A05B-E506-8582E04F5063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386C7AB2-3DB7-B8B0-8F8E-932BF77798B5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DF2C3921-A6EE-1564-8EB6-86E54CAE2F37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9A291F76-F9C0-4F1F-322B-F8C7B8D2649F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FA125E10-7CAF-F526-8FEC-E27E7FDC9326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5A3BF2D0-6A06-F29A-3657-BA90B3703F17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25F71FB4-D6B8-A0FE-9672-6632D2E1258C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A652998C-3EC7-BBB5-6D2F-5E7C1F96362B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09EAA50E-0B31-AC04-F6D6-F10E52B9F4E5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C525EE89-11AE-229F-69FE-298E6A89AAB7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FC309F6C-B597-5BCB-27FC-DA7C41A614DD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C0F13427-A1DE-89C9-F1A3-6998F03DFE5D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75568E60-1C8A-E7DE-1D3A-87ED86E984CF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887AF5E4-682A-B89B-E9D7-8AC515F58250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9E2B0B3C-85E5-CE06-F36C-6B63B36DADCC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5B3B5E18-1BD3-A166-84B7-EC6854E6F119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A64AEAE6-889A-8031-4AF7-77A36D6C04F5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7949AF8C-0F4C-D570-6A0C-ABAB83C5EB5E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B8BC125B-AFFC-84D5-43B2-FC41E5B561D5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19CBFE2D-1F4A-38ED-5DC4-E3C956CAD277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A037AE53-43BB-8111-F6BC-3FF00615C29C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84CF2BAA-0E7A-1A64-738A-77538E867FB3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470FBC55-675A-4E80-4401-7ED3E9BA727D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8C92ECB3-C0F5-81EB-ACBC-6DA198F6F407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FC491929-101B-B10E-C62C-AD30B5F7DD38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C32CA8D9-07C7-BA48-B2F8-863B353E9FCC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1A9B1259-B694-CD32-C2DA-85EF65E42187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7F7A2297-390D-E084-DFAA-D415006AAF07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71144E8E-2823-61C3-D930-12801B7CDA8A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19554DE5-E0F3-3D41-472F-13F3763316CC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BBE45D6E-1506-D449-DAB8-E4AC4BC4B70D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48A90556-9999-C807-3E5E-99054EAE6657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CFFF9AE8-7FFF-642E-EA0E-252110334DB4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D00C04BB-FD84-7C92-0A17-05F4C19331D2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91A5D1AD-FAD3-8920-AA6B-881738C7A579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091D4A12-1AFA-3923-1836-D29070546D4A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5E4FC953-2CD8-1F44-0AEB-C2724625531B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1F2CCFB4-C12F-CE74-57CD-FF12D420CA89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D5889B24-014C-AACD-6704-59A4A0D5C14C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48907522-1FD0-5C35-A116-15B577F49970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6CD48130-78E2-FFE6-90D2-788927EBA5B0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1A053ED9-AF37-ECE5-EEA2-04A5D1B8EA83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94F1E6CA-38D5-6415-FECE-9FE38050D140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5FB83D34-4A22-4A04-1093-571CBFDB4AC7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845ECAF5-AD2D-B461-083C-37EFC201EA98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4774FB9A-B077-63B4-8D96-87F1C21D3B01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29B5E140-51EC-3F0D-C4CF-B7ECE78D9BBE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C9AA032B-80DC-A135-6C91-B2682CCD5754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E868F3A5-6207-CAD3-B0DB-DE755FC4DE6A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ED6F84BD-2D87-DA06-692B-51F281295878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C9E9CDD8-98DD-33DF-1E5A-7178FD8BBCA6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99C36470-3EB7-2F89-9B16-F09DF70B91D7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72FC14F1-9EB7-2DE0-6785-CA0E51AA9630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AC05846F-3741-1A74-BB34-1F2924DD54F2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51F5A38E-1326-554E-20C1-4DFE94F43BCC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A87FB715-D88F-35AC-332E-06F6F985E417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EA6CB972-20D1-B212-802B-EDB7AB98A2AE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0040422A-A05C-53B1-13CC-B636F95ED3D3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666AC9D4-7B45-E1BA-A64B-FA31E7C456CF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F9915DAC-1BD3-AE4B-F004-D5A18AEA5899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2FA6E05B-0AE3-01B2-8714-7BF9DDE18533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51E06D59-CDD0-BAB1-665B-431268EA64EA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0D353E87-C263-4055-8EE9-1F7F06FA8830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B26CB989-A5A8-620B-ACAF-43DA60181597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A6764D34-83D5-1B60-6501-E750EE85E0E9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AFBD627E-5245-6945-06F3-5CED924717FB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7866DF84-586B-A0EB-8AD1-DF720D177B2C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36D8321F-48E0-27E1-0C95-9BD7853368D5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82016D08-4B10-E41B-28D8-6384695E2775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CCCCC6CB-B481-B65E-56B0-68E3EB05EF24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DCB9DB2C-53AB-B02B-A941-F1209DF9BA9B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A18DB5F0-03F5-17CA-1D04-ECB89DC7AACF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8AFC8ABD-924D-919F-73EE-7515D9B53BA6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69F1A562-3F13-F7E3-2205-7960A4ED1078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grpSp>
        <p:nvGrpSpPr>
          <p:cNvPr id="395" name="Gruppieren 394">
            <a:extLst>
              <a:ext uri="{FF2B5EF4-FFF2-40B4-BE49-F238E27FC236}">
                <a16:creationId xmlns:a16="http://schemas.microsoft.com/office/drawing/2014/main" id="{2A2B01A3-8671-A6DB-3AD5-52305CBD43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1" y="2082829"/>
            <a:ext cx="2448000" cy="0"/>
            <a:chOff x="983432" y="2082829"/>
            <a:chExt cx="2448000" cy="0"/>
          </a:xfrm>
        </p:grpSpPr>
        <p:cxnSp>
          <p:nvCxnSpPr>
            <p:cNvPr id="396" name="Line">
              <a:extLst>
                <a:ext uri="{FF2B5EF4-FFF2-40B4-BE49-F238E27FC236}">
                  <a16:creationId xmlns:a16="http://schemas.microsoft.com/office/drawing/2014/main" id="{D5CA2A2B-3AFA-2A34-9C4F-1795B8C546F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7" name="Line">
              <a:extLst>
                <a:ext uri="{FF2B5EF4-FFF2-40B4-BE49-F238E27FC236}">
                  <a16:creationId xmlns:a16="http://schemas.microsoft.com/office/drawing/2014/main" id="{499FA9B0-41DE-42A0-0D2E-9B835D55D04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8" name="Shape">
            <a:extLst>
              <a:ext uri="{FF2B5EF4-FFF2-40B4-BE49-F238E27FC236}">
                <a16:creationId xmlns:a16="http://schemas.microsoft.com/office/drawing/2014/main" id="{F5321458-CC8B-D7DB-B839-3ED0BCCC26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0848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399" name="Bildplatzhalter 398">
            <a:extLst>
              <a:ext uri="{FF2B5EF4-FFF2-40B4-BE49-F238E27FC236}">
                <a16:creationId xmlns:a16="http://schemas.microsoft.com/office/drawing/2014/main" id="{548B01D6-1A79-F4B3-0D53-2E69D8FF9D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367809" y="2061400"/>
            <a:ext cx="5760640" cy="3463099"/>
          </a:xfrm>
          <a:custGeom>
            <a:avLst/>
            <a:gdLst>
              <a:gd name="connsiteX0" fmla="*/ 5760640 w 5760640"/>
              <a:gd name="connsiteY0" fmla="*/ 0 h 3463099"/>
              <a:gd name="connsiteX1" fmla="*/ 4609453 w 5760640"/>
              <a:gd name="connsiteY1" fmla="*/ 2311556 h 3463099"/>
              <a:gd name="connsiteX2" fmla="*/ 0 w 5760640"/>
              <a:gd name="connsiteY2" fmla="*/ 3463099 h 3463099"/>
              <a:gd name="connsiteX3" fmla="*/ 0 w 5760640"/>
              <a:gd name="connsiteY3" fmla="*/ 518 h 3463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60640" h="3463099">
                <a:moveTo>
                  <a:pt x="5760640" y="0"/>
                </a:moveTo>
                <a:lnTo>
                  <a:pt x="4609453" y="2311556"/>
                </a:lnTo>
                <a:lnTo>
                  <a:pt x="0" y="3463099"/>
                </a:lnTo>
                <a:lnTo>
                  <a:pt x="0" y="51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391" name="Title">
            <a:extLst>
              <a:ext uri="{FF2B5EF4-FFF2-40B4-BE49-F238E27FC236}">
                <a16:creationId xmlns:a16="http://schemas.microsoft.com/office/drawing/2014/main" id="{AFE8FB08-C394-0927-1635-0D7B1B1DF06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695400" y="2564904"/>
            <a:ext cx="2952000" cy="1152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36000" rIns="216000" anchor="t">
            <a:noAutofit/>
          </a:bodyPr>
          <a:lstStyle>
            <a:lvl1pPr algn="l" rtl="0">
              <a:lnSpc>
                <a:spcPct val="90000"/>
              </a:lnSpc>
              <a:defRPr sz="2400"/>
            </a:lvl1pPr>
          </a:lstStyle>
          <a:p>
            <a:r>
              <a:rPr lang="en-US"/>
              <a:t>Insert your long title here in max. three lines</a:t>
            </a:r>
            <a:endParaRPr lang="en-US" dirty="0"/>
          </a:p>
        </p:txBody>
      </p:sp>
      <p:sp>
        <p:nvSpPr>
          <p:cNvPr id="392" name="Subtitle 2">
            <a:extLst>
              <a:ext uri="{FF2B5EF4-FFF2-40B4-BE49-F238E27FC236}">
                <a16:creationId xmlns:a16="http://schemas.microsoft.com/office/drawing/2014/main" id="{2C73C20C-0C65-985B-DA85-E7C67365D3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400" y="3717032"/>
            <a:ext cx="2952000" cy="1202385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393" name="Author">
            <a:extLst>
              <a:ext uri="{FF2B5EF4-FFF2-40B4-BE49-F238E27FC236}">
                <a16:creationId xmlns:a16="http://schemas.microsoft.com/office/drawing/2014/main" id="{B9D7B0DE-954C-8A3D-EF54-7991A0A4CE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400" y="4869160"/>
            <a:ext cx="2952000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 anchor="b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US"/>
              <a:t>First name Last name</a:t>
            </a:r>
            <a:endParaRPr lang="en-US" dirty="0"/>
          </a:p>
        </p:txBody>
      </p:sp>
      <p:sp>
        <p:nvSpPr>
          <p:cNvPr id="394" name="Department, Date">
            <a:extLst>
              <a:ext uri="{FF2B5EF4-FFF2-40B4-BE49-F238E27FC236}">
                <a16:creationId xmlns:a16="http://schemas.microsoft.com/office/drawing/2014/main" id="{ECE5E946-7FD8-F6AF-AB1B-79AA7DAF0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5085160"/>
            <a:ext cx="2952000" cy="720104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US"/>
              <a:t>Department</a:t>
            </a:r>
            <a:br>
              <a:rPr lang="en-US"/>
            </a:br>
            <a:r>
              <a:rPr lang="en-US"/>
              <a:t>DD/MM/YYYY</a:t>
            </a:r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EF79F37-1353-AEA3-D709-2A510576702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28448" y="335757"/>
            <a:ext cx="1357200" cy="575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1740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big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77042A3-DD0D-EFB2-6322-8D3A9323FF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8069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7042A3-DD0D-EFB2-6322-8D3A9323FF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6" name="Picture">
            <a:extLst>
              <a:ext uri="{FF2B5EF4-FFF2-40B4-BE49-F238E27FC236}">
                <a16:creationId xmlns:a16="http://schemas.microsoft.com/office/drawing/2014/main" id="{7F971BB4-CECE-4C6B-9C8F-D4F40265C4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EFDF75BA-555D-4338-B380-D9FEBC0FA6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9" hasCustomPrompt="1"/>
          </p:nvPr>
        </p:nvSpPr>
        <p:spPr bwMode="gray">
          <a:xfrm>
            <a:off x="10128000" y="333000"/>
            <a:ext cx="1357200" cy="576000"/>
          </a:xfr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27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 rtl="0">
              <a:spcBef>
                <a:spcPts val="0"/>
              </a:spcBef>
              <a:buNone/>
              <a:defRPr sz="100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10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0">
                <a:latin typeface="+mn-lt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 sz="1000" b="0"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0"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0"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0"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0">
                <a:latin typeface="+mn-lt"/>
              </a:defRPr>
            </a:lvl9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9BBA445-B1E4-2FDB-A199-21D492801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1425" y="1484785"/>
            <a:ext cx="4034431" cy="4608834"/>
          </a:xfrm>
          <a:custGeom>
            <a:avLst/>
            <a:gdLst>
              <a:gd name="connsiteX0" fmla="*/ 4029048 w 5051672"/>
              <a:gd name="connsiteY0" fmla="*/ 0 h 3547859"/>
              <a:gd name="connsiteX1" fmla="*/ 5051672 w 5051672"/>
              <a:gd name="connsiteY1" fmla="*/ 3547859 h 3547859"/>
              <a:gd name="connsiteX2" fmla="*/ 0 w 5051672"/>
              <a:gd name="connsiteY2" fmla="*/ 2520032 h 3547859"/>
              <a:gd name="connsiteX3" fmla="*/ 0 w 5051672"/>
              <a:gd name="connsiteY3" fmla="*/ 377 h 3547859"/>
              <a:gd name="connsiteX0" fmla="*/ 4029048 w 5075736"/>
              <a:gd name="connsiteY0" fmla="*/ 0 h 3229981"/>
              <a:gd name="connsiteX1" fmla="*/ 5075736 w 5075736"/>
              <a:gd name="connsiteY1" fmla="*/ 3229981 h 3229981"/>
              <a:gd name="connsiteX2" fmla="*/ 0 w 5075736"/>
              <a:gd name="connsiteY2" fmla="*/ 2520032 h 3229981"/>
              <a:gd name="connsiteX3" fmla="*/ 0 w 5075736"/>
              <a:gd name="connsiteY3" fmla="*/ 377 h 3229981"/>
              <a:gd name="connsiteX4" fmla="*/ 4029048 w 5075736"/>
              <a:gd name="connsiteY4" fmla="*/ 0 h 3229981"/>
              <a:gd name="connsiteX0" fmla="*/ 4029048 w 5051673"/>
              <a:gd name="connsiteY0" fmla="*/ 0 h 3229981"/>
              <a:gd name="connsiteX1" fmla="*/ 5051673 w 5051673"/>
              <a:gd name="connsiteY1" fmla="*/ 3229981 h 3229981"/>
              <a:gd name="connsiteX2" fmla="*/ 0 w 5051673"/>
              <a:gd name="connsiteY2" fmla="*/ 2520032 h 3229981"/>
              <a:gd name="connsiteX3" fmla="*/ 0 w 5051673"/>
              <a:gd name="connsiteY3" fmla="*/ 377 h 3229981"/>
              <a:gd name="connsiteX4" fmla="*/ 4029048 w 5051673"/>
              <a:gd name="connsiteY4" fmla="*/ 0 h 3229981"/>
              <a:gd name="connsiteX0" fmla="*/ 4029048 w 5042148"/>
              <a:gd name="connsiteY0" fmla="*/ 0 h 3243584"/>
              <a:gd name="connsiteX1" fmla="*/ 5042148 w 5042148"/>
              <a:gd name="connsiteY1" fmla="*/ 3243584 h 3243584"/>
              <a:gd name="connsiteX2" fmla="*/ 0 w 5042148"/>
              <a:gd name="connsiteY2" fmla="*/ 2520032 h 3243584"/>
              <a:gd name="connsiteX3" fmla="*/ 0 w 5042148"/>
              <a:gd name="connsiteY3" fmla="*/ 377 h 3243584"/>
              <a:gd name="connsiteX4" fmla="*/ 4029048 w 5042148"/>
              <a:gd name="connsiteY4" fmla="*/ 0 h 3243584"/>
              <a:gd name="connsiteX0" fmla="*/ 4029048 w 5207881"/>
              <a:gd name="connsiteY0" fmla="*/ 0 h 3252176"/>
              <a:gd name="connsiteX1" fmla="*/ 5207881 w 5207881"/>
              <a:gd name="connsiteY1" fmla="*/ 3252176 h 3252176"/>
              <a:gd name="connsiteX2" fmla="*/ 0 w 5207881"/>
              <a:gd name="connsiteY2" fmla="*/ 2520032 h 3252176"/>
              <a:gd name="connsiteX3" fmla="*/ 0 w 5207881"/>
              <a:gd name="connsiteY3" fmla="*/ 377 h 3252176"/>
              <a:gd name="connsiteX4" fmla="*/ 4029048 w 5207881"/>
              <a:gd name="connsiteY4" fmla="*/ 0 h 3252176"/>
              <a:gd name="connsiteX0" fmla="*/ 4029048 w 5202414"/>
              <a:gd name="connsiteY0" fmla="*/ 0 h 3241974"/>
              <a:gd name="connsiteX1" fmla="*/ 5202414 w 5202414"/>
              <a:gd name="connsiteY1" fmla="*/ 3241974 h 3241974"/>
              <a:gd name="connsiteX2" fmla="*/ 0 w 5202414"/>
              <a:gd name="connsiteY2" fmla="*/ 2520032 h 3241974"/>
              <a:gd name="connsiteX3" fmla="*/ 0 w 5202414"/>
              <a:gd name="connsiteY3" fmla="*/ 377 h 3241974"/>
              <a:gd name="connsiteX4" fmla="*/ 4029048 w 5202414"/>
              <a:gd name="connsiteY4" fmla="*/ 0 h 3241974"/>
              <a:gd name="connsiteX0" fmla="*/ 4029048 w 4649333"/>
              <a:gd name="connsiteY0" fmla="*/ 0 h 3353258"/>
              <a:gd name="connsiteX1" fmla="*/ 4649333 w 4649333"/>
              <a:gd name="connsiteY1" fmla="*/ 3353258 h 3353258"/>
              <a:gd name="connsiteX2" fmla="*/ 0 w 4649333"/>
              <a:gd name="connsiteY2" fmla="*/ 2520032 h 3353258"/>
              <a:gd name="connsiteX3" fmla="*/ 0 w 4649333"/>
              <a:gd name="connsiteY3" fmla="*/ 377 h 3353258"/>
              <a:gd name="connsiteX4" fmla="*/ 4029048 w 4649333"/>
              <a:gd name="connsiteY4" fmla="*/ 0 h 3353258"/>
              <a:gd name="connsiteX0" fmla="*/ 4029048 w 4685283"/>
              <a:gd name="connsiteY0" fmla="*/ 0 h 3365430"/>
              <a:gd name="connsiteX1" fmla="*/ 4685283 w 4685283"/>
              <a:gd name="connsiteY1" fmla="*/ 3365430 h 3365430"/>
              <a:gd name="connsiteX2" fmla="*/ 0 w 4685283"/>
              <a:gd name="connsiteY2" fmla="*/ 2520032 h 3365430"/>
              <a:gd name="connsiteX3" fmla="*/ 0 w 4685283"/>
              <a:gd name="connsiteY3" fmla="*/ 377 h 3365430"/>
              <a:gd name="connsiteX4" fmla="*/ 4029048 w 4685283"/>
              <a:gd name="connsiteY4" fmla="*/ 0 h 3365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85283" h="3365430">
                <a:moveTo>
                  <a:pt x="4029048" y="0"/>
                </a:moveTo>
                <a:lnTo>
                  <a:pt x="4685283" y="3365430"/>
                </a:lnTo>
                <a:lnTo>
                  <a:pt x="0" y="2520032"/>
                </a:lnTo>
                <a:lnTo>
                  <a:pt x="0" y="377"/>
                </a:lnTo>
                <a:lnTo>
                  <a:pt x="4029048" y="0"/>
                </a:lnTo>
                <a:close/>
              </a:path>
            </a:pathLst>
          </a:cu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324000" tIns="252000" rIns="1152000">
            <a:noAutofit/>
          </a:bodyPr>
          <a:lstStyle>
            <a:lvl1pPr marL="0" indent="0" rtl="0"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Insert your title of presentation here in max. three lines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7A5D256E-7435-F747-CC3F-2763FDAE96A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911424" y="2996950"/>
            <a:ext cx="3527673" cy="1008112"/>
          </a:xfrm>
          <a:prstGeom prst="rect">
            <a:avLst/>
          </a:prstGeom>
          <a:noFill/>
          <a:ln w="127">
            <a:noFill/>
          </a:ln>
        </p:spPr>
        <p:txBody>
          <a:bodyPr lIns="324000" r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9" name="Author">
            <a:extLst>
              <a:ext uri="{FF2B5EF4-FFF2-40B4-BE49-F238E27FC236}">
                <a16:creationId xmlns:a16="http://schemas.microsoft.com/office/drawing/2014/main" id="{85B963E8-CCBF-3EF6-A8A8-C8FDAE42B7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911424" y="4005062"/>
            <a:ext cx="3527673" cy="216000"/>
          </a:xfrm>
          <a:prstGeom prst="rect">
            <a:avLst/>
          </a:prstGeom>
          <a:noFill/>
          <a:ln w="127">
            <a:noFill/>
          </a:ln>
        </p:spPr>
        <p:txBody>
          <a:bodyPr wrap="square" lIns="324000" rIns="0" anchor="b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First name Last name</a:t>
            </a:r>
            <a:endParaRPr lang="en-US" dirty="0"/>
          </a:p>
        </p:txBody>
      </p:sp>
      <p:sp>
        <p:nvSpPr>
          <p:cNvPr id="10" name="Department, Date">
            <a:extLst>
              <a:ext uri="{FF2B5EF4-FFF2-40B4-BE49-F238E27FC236}">
                <a16:creationId xmlns:a16="http://schemas.microsoft.com/office/drawing/2014/main" id="{8CEDCCFD-E94C-4A79-BAC4-51ECBFC54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11424" y="4221062"/>
            <a:ext cx="3527673" cy="431695"/>
          </a:xfrm>
          <a:prstGeom prst="rect">
            <a:avLst/>
          </a:prstGeom>
          <a:noFill/>
          <a:ln w="127">
            <a:noFill/>
          </a:ln>
        </p:spPr>
        <p:txBody>
          <a:bodyPr wrap="square" lIns="324000" rIns="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Department</a:t>
            </a:r>
            <a:br>
              <a:rPr lang="en-US"/>
            </a:br>
            <a:r>
              <a:rPr lang="en-US"/>
              <a:t>DD/MM/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13925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D40554E-B7B4-1CA9-248B-3742EFA304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7370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40554E-B7B4-1CA9-248B-3742EFA304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Shape">
            <a:extLst>
              <a:ext uri="{FF2B5EF4-FFF2-40B4-BE49-F238E27FC236}">
                <a16:creationId xmlns:a16="http://schemas.microsoft.com/office/drawing/2014/main" id="{9289CF3B-0AC6-458E-9C42-399D222920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911424" y="1485729"/>
            <a:ext cx="3456384" cy="2879375"/>
          </a:xfrm>
          <a:custGeom>
            <a:avLst/>
            <a:gdLst>
              <a:gd name="T0" fmla="*/ 0 w 2227"/>
              <a:gd name="T1" fmla="*/ 0 h 2226"/>
              <a:gd name="T2" fmla="*/ 2227 w 2227"/>
              <a:gd name="T3" fmla="*/ 0 h 2226"/>
              <a:gd name="T4" fmla="*/ 2227 w 2227"/>
              <a:gd name="T5" fmla="*/ 2226 h 2226"/>
              <a:gd name="T6" fmla="*/ 371 w 2227"/>
              <a:gd name="T7" fmla="*/ 1856 h 2226"/>
              <a:gd name="T8" fmla="*/ 0 w 2227"/>
              <a:gd name="T9" fmla="*/ 0 h 2226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1659 w 10000"/>
              <a:gd name="connsiteY3" fmla="*/ 7999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1680 w 10000"/>
              <a:gd name="connsiteY3" fmla="*/ 7999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10000" y="0"/>
                </a:lnTo>
                <a:lnTo>
                  <a:pt x="10000" y="10000"/>
                </a:lnTo>
                <a:lnTo>
                  <a:pt x="1680" y="7999"/>
                </a:lnTo>
                <a:lnTo>
                  <a:pt x="0" y="0"/>
                </a:lnTo>
                <a:close/>
              </a:path>
            </a:pathLst>
          </a:custGeom>
          <a:solidFill>
            <a:srgbClr val="6A757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n-US" dirty="0"/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B5D77837-F372-41E3-A703-01233BC36B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43472" y="1743199"/>
            <a:ext cx="2664320" cy="461665"/>
          </a:xfrm>
        </p:spPr>
        <p:txBody>
          <a:bodyPr vert="horz"/>
          <a:lstStyle>
            <a:lvl1pPr algn="r" rtl="0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  <a:endParaRPr lang="en-US" dirty="0"/>
          </a:p>
        </p:txBody>
      </p:sp>
      <p:sp>
        <p:nvSpPr>
          <p:cNvPr id="17" name="Content">
            <a:extLst>
              <a:ext uri="{FF2B5EF4-FFF2-40B4-BE49-F238E27FC236}">
                <a16:creationId xmlns:a16="http://schemas.microsoft.com/office/drawing/2014/main" id="{72A9419C-8763-4B76-A999-AC385D6948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943872" y="1484784"/>
            <a:ext cx="6912768" cy="4608512"/>
          </a:xfrm>
        </p:spPr>
        <p:txBody>
          <a:bodyPr/>
          <a:lstStyle>
            <a:lvl1pPr marL="457200" indent="-457200" rtl="0">
              <a:buSzPct val="100000"/>
              <a:buFont typeface="Arial" panose="020B0604020202020204" pitchFamily="34" charset="0"/>
              <a:buAutoNum type="arabicPlain"/>
              <a:tabLst>
                <a:tab pos="6543675" algn="r"/>
              </a:tabLst>
              <a:defRPr sz="20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1pPr>
            <a:lvl2pPr marL="714375" indent="-219075" rtl="0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6543675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2pPr>
            <a:lvl3pPr marL="714375" indent="-219075" rtl="0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6543675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3pPr>
            <a:lvl4pPr marL="714375" indent="-219075" rtl="0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6543675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4pPr>
            <a:lvl5pPr marL="714375" indent="-219075" rtl="0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6543675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5pPr>
            <a:lvl6pPr marL="714375" indent="-219075" rtl="0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6543675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6pPr>
            <a:lvl7pPr marL="714375" indent="-219075" rtl="0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6543675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7pPr>
            <a:lvl8pPr marL="714375" indent="-219075" rtl="0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6543675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8pPr>
            <a:lvl9pPr marL="714375" indent="-219075" rtl="0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6543675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9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9" name="Source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87488" y="6525344"/>
            <a:ext cx="864096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401DE6E-FF1C-2A70-98BC-28AEB67104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1"/>
          </p:nvPr>
        </p:nvSpPr>
        <p:spPr>
          <a:xfrm>
            <a:off x="335360" y="6525000"/>
            <a:ext cx="1080120" cy="144000"/>
          </a:xfrm>
        </p:spPr>
        <p:txBody>
          <a:bodyPr/>
          <a:lstStyle>
            <a:lvl1pPr rtl="0">
              <a:defRPr/>
            </a:lvl1pPr>
          </a:lstStyle>
          <a:p>
            <a:fld id="{32FA92BE-846B-4F3A-91AA-13C48812D68E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CE8397C-1DFA-4E81-5DA9-2B0C7A8442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8173ECE-27F4-E0B4-78D7-45B96ACB81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6221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97E52CC-93D4-A230-200A-40F5D4F6E4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5857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7E52CC-93D4-A230-200A-40F5D4F6E4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B5D77837-F372-41E3-A703-01233BC36B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5360" y="1413288"/>
            <a:ext cx="4032250" cy="461665"/>
          </a:xfrm>
        </p:spPr>
        <p:txBody>
          <a:bodyPr vert="horz" anchor="t"/>
          <a:lstStyle>
            <a:lvl1pPr algn="l" rtl="0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Agenda</a:t>
            </a:r>
            <a:endParaRPr lang="en-US" dirty="0"/>
          </a:p>
        </p:txBody>
      </p:sp>
      <p:sp>
        <p:nvSpPr>
          <p:cNvPr id="17" name="Content">
            <a:extLst>
              <a:ext uri="{FF2B5EF4-FFF2-40B4-BE49-F238E27FC236}">
                <a16:creationId xmlns:a16="http://schemas.microsoft.com/office/drawing/2014/main" id="{72A9419C-8763-4B76-A999-AC385D6948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35360" y="2060849"/>
            <a:ext cx="4032250" cy="4032448"/>
          </a:xfrm>
        </p:spPr>
        <p:txBody>
          <a:bodyPr/>
          <a:lstStyle>
            <a:lvl1pPr marL="266700" indent="-266700" rtl="0">
              <a:buSzPct val="100000"/>
              <a:buFont typeface="Arial" panose="020B0604020202020204" pitchFamily="34" charset="0"/>
              <a:buAutoNum type="arabicPlain"/>
              <a:tabLst>
                <a:tab pos="4038600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1pPr>
            <a:lvl2pPr marL="447675" indent="-180975" rtl="0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4038600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2pPr>
            <a:lvl3pPr marL="447675" indent="-180975" rtl="0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4038600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3pPr>
            <a:lvl4pPr marL="447675" indent="-180975" rtl="0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4038600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4pPr>
            <a:lvl5pPr marL="447675" indent="-180975" rtl="0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4038600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5pPr>
            <a:lvl6pPr marL="447675" indent="-180975" rtl="0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3524250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6pPr>
            <a:lvl7pPr marL="447675" indent="-180975" rtl="0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3524250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7pPr>
            <a:lvl8pPr marL="447675" indent="-180975" rtl="0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3524250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8pPr>
            <a:lvl9pPr marL="447675" indent="-180975" rtl="0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3524250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9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8" name="Picture">
            <a:extLst>
              <a:ext uri="{FF2B5EF4-FFF2-40B4-BE49-F238E27FC236}">
                <a16:creationId xmlns:a16="http://schemas.microsoft.com/office/drawing/2014/main" id="{A9F39496-3247-4D2A-8D5A-9E2157A6A7D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519936" y="1484784"/>
            <a:ext cx="5760640" cy="4032448"/>
          </a:xfrm>
          <a:custGeom>
            <a:avLst/>
            <a:gdLst>
              <a:gd name="connsiteX0" fmla="*/ 5544001 w 5544001"/>
              <a:gd name="connsiteY0" fmla="*/ 0 h 3551223"/>
              <a:gd name="connsiteX1" fmla="*/ 4543017 w 5544001"/>
              <a:gd name="connsiteY1" fmla="*/ 2543298 h 3551223"/>
              <a:gd name="connsiteX2" fmla="*/ 0 w 5544001"/>
              <a:gd name="connsiteY2" fmla="*/ 3551223 h 3551223"/>
              <a:gd name="connsiteX3" fmla="*/ 0 w 5544001"/>
              <a:gd name="connsiteY3" fmla="*/ 531 h 3551223"/>
              <a:gd name="connsiteX0" fmla="*/ 5544001 w 5544001"/>
              <a:gd name="connsiteY0" fmla="*/ 0 h 3551223"/>
              <a:gd name="connsiteX1" fmla="*/ 4441735 w 5544001"/>
              <a:gd name="connsiteY1" fmla="*/ 2540103 h 3551223"/>
              <a:gd name="connsiteX2" fmla="*/ 0 w 5544001"/>
              <a:gd name="connsiteY2" fmla="*/ 3551223 h 3551223"/>
              <a:gd name="connsiteX3" fmla="*/ 0 w 5544001"/>
              <a:gd name="connsiteY3" fmla="*/ 531 h 3551223"/>
              <a:gd name="connsiteX4" fmla="*/ 5544001 w 5544001"/>
              <a:gd name="connsiteY4" fmla="*/ 0 h 35512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44001" h="3551223">
                <a:moveTo>
                  <a:pt x="5544001" y="0"/>
                </a:moveTo>
                <a:lnTo>
                  <a:pt x="4441735" y="2540103"/>
                </a:lnTo>
                <a:lnTo>
                  <a:pt x="0" y="3551223"/>
                </a:lnTo>
                <a:lnTo>
                  <a:pt x="0" y="531"/>
                </a:lnTo>
                <a:lnTo>
                  <a:pt x="5544001" y="0"/>
                </a:lnTo>
                <a:close/>
              </a:path>
            </a:pathLst>
          </a:custGeom>
          <a:solidFill>
            <a:srgbClr val="D6D9DC"/>
          </a:solidFill>
        </p:spPr>
        <p:txBody>
          <a:bodyPr wrap="square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9" name="Source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87488" y="6525360"/>
            <a:ext cx="8639746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8AB4C1E-E193-441C-73B2-5910012838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 rtl="0">
              <a:defRPr/>
            </a:lvl1pPr>
          </a:lstStyle>
          <a:p>
            <a:fld id="{BC15081F-0737-4F45-A07D-6B01C38B2F29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EB2A54-14B0-0DE4-D475-31EBCC2FD5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183B58-29F7-0FD4-5AA2-C4A998AFAF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9980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picture | for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0C41B04-E6E5-D154-584F-B54481C5C9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1828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C41B04-E6E5-D154-584F-B54481C5C9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B5D77837-F372-41E3-A703-01233BC36B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9936" y="1412776"/>
            <a:ext cx="5760640" cy="461665"/>
          </a:xfrm>
        </p:spPr>
        <p:txBody>
          <a:bodyPr vert="horz" anchor="t"/>
          <a:lstStyle>
            <a:lvl1pPr algn="l" rtl="0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Agenda</a:t>
            </a:r>
            <a:endParaRPr lang="en-US" dirty="0"/>
          </a:p>
        </p:txBody>
      </p:sp>
      <p:sp>
        <p:nvSpPr>
          <p:cNvPr id="8" name="Picture">
            <a:extLst>
              <a:ext uri="{FF2B5EF4-FFF2-40B4-BE49-F238E27FC236}">
                <a16:creationId xmlns:a16="http://schemas.microsoft.com/office/drawing/2014/main" id="{A9F39496-3247-4D2A-8D5A-9E2157A6A7D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905952" y="1484785"/>
            <a:ext cx="4037919" cy="2895027"/>
          </a:xfrm>
          <a:custGeom>
            <a:avLst/>
            <a:gdLst>
              <a:gd name="connsiteX0" fmla="*/ 5544001 w 5544001"/>
              <a:gd name="connsiteY0" fmla="*/ 0 h 3551223"/>
              <a:gd name="connsiteX1" fmla="*/ 4543017 w 5544001"/>
              <a:gd name="connsiteY1" fmla="*/ 2543298 h 3551223"/>
              <a:gd name="connsiteX2" fmla="*/ 0 w 5544001"/>
              <a:gd name="connsiteY2" fmla="*/ 3551223 h 3551223"/>
              <a:gd name="connsiteX3" fmla="*/ 0 w 5544001"/>
              <a:gd name="connsiteY3" fmla="*/ 531 h 3551223"/>
              <a:gd name="connsiteX0" fmla="*/ 5544001 w 5544001"/>
              <a:gd name="connsiteY0" fmla="*/ 0 h 3551223"/>
              <a:gd name="connsiteX1" fmla="*/ 4441735 w 5544001"/>
              <a:gd name="connsiteY1" fmla="*/ 2540103 h 3551223"/>
              <a:gd name="connsiteX2" fmla="*/ 0 w 5544001"/>
              <a:gd name="connsiteY2" fmla="*/ 3551223 h 3551223"/>
              <a:gd name="connsiteX3" fmla="*/ 0 w 5544001"/>
              <a:gd name="connsiteY3" fmla="*/ 531 h 3551223"/>
              <a:gd name="connsiteX4" fmla="*/ 5544001 w 5544001"/>
              <a:gd name="connsiteY4" fmla="*/ 0 h 3551223"/>
              <a:gd name="connsiteX0" fmla="*/ 4585198 w 4585198"/>
              <a:gd name="connsiteY0" fmla="*/ 0 h 3551223"/>
              <a:gd name="connsiteX1" fmla="*/ 4441735 w 4585198"/>
              <a:gd name="connsiteY1" fmla="*/ 2540103 h 3551223"/>
              <a:gd name="connsiteX2" fmla="*/ 0 w 4585198"/>
              <a:gd name="connsiteY2" fmla="*/ 3551223 h 3551223"/>
              <a:gd name="connsiteX3" fmla="*/ 0 w 4585198"/>
              <a:gd name="connsiteY3" fmla="*/ 531 h 3551223"/>
              <a:gd name="connsiteX4" fmla="*/ 4585198 w 4585198"/>
              <a:gd name="connsiteY4" fmla="*/ 0 h 3551223"/>
              <a:gd name="connsiteX0" fmla="*/ 4585198 w 4589243"/>
              <a:gd name="connsiteY0" fmla="*/ 0 h 3551223"/>
              <a:gd name="connsiteX1" fmla="*/ 4589243 w 4589243"/>
              <a:gd name="connsiteY1" fmla="*/ 2135159 h 3551223"/>
              <a:gd name="connsiteX2" fmla="*/ 0 w 4589243"/>
              <a:gd name="connsiteY2" fmla="*/ 3551223 h 3551223"/>
              <a:gd name="connsiteX3" fmla="*/ 0 w 4589243"/>
              <a:gd name="connsiteY3" fmla="*/ 531 h 3551223"/>
              <a:gd name="connsiteX4" fmla="*/ 4585198 w 4589243"/>
              <a:gd name="connsiteY4" fmla="*/ 0 h 3551223"/>
              <a:gd name="connsiteX0" fmla="*/ 4585198 w 4589243"/>
              <a:gd name="connsiteY0" fmla="*/ 0 h 3551223"/>
              <a:gd name="connsiteX1" fmla="*/ 4589243 w 4589243"/>
              <a:gd name="connsiteY1" fmla="*/ 2135159 h 3551223"/>
              <a:gd name="connsiteX2" fmla="*/ 0 w 4589243"/>
              <a:gd name="connsiteY2" fmla="*/ 3551223 h 3551223"/>
              <a:gd name="connsiteX3" fmla="*/ 1263038 w 4589243"/>
              <a:gd name="connsiteY3" fmla="*/ 531 h 3551223"/>
              <a:gd name="connsiteX4" fmla="*/ 4585198 w 4589243"/>
              <a:gd name="connsiteY4" fmla="*/ 0 h 3551223"/>
              <a:gd name="connsiteX0" fmla="*/ 4013604 w 4017649"/>
              <a:gd name="connsiteY0" fmla="*/ 0 h 2783519"/>
              <a:gd name="connsiteX1" fmla="*/ 4017649 w 4017649"/>
              <a:gd name="connsiteY1" fmla="*/ 2135159 h 2783519"/>
              <a:gd name="connsiteX2" fmla="*/ 0 w 4017649"/>
              <a:gd name="connsiteY2" fmla="*/ 2783519 h 2783519"/>
              <a:gd name="connsiteX3" fmla="*/ 691444 w 4017649"/>
              <a:gd name="connsiteY3" fmla="*/ 531 h 2783519"/>
              <a:gd name="connsiteX4" fmla="*/ 4013604 w 4017649"/>
              <a:gd name="connsiteY4" fmla="*/ 0 h 2783519"/>
              <a:gd name="connsiteX0" fmla="*/ 3649314 w 3653359"/>
              <a:gd name="connsiteY0" fmla="*/ 0 h 2528493"/>
              <a:gd name="connsiteX1" fmla="*/ 3653359 w 3653359"/>
              <a:gd name="connsiteY1" fmla="*/ 2135159 h 2528493"/>
              <a:gd name="connsiteX2" fmla="*/ 0 w 3653359"/>
              <a:gd name="connsiteY2" fmla="*/ 2528493 h 2528493"/>
              <a:gd name="connsiteX3" fmla="*/ 327154 w 3653359"/>
              <a:gd name="connsiteY3" fmla="*/ 531 h 2528493"/>
              <a:gd name="connsiteX4" fmla="*/ 3649314 w 3653359"/>
              <a:gd name="connsiteY4" fmla="*/ 0 h 2528493"/>
              <a:gd name="connsiteX0" fmla="*/ 3880327 w 3884372"/>
              <a:gd name="connsiteY0" fmla="*/ 0 h 2664507"/>
              <a:gd name="connsiteX1" fmla="*/ 3884372 w 3884372"/>
              <a:gd name="connsiteY1" fmla="*/ 2135159 h 2664507"/>
              <a:gd name="connsiteX2" fmla="*/ 0 w 3884372"/>
              <a:gd name="connsiteY2" fmla="*/ 2664507 h 2664507"/>
              <a:gd name="connsiteX3" fmla="*/ 558167 w 3884372"/>
              <a:gd name="connsiteY3" fmla="*/ 531 h 2664507"/>
              <a:gd name="connsiteX4" fmla="*/ 3880327 w 3884372"/>
              <a:gd name="connsiteY4" fmla="*/ 0 h 2664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84372" h="2664507">
                <a:moveTo>
                  <a:pt x="3880327" y="0"/>
                </a:moveTo>
                <a:cubicBezTo>
                  <a:pt x="3881675" y="711720"/>
                  <a:pt x="3883024" y="1423439"/>
                  <a:pt x="3884372" y="2135159"/>
                </a:cubicBezTo>
                <a:lnTo>
                  <a:pt x="0" y="2664507"/>
                </a:lnTo>
                <a:lnTo>
                  <a:pt x="558167" y="531"/>
                </a:lnTo>
                <a:lnTo>
                  <a:pt x="3880327" y="0"/>
                </a:lnTo>
                <a:close/>
              </a:path>
            </a:pathLst>
          </a:custGeom>
          <a:solidFill>
            <a:srgbClr val="D6D9DC"/>
          </a:solidFill>
        </p:spPr>
        <p:txBody>
          <a:bodyPr wrap="square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9" name="Source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87488" y="6525360"/>
            <a:ext cx="864096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DDBB81F-46E9-988D-D974-0DBA6D5EB4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8A17D5A0-10C8-4160-88E6-EE640ABC90A3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AACD181-5A1B-9A2A-CEEC-CAF69755C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7AA28C3-8AC8-CBDA-1BB5-4D0BA3AE02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9748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7">
          <p15:clr>
            <a:srgbClr val="FBAE40"/>
          </p15:clr>
        </p15:guide>
        <p15:guide id="2" pos="7106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BC4E3CC-733B-B4AD-9D2B-B6D5C6F3B6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581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C4E3CC-733B-B4AD-9D2B-B6D5C6F3B6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Line">
            <a:extLst>
              <a:ext uri="{FF2B5EF4-FFF2-40B4-BE49-F238E27FC236}">
                <a16:creationId xmlns:a16="http://schemas.microsoft.com/office/drawing/2014/main" id="{78C23B66-615F-4718-BD9E-FC56288257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248296" y="1484784"/>
            <a:ext cx="1728024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7248128" y="1989024"/>
            <a:ext cx="4032448" cy="1223952"/>
          </a:xfrm>
          <a:prstGeom prst="rect">
            <a:avLst/>
          </a:prstGeom>
        </p:spPr>
        <p:txBody>
          <a:bodyPr vert="horz">
            <a:noAutofit/>
          </a:bodyPr>
          <a:lstStyle>
            <a:lvl1pPr marL="361950" indent="-361950" rtl="0"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1	Divider slide | Insert your headline in maximal three lines here</a:t>
            </a:r>
            <a:endParaRPr lang="en-US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4FDF9C42-D4C2-4901-8C80-4142CE35C1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128" y="3745606"/>
            <a:ext cx="4032448" cy="1195561"/>
          </a:xfrm>
          <a:prstGeom prst="rect">
            <a:avLst/>
          </a:prstGeom>
          <a:noFill/>
          <a:ln w="0">
            <a:noFill/>
          </a:ln>
        </p:spPr>
        <p:txBody>
          <a:bodyPr lIns="0" r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17" name="Picture">
            <a:extLst>
              <a:ext uri="{FF2B5EF4-FFF2-40B4-BE49-F238E27FC236}">
                <a16:creationId xmlns:a16="http://schemas.microsoft.com/office/drawing/2014/main" id="{98F4FF65-FEA2-42DE-8EE1-50E91E928FE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23637" y="1484784"/>
            <a:ext cx="5748427" cy="4611217"/>
          </a:xfrm>
          <a:custGeom>
            <a:avLst/>
            <a:gdLst>
              <a:gd name="connsiteX0" fmla="*/ 1008000 w 7056002"/>
              <a:gd name="connsiteY0" fmla="*/ 0 h 5040002"/>
              <a:gd name="connsiteX1" fmla="*/ 7056002 w 7056002"/>
              <a:gd name="connsiteY1" fmla="*/ 0 h 5040002"/>
              <a:gd name="connsiteX2" fmla="*/ 7056002 w 7056002"/>
              <a:gd name="connsiteY2" fmla="*/ 4033656 h 5040002"/>
              <a:gd name="connsiteX3" fmla="*/ 0 w 7056002"/>
              <a:gd name="connsiteY3" fmla="*/ 5040002 h 5040002"/>
              <a:gd name="connsiteX0" fmla="*/ 1174688 w 7056002"/>
              <a:gd name="connsiteY0" fmla="*/ 0 h 5040002"/>
              <a:gd name="connsiteX1" fmla="*/ 7056002 w 7056002"/>
              <a:gd name="connsiteY1" fmla="*/ 0 h 5040002"/>
              <a:gd name="connsiteX2" fmla="*/ 7056002 w 7056002"/>
              <a:gd name="connsiteY2" fmla="*/ 4033656 h 5040002"/>
              <a:gd name="connsiteX3" fmla="*/ 0 w 7056002"/>
              <a:gd name="connsiteY3" fmla="*/ 5040002 h 5040002"/>
              <a:gd name="connsiteX4" fmla="*/ 1174688 w 7056002"/>
              <a:gd name="connsiteY4" fmla="*/ 0 h 5040002"/>
              <a:gd name="connsiteX0" fmla="*/ 1174688 w 7056002"/>
              <a:gd name="connsiteY0" fmla="*/ 0 h 5040002"/>
              <a:gd name="connsiteX1" fmla="*/ 7056002 w 7056002"/>
              <a:gd name="connsiteY1" fmla="*/ 0 h 5040002"/>
              <a:gd name="connsiteX2" fmla="*/ 7053224 w 7056002"/>
              <a:gd name="connsiteY2" fmla="*/ 3919886 h 5040002"/>
              <a:gd name="connsiteX3" fmla="*/ 0 w 7056002"/>
              <a:gd name="connsiteY3" fmla="*/ 5040002 h 5040002"/>
              <a:gd name="connsiteX4" fmla="*/ 1174688 w 7056002"/>
              <a:gd name="connsiteY4" fmla="*/ 0 h 5040002"/>
              <a:gd name="connsiteX0" fmla="*/ 1445452 w 7326766"/>
              <a:gd name="connsiteY0" fmla="*/ 0 h 5196122"/>
              <a:gd name="connsiteX1" fmla="*/ 7326766 w 7326766"/>
              <a:gd name="connsiteY1" fmla="*/ 0 h 5196122"/>
              <a:gd name="connsiteX2" fmla="*/ 7323988 w 7326766"/>
              <a:gd name="connsiteY2" fmla="*/ 3919886 h 5196122"/>
              <a:gd name="connsiteX3" fmla="*/ 0 w 7326766"/>
              <a:gd name="connsiteY3" fmla="*/ 5196122 h 5196122"/>
              <a:gd name="connsiteX4" fmla="*/ 1445452 w 7326766"/>
              <a:gd name="connsiteY4" fmla="*/ 0 h 5196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26766" h="5196122">
                <a:moveTo>
                  <a:pt x="1445452" y="0"/>
                </a:moveTo>
                <a:lnTo>
                  <a:pt x="7326766" y="0"/>
                </a:lnTo>
                <a:lnTo>
                  <a:pt x="7323988" y="3919886"/>
                </a:lnTo>
                <a:cubicBezTo>
                  <a:pt x="4972913" y="4293258"/>
                  <a:pt x="2351075" y="4822750"/>
                  <a:pt x="0" y="5196122"/>
                </a:cubicBezTo>
                <a:cubicBezTo>
                  <a:pt x="336000" y="3516121"/>
                  <a:pt x="1109452" y="1680001"/>
                  <a:pt x="1445452" y="0"/>
                </a:cubicBezTo>
                <a:close/>
              </a:path>
            </a:pathLst>
          </a:custGeom>
          <a:solidFill>
            <a:srgbClr val="D6D9DC"/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0" name="Source">
            <a:extLst>
              <a:ext uri="{FF2B5EF4-FFF2-40B4-BE49-F238E27FC236}">
                <a16:creationId xmlns:a16="http://schemas.microsoft.com/office/drawing/2014/main" id="{4DBD7890-AED9-4944-BFE1-FABFDC77A9B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487488" y="6525000"/>
            <a:ext cx="9144512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FA7DD22-07DB-6A1C-6F72-BB52B9126F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965A1DD8-E768-490F-B5BA-3B623DD41918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2A2A817-BB61-9C2D-8F92-EEE4D20DA7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A769AE6-21E3-6291-8C0F-448B679ACC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4132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big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E619101-EA28-2447-DB2E-C706774AF3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7521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619101-EA28-2447-DB2E-C706774AF3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25EC39D-88B9-67E2-DD98-DA61BF97259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0" y="0"/>
            <a:ext cx="10704512" cy="6858000"/>
          </a:xfrm>
          <a:custGeom>
            <a:avLst/>
            <a:gdLst>
              <a:gd name="connsiteX0" fmla="*/ 0 w 10632504"/>
              <a:gd name="connsiteY0" fmla="*/ 0 h 6858000"/>
              <a:gd name="connsiteX1" fmla="*/ 10632504 w 10632504"/>
              <a:gd name="connsiteY1" fmla="*/ 0 h 6858000"/>
              <a:gd name="connsiteX2" fmla="*/ 10632504 w 10632504"/>
              <a:gd name="connsiteY2" fmla="*/ 6858000 h 6858000"/>
              <a:gd name="connsiteX3" fmla="*/ 0 w 1063250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632504" h="6858000">
                <a:moveTo>
                  <a:pt x="0" y="0"/>
                </a:moveTo>
                <a:lnTo>
                  <a:pt x="10632504" y="0"/>
                </a:lnTo>
                <a:lnTo>
                  <a:pt x="106325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85" name="Source">
            <a:extLst>
              <a:ext uri="{FF2B5EF4-FFF2-40B4-BE49-F238E27FC236}">
                <a16:creationId xmlns:a16="http://schemas.microsoft.com/office/drawing/2014/main" id="{4FD5BD59-3BB3-4388-9EA8-4404672D38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87488" y="6525360"/>
            <a:ext cx="864096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80" name="Title">
            <a:extLst>
              <a:ext uri="{FF2B5EF4-FFF2-40B4-BE49-F238E27FC236}">
                <a16:creationId xmlns:a16="http://schemas.microsoft.com/office/drawing/2014/main" id="{9F73BC7C-461B-4374-A3A1-113AB5807B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2699" y="2060848"/>
            <a:ext cx="3454514" cy="3455987"/>
          </a:xfrm>
          <a:custGeom>
            <a:avLst/>
            <a:gdLst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517775 w 3022600"/>
              <a:gd name="connsiteY2" fmla="*/ 2520950 h 3024187"/>
              <a:gd name="connsiteX3" fmla="*/ 0 w 3022600"/>
              <a:gd name="connsiteY3" fmla="*/ 3024187 h 3024187"/>
              <a:gd name="connsiteX0" fmla="*/ 0 w 2882900"/>
              <a:gd name="connsiteY0" fmla="*/ 0 h 3024187"/>
              <a:gd name="connsiteX1" fmla="*/ 2882900 w 2882900"/>
              <a:gd name="connsiteY1" fmla="*/ 0 h 3024187"/>
              <a:gd name="connsiteX2" fmla="*/ 2517775 w 2882900"/>
              <a:gd name="connsiteY2" fmla="*/ 2520950 h 3024187"/>
              <a:gd name="connsiteX3" fmla="*/ 0 w 2882900"/>
              <a:gd name="connsiteY3" fmla="*/ 3024187 h 3024187"/>
              <a:gd name="connsiteX4" fmla="*/ 0 w 2882900"/>
              <a:gd name="connsiteY4" fmla="*/ 0 h 3024187"/>
              <a:gd name="connsiteX0" fmla="*/ 0 w 2882900"/>
              <a:gd name="connsiteY0" fmla="*/ 0 h 3455987"/>
              <a:gd name="connsiteX1" fmla="*/ 2882900 w 2882900"/>
              <a:gd name="connsiteY1" fmla="*/ 0 h 3455987"/>
              <a:gd name="connsiteX2" fmla="*/ 2517775 w 2882900"/>
              <a:gd name="connsiteY2" fmla="*/ 2520950 h 3455987"/>
              <a:gd name="connsiteX3" fmla="*/ 0 w 2882900"/>
              <a:gd name="connsiteY3" fmla="*/ 3455987 h 3455987"/>
              <a:gd name="connsiteX4" fmla="*/ 0 w 2882900"/>
              <a:gd name="connsiteY4" fmla="*/ 0 h 3455987"/>
              <a:gd name="connsiteX0" fmla="*/ 0 w 2882900"/>
              <a:gd name="connsiteY0" fmla="*/ 0 h 3455987"/>
              <a:gd name="connsiteX1" fmla="*/ 2882900 w 2882900"/>
              <a:gd name="connsiteY1" fmla="*/ 0 h 3455987"/>
              <a:gd name="connsiteX2" fmla="*/ 2411790 w 2882900"/>
              <a:gd name="connsiteY2" fmla="*/ 2330450 h 3455987"/>
              <a:gd name="connsiteX3" fmla="*/ 0 w 2882900"/>
              <a:gd name="connsiteY3" fmla="*/ 3455987 h 3455987"/>
              <a:gd name="connsiteX4" fmla="*/ 0 w 2882900"/>
              <a:gd name="connsiteY4" fmla="*/ 0 h 3455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2900" h="3455987">
                <a:moveTo>
                  <a:pt x="0" y="0"/>
                </a:moveTo>
                <a:lnTo>
                  <a:pt x="2882900" y="0"/>
                </a:lnTo>
                <a:lnTo>
                  <a:pt x="2411790" y="2330450"/>
                </a:lnTo>
                <a:lnTo>
                  <a:pt x="0" y="345598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324000" tIns="288000" rIns="288000">
            <a:noAutofit/>
          </a:bodyPr>
          <a:lstStyle>
            <a:lvl1pPr marL="355600" indent="-355600" rtl="0"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1	Insert Chapter title here in max. 3 lines</a:t>
            </a:r>
            <a:endParaRPr lang="en-US" dirty="0"/>
          </a:p>
        </p:txBody>
      </p:sp>
      <p:sp>
        <p:nvSpPr>
          <p:cNvPr id="281" name="Subtitle 2">
            <a:extLst>
              <a:ext uri="{FF2B5EF4-FFF2-40B4-BE49-F238E27FC236}">
                <a16:creationId xmlns:a16="http://schemas.microsoft.com/office/drawing/2014/main" id="{C62B0A6C-F8C8-4CAE-980D-DAAE4106DEF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911424" y="3572844"/>
            <a:ext cx="3024336" cy="792260"/>
          </a:xfrm>
          <a:prstGeom prst="rect">
            <a:avLst/>
          </a:prstGeom>
          <a:noFill/>
          <a:ln w="0">
            <a:noFill/>
          </a:ln>
        </p:spPr>
        <p:txBody>
          <a:bodyPr lIns="324000" r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EC74CDF-EF49-0042-0B47-6CDF8DBCA5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rtl="0">
              <a:defRPr/>
            </a:lvl1pPr>
          </a:lstStyle>
          <a:p>
            <a:fld id="{7A045E3C-9BB7-4703-9582-1D5555AD4E70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EB2C21F-6161-81E4-AB9C-4903B384B7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47BFFF-821F-4545-49EA-12E46EAA08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78764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5562649-BE61-75EE-1A86-7733BE89C5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1178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562649-BE61-75EE-1A86-7733BE89C5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Number">
            <a:extLst>
              <a:ext uri="{FF2B5EF4-FFF2-40B4-BE49-F238E27FC236}">
                <a16:creationId xmlns:a16="http://schemas.microsoft.com/office/drawing/2014/main" id="{C1DC8AD9-CEFF-4205-B408-8C25EAC04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5359" y="2061183"/>
            <a:ext cx="3528999" cy="252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 baseline="0">
                <a:solidFill>
                  <a:srgbClr val="FFA52F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FFA52F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FFA52F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FFA52F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FFA52F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FFA52F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FFA52F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FFA52F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FFA52F"/>
                </a:solidFill>
                <a:latin typeface="+mj-lt"/>
              </a:defRPr>
            </a:lvl9pPr>
          </a:lstStyle>
          <a:p>
            <a:r>
              <a:rPr lang="en-US"/>
              <a:t>00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4944376" y="1989183"/>
            <a:ext cx="4608008" cy="1727849"/>
          </a:xfrm>
          <a:prstGeom prst="rect">
            <a:avLst/>
          </a:prstGeom>
        </p:spPr>
        <p:txBody>
          <a:bodyPr vert="horz" tIns="36000">
            <a:noAutofit/>
          </a:bodyPr>
          <a:lstStyle>
            <a:lvl1pPr rtl="0"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Divider slide | Insert your headline in maximal three lines her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46297C-A90E-4725-9584-F26D2B59D3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944374" y="3717032"/>
            <a:ext cx="4608009" cy="864096"/>
          </a:xfrm>
          <a:prstGeom prst="rect">
            <a:avLst/>
          </a:prstGeom>
          <a:noFill/>
          <a:ln w="0">
            <a:noFill/>
          </a:ln>
        </p:spPr>
        <p:txBody>
          <a:bodyPr lIns="0" r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46A4DB98-2658-49F8-8812-38BE9A090A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487488" y="6525000"/>
            <a:ext cx="9144512" cy="144000"/>
          </a:xfrm>
        </p:spPr>
        <p:txBody>
          <a:bodyPr anchor="b"/>
          <a:lstStyle>
            <a:lvl1pPr marL="0" indent="0" algn="l" rtl="0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/>
              <a:t>Source, Footnote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63B7A03-94FB-4FF5-E3BC-46F9616A33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1941D93C-FB03-4F7C-B025-C6605B7F8C96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C8F4A60-D224-9808-B996-E715CE0DE5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DA539CD-62B2-B184-2BAA-74507EB259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22722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 | Magent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C5F90E3-EB00-BB3E-6BAB-05F07EDDB0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779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5F90E3-EB00-BB3E-6BAB-05F07EDDB0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Number">
            <a:extLst>
              <a:ext uri="{FF2B5EF4-FFF2-40B4-BE49-F238E27FC236}">
                <a16:creationId xmlns:a16="http://schemas.microsoft.com/office/drawing/2014/main" id="{E157F135-E4AF-4A4C-8F59-A56C717EB5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5360" y="2060848"/>
            <a:ext cx="3527992" cy="252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 baseline="0">
                <a:solidFill>
                  <a:srgbClr val="D2335F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D2335F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D2335F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D2335F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D2335F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D2335F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D2335F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D2335F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D2335F"/>
                </a:solidFill>
                <a:latin typeface="+mj-lt"/>
              </a:defRPr>
            </a:lvl9pPr>
          </a:lstStyle>
          <a:p>
            <a:r>
              <a:rPr lang="en-US"/>
              <a:t>00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4943872" y="1988840"/>
            <a:ext cx="4608511" cy="1728192"/>
          </a:xfrm>
          <a:prstGeom prst="rect">
            <a:avLst/>
          </a:prstGeom>
        </p:spPr>
        <p:txBody>
          <a:bodyPr vert="horz" tIns="36000">
            <a:noAutofit/>
          </a:bodyPr>
          <a:lstStyle>
            <a:lvl1pPr rtl="0"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Divider slide | Insert your headline in maximal three lines her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46297C-A90E-4725-9584-F26D2B59D3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943872" y="3717032"/>
            <a:ext cx="4608512" cy="864096"/>
          </a:xfrm>
          <a:prstGeom prst="rect">
            <a:avLst/>
          </a:prstGeom>
          <a:noFill/>
          <a:ln w="0">
            <a:noFill/>
          </a:ln>
        </p:spPr>
        <p:txBody>
          <a:bodyPr lIns="0" r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8" name="Source">
            <a:extLst>
              <a:ext uri="{FF2B5EF4-FFF2-40B4-BE49-F238E27FC236}">
                <a16:creationId xmlns:a16="http://schemas.microsoft.com/office/drawing/2014/main" id="{C42A0124-5CC0-4054-ACBA-BD854D752F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487488" y="6525000"/>
            <a:ext cx="9144512" cy="144000"/>
          </a:xfrm>
        </p:spPr>
        <p:txBody>
          <a:bodyPr anchor="b"/>
          <a:lstStyle>
            <a:lvl1pPr marL="0" indent="0" algn="l" rtl="0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2pPr>
            <a:lvl3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3pPr>
            <a:lvl4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7pPr>
            <a:lvl8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8pPr>
            <a:lvl9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/>
              <a:t>Source, Footnote</a:t>
            </a:r>
            <a:endParaRPr lang="en-US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9970168-D029-D3E0-46DE-74970B8F7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511073A0-E5E0-4EC2-8B27-A0B163400CE0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9CCA1195-594E-5CAF-16EF-F4CAEE2BA8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1487488" y="6525345"/>
            <a:ext cx="8640960" cy="14401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35FB83E2-E9A7-F446-3EB6-5DEFCC48CF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496600" y="6309320"/>
            <a:ext cx="432048" cy="144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AEA825B-D749-4F0A-886E-8D45A39EAF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12227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 |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997C7D71-3708-EDD0-ACC8-0E35106DF8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62F0E973-90B0-4916-8BFC-8FE91EC5D707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3865CF7-EDCF-231D-4AD5-BF14E6488635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4BE4610-A8A9-1D66-37A9-CC195AB1AC93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569C458B-6365-D62C-DA76-4F8420E41CCA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DEECCE98-A6D4-1A74-7CE1-D4F98CA3BC72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9B09CDF9-19F1-ADEC-8406-08FCCB45B3D2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723B8759-9F60-E6BF-FE71-BB13A0F17090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F051549F-5EDA-64B9-B736-D1CF313A4B4E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AC3844C8-DF5C-2DA4-6312-2B5C1334C60D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9DCD5716-10D2-2A02-5324-1FEE666644E6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B86C6295-A008-9D21-762C-8EAEFD1C56B1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460B37B-1B73-EE56-4B1D-33B4F15321AE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8F34DB77-129C-5FA8-D0EA-7CA2147EFF28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717E31C3-172D-4807-FAEE-C0FB78D7D870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0" name="Rechteck 79">
              <a:extLst>
                <a:ext uri="{FF2B5EF4-FFF2-40B4-BE49-F238E27FC236}">
                  <a16:creationId xmlns:a16="http://schemas.microsoft.com/office/drawing/2014/main" id="{56A6B720-138D-0F46-EE24-4EEFE7764607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13AC1AFC-1879-D5B6-49B9-0E796A606A1B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0DCB79B2-E3BC-FAAA-C3C7-5AA62C776AC2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B27055CA-0434-09A3-8F41-4A51B9CA8DD4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A5A6979A-88EA-90BE-E975-8A536125F389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69983A50-4B0F-694A-8EFE-0A11A31B15DC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77559531-08C2-F634-F979-0A1FB0B12A9E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7" name="Rechteck 86">
              <a:extLst>
                <a:ext uri="{FF2B5EF4-FFF2-40B4-BE49-F238E27FC236}">
                  <a16:creationId xmlns:a16="http://schemas.microsoft.com/office/drawing/2014/main" id="{44518E61-1112-4D7F-C45A-776D23E4D32F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8" name="Rechteck 87">
              <a:extLst>
                <a:ext uri="{FF2B5EF4-FFF2-40B4-BE49-F238E27FC236}">
                  <a16:creationId xmlns:a16="http://schemas.microsoft.com/office/drawing/2014/main" id="{A570F623-403B-6644-BC5F-BD582CB54DC4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9" name="Rechteck 88">
              <a:extLst>
                <a:ext uri="{FF2B5EF4-FFF2-40B4-BE49-F238E27FC236}">
                  <a16:creationId xmlns:a16="http://schemas.microsoft.com/office/drawing/2014/main" id="{8C720195-D1E2-295E-3B5E-57EDEDC4134D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5" name="Rechteck 94">
              <a:extLst>
                <a:ext uri="{FF2B5EF4-FFF2-40B4-BE49-F238E27FC236}">
                  <a16:creationId xmlns:a16="http://schemas.microsoft.com/office/drawing/2014/main" id="{EFEA8C3C-DD72-48CF-C7F3-D3FB4CDB17A3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B34AA8CB-5C08-D574-C26B-E679AA6440E9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4AE30B8F-B044-073B-4D08-0C84A4B41001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775F305B-E488-B6C7-ADB9-D0A67F729BA0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DAE27F4E-3937-6895-00DD-4060C319C9B3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F39FDAD4-59E9-E592-CD6A-B48845F331BC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18" name="Rechteck 117">
              <a:extLst>
                <a:ext uri="{FF2B5EF4-FFF2-40B4-BE49-F238E27FC236}">
                  <a16:creationId xmlns:a16="http://schemas.microsoft.com/office/drawing/2014/main" id="{6B330369-E1F2-6034-EA45-588881371243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19" name="Rechteck 118">
              <a:extLst>
                <a:ext uri="{FF2B5EF4-FFF2-40B4-BE49-F238E27FC236}">
                  <a16:creationId xmlns:a16="http://schemas.microsoft.com/office/drawing/2014/main" id="{F7A1616C-D08D-3E6C-12FD-8C467262994D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20" name="Rechteck 119">
              <a:extLst>
                <a:ext uri="{FF2B5EF4-FFF2-40B4-BE49-F238E27FC236}">
                  <a16:creationId xmlns:a16="http://schemas.microsoft.com/office/drawing/2014/main" id="{A818FFCF-461C-2212-CB65-3EE43B50E732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21" name="Rechteck 120">
              <a:extLst>
                <a:ext uri="{FF2B5EF4-FFF2-40B4-BE49-F238E27FC236}">
                  <a16:creationId xmlns:a16="http://schemas.microsoft.com/office/drawing/2014/main" id="{899AB9D7-E9D5-371D-161C-956E4DDC2D4C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22" name="Rechteck 121">
              <a:extLst>
                <a:ext uri="{FF2B5EF4-FFF2-40B4-BE49-F238E27FC236}">
                  <a16:creationId xmlns:a16="http://schemas.microsoft.com/office/drawing/2014/main" id="{7677E94F-61A3-2717-2103-D8A48CBC3A85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23" name="Rechteck 122">
              <a:extLst>
                <a:ext uri="{FF2B5EF4-FFF2-40B4-BE49-F238E27FC236}">
                  <a16:creationId xmlns:a16="http://schemas.microsoft.com/office/drawing/2014/main" id="{ADFC0CCB-5058-27B7-F02B-41DE817E3B67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1" name="Rechteck 140">
              <a:extLst>
                <a:ext uri="{FF2B5EF4-FFF2-40B4-BE49-F238E27FC236}">
                  <a16:creationId xmlns:a16="http://schemas.microsoft.com/office/drawing/2014/main" id="{B042D170-86C1-62C2-1167-DD08CF9E164C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3CC0085D-F24B-2F17-FAAA-B0DBAAD3FCCF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3" name="Rechteck 142">
              <a:extLst>
                <a:ext uri="{FF2B5EF4-FFF2-40B4-BE49-F238E27FC236}">
                  <a16:creationId xmlns:a16="http://schemas.microsoft.com/office/drawing/2014/main" id="{FC20D90D-59D9-7C5F-1539-30DF8926BDA0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4" name="Rechteck 143">
              <a:extLst>
                <a:ext uri="{FF2B5EF4-FFF2-40B4-BE49-F238E27FC236}">
                  <a16:creationId xmlns:a16="http://schemas.microsoft.com/office/drawing/2014/main" id="{7F752D1D-220F-3E83-284F-BC2332469657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5" name="Rechteck 144">
              <a:extLst>
                <a:ext uri="{FF2B5EF4-FFF2-40B4-BE49-F238E27FC236}">
                  <a16:creationId xmlns:a16="http://schemas.microsoft.com/office/drawing/2014/main" id="{09D71745-C237-39F3-F19E-53348766B220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6" name="Rechteck 145">
              <a:extLst>
                <a:ext uri="{FF2B5EF4-FFF2-40B4-BE49-F238E27FC236}">
                  <a16:creationId xmlns:a16="http://schemas.microsoft.com/office/drawing/2014/main" id="{EDF74F25-689B-FE9C-D27E-E2683333882F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4" name="Rechteck 163">
              <a:extLst>
                <a:ext uri="{FF2B5EF4-FFF2-40B4-BE49-F238E27FC236}">
                  <a16:creationId xmlns:a16="http://schemas.microsoft.com/office/drawing/2014/main" id="{3D3EA703-0211-9180-7213-758F5BAD0235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5" name="Rechteck 164">
              <a:extLst>
                <a:ext uri="{FF2B5EF4-FFF2-40B4-BE49-F238E27FC236}">
                  <a16:creationId xmlns:a16="http://schemas.microsoft.com/office/drawing/2014/main" id="{CFF0818B-19D0-8A05-0508-D257B8A03FE9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6" name="Rechteck 165">
              <a:extLst>
                <a:ext uri="{FF2B5EF4-FFF2-40B4-BE49-F238E27FC236}">
                  <a16:creationId xmlns:a16="http://schemas.microsoft.com/office/drawing/2014/main" id="{98811417-294F-8243-F779-F0680E491BD5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7" name="Rechteck 166">
              <a:extLst>
                <a:ext uri="{FF2B5EF4-FFF2-40B4-BE49-F238E27FC236}">
                  <a16:creationId xmlns:a16="http://schemas.microsoft.com/office/drawing/2014/main" id="{F70137A0-41B5-19FC-B09C-D8A31E1E216F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8" name="Rechteck 167">
              <a:extLst>
                <a:ext uri="{FF2B5EF4-FFF2-40B4-BE49-F238E27FC236}">
                  <a16:creationId xmlns:a16="http://schemas.microsoft.com/office/drawing/2014/main" id="{FFDD1DE2-E3EC-3B49-FB67-D242FD72B640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9" name="Rechteck 168">
              <a:extLst>
                <a:ext uri="{FF2B5EF4-FFF2-40B4-BE49-F238E27FC236}">
                  <a16:creationId xmlns:a16="http://schemas.microsoft.com/office/drawing/2014/main" id="{0ADDC9A0-F056-1327-D66F-26A906BBD7C9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87" name="Rechteck 186">
              <a:extLst>
                <a:ext uri="{FF2B5EF4-FFF2-40B4-BE49-F238E27FC236}">
                  <a16:creationId xmlns:a16="http://schemas.microsoft.com/office/drawing/2014/main" id="{BF8F08C4-0E86-04A0-C62C-3D605FA2FB7B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88" name="Rechteck 187">
              <a:extLst>
                <a:ext uri="{FF2B5EF4-FFF2-40B4-BE49-F238E27FC236}">
                  <a16:creationId xmlns:a16="http://schemas.microsoft.com/office/drawing/2014/main" id="{460180B5-3C7B-5A63-4C57-F4EBBD6D28F2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89" name="Rechteck 188">
              <a:extLst>
                <a:ext uri="{FF2B5EF4-FFF2-40B4-BE49-F238E27FC236}">
                  <a16:creationId xmlns:a16="http://schemas.microsoft.com/office/drawing/2014/main" id="{0F85227D-BD0D-14C1-3E7E-DD1F708B005C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0" name="Rechteck 189">
              <a:extLst>
                <a:ext uri="{FF2B5EF4-FFF2-40B4-BE49-F238E27FC236}">
                  <a16:creationId xmlns:a16="http://schemas.microsoft.com/office/drawing/2014/main" id="{06C90CE6-F5F1-F487-51E4-FA4E1081F2E0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E7EE09F9-3B99-1E92-D081-5019BDFD557B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A5C0B268-BE8B-43A5-FBD7-F1D91D9FA481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27EC3604-7496-8D31-2FAD-A0B891138B86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0200F1F9-3696-6F4C-B57D-DDF1BCFB1D17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75D50D5E-6732-B4BD-BF47-3B74BA1B765D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3743FC8B-940D-BE7B-AB96-D774F2E5CE65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4A7DE8F0-24A9-15FB-31EB-8696591B0BF9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4A0B31CD-EEFF-C4EB-0D10-53E95A6E675F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3E6F26E5-87E7-B141-D93D-6D973F54CF52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15A878EE-41F1-0CA9-3C5D-158DB9F00D33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3" name="Rechteck 282">
              <a:extLst>
                <a:ext uri="{FF2B5EF4-FFF2-40B4-BE49-F238E27FC236}">
                  <a16:creationId xmlns:a16="http://schemas.microsoft.com/office/drawing/2014/main" id="{ED89E719-CE1D-380D-804A-8DDA026A01F6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75F774CB-EE75-4762-046C-F6A25FF7BFF0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5FED1B1E-7A76-2410-D7A0-82ABB0676DD7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98D6E8B1-F9E6-7156-E162-30C03C18EAE7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C68A3BFB-6AB0-C182-6FE3-54F8C0413540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BD072C43-0691-766D-BC5B-9792E72C0860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1EF16077-983E-22E0-8C12-D03231A8D26B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0068593F-F3E1-5022-8453-FB53BF9E6FB9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168E361A-E856-7D63-D12E-CAF20DDE05C6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4CE0B89B-0ED4-101E-B824-E71E9E8145B3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07984503-9565-060B-84F1-C5F05C32290A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4DF80959-CCAB-63CD-8CDC-E72243AA7010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60034036-5B5B-AEBB-5DE9-A58CBED2DCEB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2EED3034-1299-EB47-3CED-73723A3291C0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74BCDF44-51F2-B555-6E0A-6A4A482BB120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BDBFC7EA-B121-2ADE-C32C-F04E68ED7533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B60216B0-7427-1F93-72DA-5384B965306A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9F20C657-6EDF-9FF5-81CB-4C11931675B2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2CD539F8-2A7C-46FD-B615-6E8FA103584D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8ECE2368-2D8B-D6E4-B7A3-50571A01719B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62B35920-FCE6-813A-3DE0-E02803E88BAB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94A3E265-9B43-01CB-826E-3A679037D772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D679F87C-ACC5-4E5C-4E6D-4A38B09271CF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6D891ACE-A068-4229-BE86-61F1D4B0AB6D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022C9AF1-DA88-E36D-B6DF-B8EFE7F00921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15AE2429-8729-D181-B02C-DE69C6632C39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01148E07-1A39-35FC-AD09-0F9EF225912A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60DDA28B-CA90-6FBE-45A2-71C1CAE1B6CA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33180018-7172-6FD3-F946-45449D58635A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05C52664-34EF-994A-C9E2-ABFA345E045C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677755C8-EE93-5393-AD32-A8E929212286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112856BB-06F8-0FBC-1382-39EA57933F4F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6A6F14AD-7365-1311-B2E4-4CB4AB99864B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0231BAE9-0AAD-D7F2-596C-5C3F92E4FD54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F22A498E-F685-1E8A-4486-7EE49A4AD90C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10576592-0917-A272-8EC1-07F36F55CEF1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38420A1D-AC27-2069-3F9E-60C131033874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A30B81BD-ECEF-9AA9-CEE1-E9CA1A9B5C1F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C19B1B73-370E-1D8D-7502-9CC93C6E3FFA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69B99626-3FC2-C45E-005E-511E6BE1803F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4EDAB558-CEC0-3718-E920-A45B5F0067BC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2DC0B6FC-0480-394D-E5EE-E02F7AF92A31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769E259A-2312-8DE9-8D7B-E4451C319CA7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0E383A4C-AF4E-85D0-5B5C-315C1C449A0F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0DF3FC96-20A0-E766-7950-05B3CC0DD0D3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063B08B8-26D5-0D67-071C-0B8F168923EB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13696CA4-A1D5-D09D-E106-96A370204276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F3D8F586-ABE4-8597-2343-08DAE003258D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703088A5-6DC7-D5BB-44AC-5E8D11BB67BF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84E87DA5-26FC-072A-5669-75135918D3AF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C6320B96-8FD0-B6FD-CC9A-E0CBC1DEC446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2BBC829F-B0E8-1E14-17D6-6FA72A233DE3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492777A7-AAC0-C020-49DD-8479F4C2F24D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33919EBF-B3E2-BC99-1C93-D84C69C8A672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F34E2AE1-2644-FAA8-99C1-3B30DEFAC51E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D8A842E3-BEFE-8390-685B-81A2BE3025D2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4505B5E6-E2E7-6AFE-F307-5991289E1D5D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B4975F2A-7464-0158-4E8D-F54A6BD08481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9CE31611-9C4E-2E2B-B0DC-307CE5E992BB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8FC37BE7-4F3A-E80C-5FFF-F411B343A1D4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E45D1AFB-89B3-B561-CD56-ADD23AA2A393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D4543A3E-7A44-D778-BFC1-BB3F01400031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34677254-7E79-FE84-A734-982593DDE88D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BF0E9C7C-AF21-8C82-63D1-6796BAE3BE60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147DECF9-0575-6132-178C-8C48BE9A9618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14ABEE62-6C81-7ECE-491B-A760D419C21E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D99054A0-AE99-24A4-1049-0BF7A5715DA2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EB405491-C0A7-4DE5-9433-6458AD62A9CD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1BA2399A-B013-D3C4-7D5F-F50DEF9C07C2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B211FA68-90CF-27FD-7A33-CF615A44D1E7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732DEF96-8AAC-A5B0-97B8-934563C287B6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D4766C35-A89B-5B45-C73F-E65D349E1C82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F4D7BA31-5093-03FB-30AF-8EFBC9795751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E25D8CA0-4F00-EC7C-25C2-5E67E3DE60CF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E8518285-684B-2913-49A1-F54FFCF9EF5C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4B154C5A-6386-3744-5FA3-B2C39AD22B21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DB8CAACD-D3DF-5506-5CC7-7C1740523298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70711201-27AA-F27D-7F29-A6B8785C9B3F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A414A3B9-104C-F6ED-574B-DB1037B169C7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3A06FFC0-1FD2-A284-66A3-78B0A4A61F40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3D1AA4A3-3CB5-A305-4BFB-3EB667D7A761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9BBFA944-E6A8-2612-48C6-43CC302FE809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3AE0FE69-B4BE-A343-A3A0-33F3E8E32C5A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89709E1C-C476-7D94-CA69-683FDFB170DF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E3391966-7E2E-21DD-722B-85475696E621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2A88A50F-7AE6-2C85-1FA6-B5A45D773569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04E716E8-D0F4-3CC8-F03A-F61C06C44E9F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71E5F60D-6CD9-C2AD-8859-CAB550AB7EA4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381CA6A3-335F-FADA-226E-0155957A3CEC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C9D5758E-E1AE-2E8C-B5AB-30FD7C23E683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9B5212E3-081A-EFE1-2F65-C834593B4F6D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2073899A-8727-A05E-122C-04494467D1B9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36EA85AA-7094-B73E-7241-C1CAA2E1BC1D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58C58E62-19F8-6417-4AA4-3C2A630FFC21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66678A5C-4F7A-D7A1-EE7C-B8E7EF3C69F3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8165FED5-DEA9-0135-0033-481D0B57107F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2CFA3AFF-7421-A010-FE97-A2A2638FAF27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9E9A67BD-6327-4CAC-2044-6F6CC118CD65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90766766-A01A-3786-4378-27AE5DA82EBC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5AB5FF54-C8B3-6D81-D720-F0AE69EB80E8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246E0B07-4F3E-423D-5EBC-E026AB447C01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5A761BFB-9D98-C403-DF19-AE28A64B1678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0CB7A8BF-024B-6613-A476-8A435B1F3FB4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BE22894F-AA1E-5D28-ADC2-7D6CACBD96FB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48A776DE-423E-068E-D1A9-53BFAA80A225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1025F6B7-0835-BAF6-3A05-77E1AFBE0872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9CB828D6-3144-002C-EE51-459CE2FB25D3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0" name="Rechteck 389">
              <a:extLst>
                <a:ext uri="{FF2B5EF4-FFF2-40B4-BE49-F238E27FC236}">
                  <a16:creationId xmlns:a16="http://schemas.microsoft.com/office/drawing/2014/main" id="{D6F973FE-2A92-4224-141C-6640E734C1DD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1" name="Rechteck 390">
              <a:extLst>
                <a:ext uri="{FF2B5EF4-FFF2-40B4-BE49-F238E27FC236}">
                  <a16:creationId xmlns:a16="http://schemas.microsoft.com/office/drawing/2014/main" id="{0B5DB296-F090-FFC1-1B25-C39D57E54B51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2" name="Rechteck 391">
              <a:extLst>
                <a:ext uri="{FF2B5EF4-FFF2-40B4-BE49-F238E27FC236}">
                  <a16:creationId xmlns:a16="http://schemas.microsoft.com/office/drawing/2014/main" id="{5C7E263B-20E8-50F4-E5EB-6736994BCE67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3" name="Rechteck 392">
              <a:extLst>
                <a:ext uri="{FF2B5EF4-FFF2-40B4-BE49-F238E27FC236}">
                  <a16:creationId xmlns:a16="http://schemas.microsoft.com/office/drawing/2014/main" id="{EF09D085-9AFC-47ED-8C16-A379672CBC6A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4" name="Rechteck 393">
              <a:extLst>
                <a:ext uri="{FF2B5EF4-FFF2-40B4-BE49-F238E27FC236}">
                  <a16:creationId xmlns:a16="http://schemas.microsoft.com/office/drawing/2014/main" id="{9C99C55A-94A9-CD70-DE3A-CAC2DCDBD390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5" name="Rechteck 394">
              <a:extLst>
                <a:ext uri="{FF2B5EF4-FFF2-40B4-BE49-F238E27FC236}">
                  <a16:creationId xmlns:a16="http://schemas.microsoft.com/office/drawing/2014/main" id="{294D9768-B58A-9D78-2EF0-95AE7B3D19DE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6" name="Rechteck 395">
              <a:extLst>
                <a:ext uri="{FF2B5EF4-FFF2-40B4-BE49-F238E27FC236}">
                  <a16:creationId xmlns:a16="http://schemas.microsoft.com/office/drawing/2014/main" id="{E045C236-DFC2-84DD-3ACD-A21236272DAE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7" name="Rechteck 396">
              <a:extLst>
                <a:ext uri="{FF2B5EF4-FFF2-40B4-BE49-F238E27FC236}">
                  <a16:creationId xmlns:a16="http://schemas.microsoft.com/office/drawing/2014/main" id="{B293FBB0-E6CF-54BB-8998-FB202CC85459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1C4843D0-414F-3C42-AA14-CA508D98DAEC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B38DEE85-1E5E-1C74-EFD2-4A4AB127E52A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2D660827-5D4C-197B-C3DB-3374701979EA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AA0C6F8A-A05F-CB89-5417-018D3FBE26B9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C987FCE4-9147-F00E-9EAD-89D813576A8B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3" name="Rechteck 402">
              <a:extLst>
                <a:ext uri="{FF2B5EF4-FFF2-40B4-BE49-F238E27FC236}">
                  <a16:creationId xmlns:a16="http://schemas.microsoft.com/office/drawing/2014/main" id="{D0581425-1055-E469-7776-F7306BC9DA5C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B6C5BC7A-8696-5091-35F1-64CB5BD74752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5" name="Rechteck 404">
              <a:extLst>
                <a:ext uri="{FF2B5EF4-FFF2-40B4-BE49-F238E27FC236}">
                  <a16:creationId xmlns:a16="http://schemas.microsoft.com/office/drawing/2014/main" id="{2D1198C2-C774-1E0E-0E60-43A4BC42481F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6" name="Rechteck 405">
              <a:extLst>
                <a:ext uri="{FF2B5EF4-FFF2-40B4-BE49-F238E27FC236}">
                  <a16:creationId xmlns:a16="http://schemas.microsoft.com/office/drawing/2014/main" id="{9A3C2D6D-8477-760A-B611-44C96B865D88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8F225F7D-37B8-291F-FCD6-2DD49AEFDE09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169F820B-C4BD-4FA3-B94F-860563E0301C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E57D7161-B6DF-ACC5-9900-52599FECBA8E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sp>
        <p:nvSpPr>
          <p:cNvPr id="411" name="Freihandform: Form 410">
            <a:extLst>
              <a:ext uri="{FF2B5EF4-FFF2-40B4-BE49-F238E27FC236}">
                <a16:creationId xmlns:a16="http://schemas.microsoft.com/office/drawing/2014/main" id="{2AD52377-04C7-915A-34D5-E1C0543FB4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1424" y="2060848"/>
            <a:ext cx="2892425" cy="2879303"/>
          </a:xfrm>
          <a:custGeom>
            <a:avLst/>
            <a:gdLst>
              <a:gd name="connsiteX0" fmla="*/ 0 w 2892425"/>
              <a:gd name="connsiteY0" fmla="*/ 0 h 2879303"/>
              <a:gd name="connsiteX1" fmla="*/ 2892425 w 2892425"/>
              <a:gd name="connsiteY1" fmla="*/ 0 h 2879303"/>
              <a:gd name="connsiteX2" fmla="*/ 2307742 w 2892425"/>
              <a:gd name="connsiteY2" fmla="*/ 2298575 h 2879303"/>
              <a:gd name="connsiteX3" fmla="*/ 0 w 2892425"/>
              <a:gd name="connsiteY3" fmla="*/ 2879303 h 2879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92425" h="2879303">
                <a:moveTo>
                  <a:pt x="0" y="0"/>
                </a:moveTo>
                <a:lnTo>
                  <a:pt x="2892425" y="0"/>
                </a:lnTo>
                <a:lnTo>
                  <a:pt x="2307742" y="2298575"/>
                </a:lnTo>
                <a:lnTo>
                  <a:pt x="0" y="2879303"/>
                </a:lnTo>
                <a:close/>
              </a:path>
            </a:pathLst>
          </a:custGeom>
          <a:solidFill>
            <a:schemeClr val="bg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en-GB" sz="1600" err="1"/>
          </a:p>
        </p:txBody>
      </p:sp>
      <p:sp>
        <p:nvSpPr>
          <p:cNvPr id="272" name="Number">
            <a:extLst>
              <a:ext uri="{FF2B5EF4-FFF2-40B4-BE49-F238E27FC236}">
                <a16:creationId xmlns:a16="http://schemas.microsoft.com/office/drawing/2014/main" id="{B51777ED-2677-4CA6-9D24-823DF0017EB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11424" y="2060997"/>
            <a:ext cx="2880320" cy="2880171"/>
          </a:xfrm>
          <a:custGeom>
            <a:avLst/>
            <a:gdLst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517775 w 3022600"/>
              <a:gd name="connsiteY2" fmla="*/ 2520950 h 3024187"/>
              <a:gd name="connsiteX3" fmla="*/ 0 w 3022600"/>
              <a:gd name="connsiteY3" fmla="*/ 3024187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337856 w 3022600"/>
              <a:gd name="connsiteY2" fmla="*/ 2347595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414488 w 3022600"/>
              <a:gd name="connsiteY2" fmla="*/ 2417604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2600" h="3024187">
                <a:moveTo>
                  <a:pt x="0" y="0"/>
                </a:moveTo>
                <a:lnTo>
                  <a:pt x="3022600" y="0"/>
                </a:lnTo>
                <a:lnTo>
                  <a:pt x="2414488" y="2417604"/>
                </a:lnTo>
                <a:lnTo>
                  <a:pt x="0" y="3024187"/>
                </a:lnTo>
                <a:lnTo>
                  <a:pt x="0" y="0"/>
                </a:lnTo>
                <a:close/>
              </a:path>
            </a:pathLst>
          </a:custGeom>
          <a:solidFill>
            <a:srgbClr val="519FBC"/>
          </a:solidFill>
          <a:ln w="127">
            <a:solidFill>
              <a:srgbClr val="519FBC">
                <a:alpha val="0"/>
              </a:srgbClr>
            </a:solidFill>
          </a:ln>
        </p:spPr>
        <p:txBody>
          <a:bodyPr wrap="square" lIns="21600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9pPr>
          </a:lstStyle>
          <a:p>
            <a:r>
              <a:rPr lang="en-GB"/>
              <a:t>00</a:t>
            </a:r>
          </a:p>
        </p:txBody>
      </p:sp>
      <p:sp>
        <p:nvSpPr>
          <p:cNvPr id="2" name="Title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4727849" y="1988840"/>
            <a:ext cx="5040000" cy="18002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tIns="36000" rIns="216000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Divider slide | Insert your headline in maximal three lines her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46297C-A90E-4725-9584-F26D2B59D3D8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4727848" y="3717033"/>
            <a:ext cx="5040000" cy="936104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271" name="Source">
            <a:extLst>
              <a:ext uri="{FF2B5EF4-FFF2-40B4-BE49-F238E27FC236}">
                <a16:creationId xmlns:a16="http://schemas.microsoft.com/office/drawing/2014/main" id="{ECFBD499-EAD8-4061-9B79-3BE04BC20C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87488" y="6525000"/>
            <a:ext cx="9144512" cy="144000"/>
          </a:xfrm>
        </p:spPr>
        <p:txBody>
          <a:bodyPr anchor="b"/>
          <a:lstStyle>
            <a:lvl1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2pPr>
            <a:lvl3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3pPr>
            <a:lvl4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6pPr>
            <a:lvl7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7pPr>
            <a:lvl8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8pPr>
            <a:lvl9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/>
              <a:t>Source, Footnot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9CCD5DB-0D01-7AB9-B6CA-3826DB15D2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7F02CFD-4A0E-4825-8D46-8C1886045908}" type="datetime1">
              <a:rPr lang="en-GB" smtClean="0"/>
              <a:t>12/02/2026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DD82BBB-77A7-D509-536D-9C9CE1AFC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F35785-D94C-67B5-E395-7424B82734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99046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 |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DA32648-DFA4-5D6E-A4B8-AEC450EB68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6094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A32648-DFA4-5D6E-A4B8-AEC450EB68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Number">
            <a:extLst>
              <a:ext uri="{FF2B5EF4-FFF2-40B4-BE49-F238E27FC236}">
                <a16:creationId xmlns:a16="http://schemas.microsoft.com/office/drawing/2014/main" id="{F1BA0A68-4136-44D7-9E13-FF5DFC551B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5360" y="2061183"/>
            <a:ext cx="3528392" cy="252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 baseline="0">
                <a:solidFill>
                  <a:srgbClr val="7B4DB3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7B4DB3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7B4DB3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7B4DB3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7B4DB3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7B4DB3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7B4DB3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7B4DB3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7B4DB3"/>
                </a:solidFill>
                <a:latin typeface="+mj-lt"/>
              </a:defRPr>
            </a:lvl9pPr>
          </a:lstStyle>
          <a:p>
            <a:r>
              <a:rPr lang="en-US"/>
              <a:t>00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4943872" y="1989183"/>
            <a:ext cx="4608511" cy="1727849"/>
          </a:xfrm>
          <a:prstGeom prst="rect">
            <a:avLst/>
          </a:prstGeom>
        </p:spPr>
        <p:txBody>
          <a:bodyPr vert="horz" tIns="36000">
            <a:noAutofit/>
          </a:bodyPr>
          <a:lstStyle>
            <a:lvl1pPr rtl="0"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Divider slide | Insert your headline in maximal three lines her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46297C-A90E-4725-9584-F26D2B59D3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943872" y="3717032"/>
            <a:ext cx="4608512" cy="864096"/>
          </a:xfrm>
          <a:prstGeom prst="rect">
            <a:avLst/>
          </a:prstGeom>
          <a:noFill/>
          <a:ln w="0">
            <a:noFill/>
          </a:ln>
        </p:spPr>
        <p:txBody>
          <a:bodyPr lIns="0" r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8" name="Source">
            <a:extLst>
              <a:ext uri="{FF2B5EF4-FFF2-40B4-BE49-F238E27FC236}">
                <a16:creationId xmlns:a16="http://schemas.microsoft.com/office/drawing/2014/main" id="{EC4813FD-BF8E-4F33-A718-751235694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487488" y="6525000"/>
            <a:ext cx="9144512" cy="144000"/>
          </a:xfrm>
        </p:spPr>
        <p:txBody>
          <a:bodyPr anchor="b"/>
          <a:lstStyle>
            <a:lvl1pPr marL="0" indent="0" algn="l" rtl="0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/>
              <a:t>Source, Footnote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879F79-C439-455B-A908-83DBF49735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1D7D864F-68B1-4673-B500-C22B87B42C08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95FAF83-CEF1-F861-C7AA-8906EFD276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55CDCD7-4589-3D72-B7F4-95F768825C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9842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 |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DF80C51-CD8C-7D8D-C9E4-327FBB8E7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0052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F80C51-CD8C-7D8D-C9E4-327FBB8E7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Number">
            <a:extLst>
              <a:ext uri="{FF2B5EF4-FFF2-40B4-BE49-F238E27FC236}">
                <a16:creationId xmlns:a16="http://schemas.microsoft.com/office/drawing/2014/main" id="{0FFF7464-F835-4DB7-98C4-101D2DE12D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5360" y="2061128"/>
            <a:ext cx="3528392" cy="252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 baseline="0">
                <a:solidFill>
                  <a:srgbClr val="519FBC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519FBC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519FBC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519FBC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519FBC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519FBC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519FBC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519FBC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519FBC"/>
                </a:solidFill>
                <a:latin typeface="+mj-lt"/>
              </a:defRPr>
            </a:lvl9pPr>
          </a:lstStyle>
          <a:p>
            <a:r>
              <a:rPr lang="en-US"/>
              <a:t>00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4944376" y="1989072"/>
            <a:ext cx="4608008" cy="1727960"/>
          </a:xfrm>
          <a:prstGeom prst="rect">
            <a:avLst/>
          </a:prstGeom>
        </p:spPr>
        <p:txBody>
          <a:bodyPr vert="horz" tIns="36000">
            <a:noAutofit/>
          </a:bodyPr>
          <a:lstStyle>
            <a:lvl1pPr rtl="0"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Divider slide | Insert your headline in maximal three lines her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46297C-A90E-4725-9584-F26D2B59D3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943872" y="3717032"/>
            <a:ext cx="4608512" cy="864096"/>
          </a:xfrm>
          <a:prstGeom prst="rect">
            <a:avLst/>
          </a:prstGeom>
          <a:noFill/>
          <a:ln w="0">
            <a:noFill/>
          </a:ln>
        </p:spPr>
        <p:txBody>
          <a:bodyPr lIns="0" r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8" name="Source">
            <a:extLst>
              <a:ext uri="{FF2B5EF4-FFF2-40B4-BE49-F238E27FC236}">
                <a16:creationId xmlns:a16="http://schemas.microsoft.com/office/drawing/2014/main" id="{F83C2111-A5BF-43B2-BF9D-B55B24083C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487488" y="6525000"/>
            <a:ext cx="9144512" cy="144000"/>
          </a:xfrm>
        </p:spPr>
        <p:txBody>
          <a:bodyPr anchor="b"/>
          <a:lstStyle>
            <a:lvl1pPr marL="0" indent="0" algn="l" rtl="0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/>
              <a:t>Source, Footnote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F624230-35E9-86B7-1C1F-F066F4A3A1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15DFD662-3608-46F2-A61C-A5264C9F23B2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E8ECE22-627B-46ED-CA7A-667359FF7A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A8CF00-F35E-06AA-5858-C368341ADD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01247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4F6C2EA-5458-9585-6AD0-628843A04B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6618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F6C2EA-5458-9585-6AD0-628843A04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3372D55B-DF5B-878B-E270-AF68BF7A02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2D8B8CD0-A918-4D9A-8B83-4ECDE9349120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4D232B53-FA76-C372-3BF1-A3898B6069E4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0888B918-6E26-ACE0-6591-802C1DE1E8E9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FE0242B6-0FBE-72E8-3E25-FB5C49CEF0DC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FA1E7E2B-C8FC-2239-2546-337821C4600B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0ADFB1E6-79D8-89DD-8D5C-F82DED503C58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46FA6F38-1DA4-AA00-F367-D0CA9A98715F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F724538F-38F7-645C-E1B4-1FBC14617EC6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2AC44F23-B7E2-840E-FEED-D96E175CE5D4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AE38ECB5-54D1-EC05-6215-8740B88199BE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646006D9-EE5B-2F94-1D8A-C6EEA552C8DB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B0A5F9AC-8389-A8CE-E4DD-8869D3A81E3A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96568FFC-C6BB-467C-E4A6-676B8F962DCC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6B1188E5-CD61-B5C4-E327-BAA6594C86CE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0" name="Rechteck 79">
              <a:extLst>
                <a:ext uri="{FF2B5EF4-FFF2-40B4-BE49-F238E27FC236}">
                  <a16:creationId xmlns:a16="http://schemas.microsoft.com/office/drawing/2014/main" id="{1AD7256D-513A-1217-C823-686EDCDC4C55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386E3984-4E0A-D44C-4536-039C63764A35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4AAB3199-8192-D440-F367-E6E081128F06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23F0D60B-D04B-1620-E74A-036B17559A8C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FBC92A60-2945-BF6A-207F-7D0DCF7C253F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7479D1E8-90F5-BC18-C772-8A37F9D7DCE7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67F22A96-F741-177E-6808-1D213256B87E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7" name="Rechteck 86">
              <a:extLst>
                <a:ext uri="{FF2B5EF4-FFF2-40B4-BE49-F238E27FC236}">
                  <a16:creationId xmlns:a16="http://schemas.microsoft.com/office/drawing/2014/main" id="{24A2538C-392B-F1AA-8609-0800E6D2E4B1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8" name="Rechteck 87">
              <a:extLst>
                <a:ext uri="{FF2B5EF4-FFF2-40B4-BE49-F238E27FC236}">
                  <a16:creationId xmlns:a16="http://schemas.microsoft.com/office/drawing/2014/main" id="{3F5659DA-0A75-D48A-F057-4FB594532732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9" name="Rechteck 88">
              <a:extLst>
                <a:ext uri="{FF2B5EF4-FFF2-40B4-BE49-F238E27FC236}">
                  <a16:creationId xmlns:a16="http://schemas.microsoft.com/office/drawing/2014/main" id="{3D69D1FB-1AF7-9904-CC3E-6C5BF76BDEA4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5" name="Rechteck 94">
              <a:extLst>
                <a:ext uri="{FF2B5EF4-FFF2-40B4-BE49-F238E27FC236}">
                  <a16:creationId xmlns:a16="http://schemas.microsoft.com/office/drawing/2014/main" id="{E6208661-5DD3-173A-6D41-5CBA60DEA8A5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D82AB69E-5578-9110-CFDA-61BA984B0779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272E29DC-6BFF-A01F-8A0C-D70AABC1A353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3AB14283-8B29-E816-14AA-75CA7C23B6B5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A59908C2-F446-90CF-1869-93DB553B2A6F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95D3DDE8-51DA-8833-AF8F-9DBD0424E38B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8" name="Rechteck 117">
              <a:extLst>
                <a:ext uri="{FF2B5EF4-FFF2-40B4-BE49-F238E27FC236}">
                  <a16:creationId xmlns:a16="http://schemas.microsoft.com/office/drawing/2014/main" id="{654CABEC-8C4A-13E3-3669-7FB553156B80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9" name="Rechteck 118">
              <a:extLst>
                <a:ext uri="{FF2B5EF4-FFF2-40B4-BE49-F238E27FC236}">
                  <a16:creationId xmlns:a16="http://schemas.microsoft.com/office/drawing/2014/main" id="{CF754393-5B8F-DDC5-ED92-040760E53368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0" name="Rechteck 119">
              <a:extLst>
                <a:ext uri="{FF2B5EF4-FFF2-40B4-BE49-F238E27FC236}">
                  <a16:creationId xmlns:a16="http://schemas.microsoft.com/office/drawing/2014/main" id="{9046C57E-EE1B-E95D-2AB3-3094B74E95FC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1" name="Rechteck 120">
              <a:extLst>
                <a:ext uri="{FF2B5EF4-FFF2-40B4-BE49-F238E27FC236}">
                  <a16:creationId xmlns:a16="http://schemas.microsoft.com/office/drawing/2014/main" id="{319A762A-3854-B9EA-9316-E199584AA481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2" name="Rechteck 121">
              <a:extLst>
                <a:ext uri="{FF2B5EF4-FFF2-40B4-BE49-F238E27FC236}">
                  <a16:creationId xmlns:a16="http://schemas.microsoft.com/office/drawing/2014/main" id="{388AD491-9200-ACB9-6257-E440148C38B1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3" name="Rechteck 122">
              <a:extLst>
                <a:ext uri="{FF2B5EF4-FFF2-40B4-BE49-F238E27FC236}">
                  <a16:creationId xmlns:a16="http://schemas.microsoft.com/office/drawing/2014/main" id="{C335B5AA-8542-09F4-A16C-90BDD1A97220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1" name="Rechteck 140">
              <a:extLst>
                <a:ext uri="{FF2B5EF4-FFF2-40B4-BE49-F238E27FC236}">
                  <a16:creationId xmlns:a16="http://schemas.microsoft.com/office/drawing/2014/main" id="{3A37C102-D5BC-66A4-C15C-CB9DCBB6BB8C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E2087D6C-C560-89A3-D930-60315114736D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3" name="Rechteck 142">
              <a:extLst>
                <a:ext uri="{FF2B5EF4-FFF2-40B4-BE49-F238E27FC236}">
                  <a16:creationId xmlns:a16="http://schemas.microsoft.com/office/drawing/2014/main" id="{C1754029-10DC-6D4B-1269-4F32947FDF03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4" name="Rechteck 143">
              <a:extLst>
                <a:ext uri="{FF2B5EF4-FFF2-40B4-BE49-F238E27FC236}">
                  <a16:creationId xmlns:a16="http://schemas.microsoft.com/office/drawing/2014/main" id="{E9940C7B-8575-13FA-60C2-4739B45183F2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5" name="Rechteck 144">
              <a:extLst>
                <a:ext uri="{FF2B5EF4-FFF2-40B4-BE49-F238E27FC236}">
                  <a16:creationId xmlns:a16="http://schemas.microsoft.com/office/drawing/2014/main" id="{20CEE341-266F-B5A1-D5FE-42A1165600C9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6" name="Rechteck 145">
              <a:extLst>
                <a:ext uri="{FF2B5EF4-FFF2-40B4-BE49-F238E27FC236}">
                  <a16:creationId xmlns:a16="http://schemas.microsoft.com/office/drawing/2014/main" id="{07C11134-46C1-378E-6C42-90D51CFE1C1C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4" name="Rechteck 163">
              <a:extLst>
                <a:ext uri="{FF2B5EF4-FFF2-40B4-BE49-F238E27FC236}">
                  <a16:creationId xmlns:a16="http://schemas.microsoft.com/office/drawing/2014/main" id="{03CA6F13-3D99-C26E-9BD4-BE7C5B8D1C73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5" name="Rechteck 164">
              <a:extLst>
                <a:ext uri="{FF2B5EF4-FFF2-40B4-BE49-F238E27FC236}">
                  <a16:creationId xmlns:a16="http://schemas.microsoft.com/office/drawing/2014/main" id="{71FB9E06-94FF-1460-6A2E-271178AF7C48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6" name="Rechteck 165">
              <a:extLst>
                <a:ext uri="{FF2B5EF4-FFF2-40B4-BE49-F238E27FC236}">
                  <a16:creationId xmlns:a16="http://schemas.microsoft.com/office/drawing/2014/main" id="{57421275-5BF0-BA0F-5FA3-52105BE88709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7" name="Rechteck 166">
              <a:extLst>
                <a:ext uri="{FF2B5EF4-FFF2-40B4-BE49-F238E27FC236}">
                  <a16:creationId xmlns:a16="http://schemas.microsoft.com/office/drawing/2014/main" id="{2897480A-8BE6-89E6-93D1-2974D9965314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8" name="Rechteck 167">
              <a:extLst>
                <a:ext uri="{FF2B5EF4-FFF2-40B4-BE49-F238E27FC236}">
                  <a16:creationId xmlns:a16="http://schemas.microsoft.com/office/drawing/2014/main" id="{88A18E1C-6F1B-8823-1AF7-F785426782D2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9" name="Rechteck 168">
              <a:extLst>
                <a:ext uri="{FF2B5EF4-FFF2-40B4-BE49-F238E27FC236}">
                  <a16:creationId xmlns:a16="http://schemas.microsoft.com/office/drawing/2014/main" id="{05E5C208-77D8-6492-C8DE-89EA89879893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7" name="Rechteck 186">
              <a:extLst>
                <a:ext uri="{FF2B5EF4-FFF2-40B4-BE49-F238E27FC236}">
                  <a16:creationId xmlns:a16="http://schemas.microsoft.com/office/drawing/2014/main" id="{454D55A6-69AC-1982-41BF-2E0985DF19D0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8" name="Rechteck 187">
              <a:extLst>
                <a:ext uri="{FF2B5EF4-FFF2-40B4-BE49-F238E27FC236}">
                  <a16:creationId xmlns:a16="http://schemas.microsoft.com/office/drawing/2014/main" id="{06582C43-AE5B-3B69-4563-EDDCAF718E59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9" name="Rechteck 188">
              <a:extLst>
                <a:ext uri="{FF2B5EF4-FFF2-40B4-BE49-F238E27FC236}">
                  <a16:creationId xmlns:a16="http://schemas.microsoft.com/office/drawing/2014/main" id="{C5F26964-2EF2-08E5-8B07-7CE7881B2602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0" name="Rechteck 189">
              <a:extLst>
                <a:ext uri="{FF2B5EF4-FFF2-40B4-BE49-F238E27FC236}">
                  <a16:creationId xmlns:a16="http://schemas.microsoft.com/office/drawing/2014/main" id="{32291D88-A86A-9ED7-BABB-581F278604F6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AC4A2243-3EE1-37CC-3060-F5152EC38B36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2" name="Rechteck 191">
              <a:extLst>
                <a:ext uri="{FF2B5EF4-FFF2-40B4-BE49-F238E27FC236}">
                  <a16:creationId xmlns:a16="http://schemas.microsoft.com/office/drawing/2014/main" id="{0071C46D-302D-F6F4-3302-8270870508F7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C99B72C5-A0F3-3612-A7C7-31307866317A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C6528FD0-20BD-0EA8-87EC-1637072049BB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76621617-2F7B-2DB5-55DF-FEF1185E45B8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3" name="Rechteck 212">
              <a:extLst>
                <a:ext uri="{FF2B5EF4-FFF2-40B4-BE49-F238E27FC236}">
                  <a16:creationId xmlns:a16="http://schemas.microsoft.com/office/drawing/2014/main" id="{6E72D813-520F-D096-D3CB-76918D5D3478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569D4C52-FBB8-7F1A-9887-8CCFA267AA3C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5" name="Rechteck 214">
              <a:extLst>
                <a:ext uri="{FF2B5EF4-FFF2-40B4-BE49-F238E27FC236}">
                  <a16:creationId xmlns:a16="http://schemas.microsoft.com/office/drawing/2014/main" id="{AA99D5DB-5D3D-53DB-FC50-FF05F4CA47CB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6" name="Rechteck 215">
              <a:extLst>
                <a:ext uri="{FF2B5EF4-FFF2-40B4-BE49-F238E27FC236}">
                  <a16:creationId xmlns:a16="http://schemas.microsoft.com/office/drawing/2014/main" id="{1CF58A24-8656-5AA7-BEBD-55AAF3281A9E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5" name="Rechteck 254">
              <a:extLst>
                <a:ext uri="{FF2B5EF4-FFF2-40B4-BE49-F238E27FC236}">
                  <a16:creationId xmlns:a16="http://schemas.microsoft.com/office/drawing/2014/main" id="{69378F78-BE02-36F9-9023-8B7C5B2F2436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3434AA33-A769-86A2-6267-1CF67CF17D43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8869885B-A7CF-271D-2250-95783ED628A0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8D0B4205-9279-7C9E-2F0A-417BE63DAF5C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5F450C99-3248-5FDD-C05D-86AA682D4362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B6D1B5C1-AF37-49AE-9F7F-CCEDDAA93A43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C16D46F4-21D9-DCAA-3DAA-F1BDF69307B6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8E7E6966-718B-5862-42E4-82F4DED3BFA0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882706A7-29E2-E3EA-3408-17FB4E919900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1986A5D7-AF82-63C9-76D6-3CD59BCC432A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B100A660-F65E-74C3-B8DE-B5A350550FC3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43AE1A6A-F453-940E-1A0F-A077354ECB6F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713A0AA1-8A1F-26A5-E085-EFB1F50DCAB0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FA868219-BA8A-F8F2-1C8D-91C81ACA2868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D710CC4C-4F6D-A657-1C23-851B85A1B88D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28C7E710-B287-0276-B5D0-9AC91AE76B04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4D7961F2-2D57-EF97-3102-83BED17525BF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59C89E42-25CB-61BD-7141-68BDBED9D90E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7F33EE8E-E2F8-E8EF-9703-27A22655F370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E4A7170D-3492-8300-B639-2C7AC2F8EA76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AECAC77B-ABD1-6CE4-DEE1-88D77F673984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D27BB99E-2DF4-FFC5-8F50-887F493E3897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BDB0758F-AD28-37D2-6A38-0882F101DE64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7284447C-1797-503D-1FC1-CFA604F478A9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18C0657A-BDC9-8FBB-C472-A788927282AA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880227BA-B206-6CAD-9E32-C145EE6B7994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8394C89A-81E9-F5F0-BE8E-82BD5F606F50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394C4797-166C-3476-924D-8EF06C923D78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F3C31654-44C7-8F70-BF1C-E5ABB7741035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D5D0FC4A-1EF1-3BBE-298F-5446B6D51AC2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A2ADC623-2998-16BC-56B2-FA94B84D6001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321AE098-CA64-068C-CC2C-D282BE8148BD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80D2BB41-03C2-53F0-2B74-E7FCF2FD5156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7DF3ACFD-3460-C73B-839C-8920B7552081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1CDE75C6-07C8-CE29-025A-DB237B0F3AF6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241B3B4C-9ECE-368B-9D94-A2BE024C7937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A16A0B79-A142-3E79-3B0A-4E1EA505B189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D577F498-B8D3-08C5-E878-B7E821CEAF39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1C3EF8F6-ABFE-AA2F-6C28-36CD95B7D9A3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C347EAC4-72C3-2CAE-9FFF-BDB25FF8DC30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FEAAF333-DE99-4917-CA33-E7AD0594E4DA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395322F4-8E13-7525-0825-B77152A5E9BA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2E4BCE7D-430C-EB46-2336-78184AE373DC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F9197531-0CE3-EEA0-A786-C7ACC76B6FEA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29D836FB-421E-5A23-0A6E-96F40839B215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FFDD4D6F-CDA5-46B9-8EC5-8773123EE433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F1303005-1F7A-2E13-C105-3CBEF3523DCF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81234DFF-CE84-C948-8DE0-5DF82C5965E7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3B32A862-10D4-4D4E-7BD2-70DAAD12E80F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F1163D25-E28F-54C4-73A5-A37AD66971CE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0CA61BC7-2833-A5C9-EE7A-CF391DF04DEA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D5EAD328-D76D-795D-A9FE-99A7848B7E74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5CA3622D-8875-D7A8-0F45-6D0F90AD63EB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F3C3628F-FA0E-4F6D-0290-8DBB0A3F5CEB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EE6AD1DD-42E5-DA63-4C35-3F0180863667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97ACB3D7-EC4D-D285-EE70-D8779852026F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7A4E2BED-DD1E-A167-F13B-E79130A657CC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369058B3-CEFF-970F-5452-83F1338D26C5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FA4FB7CF-A102-7C04-F0E3-9DB54D7A1102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84D017E9-EF37-8BEB-C454-4A23FE97DA18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7A10C9A8-2C41-4FB5-65B6-1AB97CB35E5D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15A7D076-C072-B087-8792-59BBF8752FE0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860BBBF7-64EF-F134-4687-A66135E0032C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20D2A556-4BC4-9FF4-B737-128865F18DB4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A06018B4-8610-BA59-3553-B5609CA73793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48D84B21-A2BD-94D4-664D-7E2103A9CE42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66B05253-9CF4-B9A7-AF59-511F1FB3DA32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6BB2F306-1C42-0FB4-BB74-DF92811409C4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7FA55D82-DBA1-B52A-24FF-912A475ED64C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506E4F1B-2773-1131-D5D8-411ED8F02B3B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A7B3BEBF-F9C7-2241-BF37-30738B71C0BF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DC31AEC3-3DAF-6F56-6CA5-0D60E4C74006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27DFD8FC-3912-4D6D-C614-D3A8BE539520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E9B839FE-FE05-99AE-542A-721B7116CADC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E3285C68-92DF-85C7-8DCB-B423E9A2A3BD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E515F063-FB68-43A6-A3C4-654126F6C57E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A503810D-91CD-A3D2-221F-325F1C1C85A0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97836359-C74D-FF29-7F62-171611C093F3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0A529F40-D224-6D54-6E4C-463E5C3DDD28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BFF58E3C-DAAC-1C09-2514-478922900C2A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CC149E58-1E7E-93D0-DE88-89E0B5ABC050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7FBDE90E-73C6-B107-DF5F-BF487168163C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9135A243-80FC-5DDA-A700-0CEF5276F3E1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7305426B-0B6F-1BE5-30B9-FCC22C3A34F9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35A09146-AC3F-E42D-B122-FF3C23D40CA3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7F2F7172-EB0B-9CDC-6482-FA13357AC659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15EC83F0-EBF6-8834-E43F-EB67146C9492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3F429A80-0E6C-F4D8-172B-842FFA87622A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ED9AEF9E-62F7-25CF-CEC6-9D6F4647E8C0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C5DF8A29-E5D5-7C51-284F-BE37D4A610EA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F81AD4B4-7961-CEDE-2947-5CC65D58B1CB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C2823A4F-8F72-F503-8B61-23864271ACFF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7B36D97B-50BA-48CA-8871-9A536C543D57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80B05F53-08F1-1D12-3A1D-DD60DDD3DA76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89AAFE3C-0F36-7172-6338-0EEB58807A68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677B3EE0-B872-B54A-1B18-B89F9A60DAEE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B60A87EF-94C5-C241-5CA4-EEF22991C934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2BF9ECE5-5439-7EC8-0129-CD9BAA53C9FE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8395A401-4D93-FB41-42D2-B8DFC1D4C43A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1BBE461E-F474-6FA6-7D4A-54F2B9FE1731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C8C21DEC-76A9-2058-7C4B-74272E1D6203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89917A50-9281-08A7-274E-B94E187406B5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3504F114-FAB3-7B4E-F093-F0954EB61D97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CB5DA9F0-E8DD-D14A-6D99-7E7D0E3206B1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DD6C3BF7-A666-E2AC-0F02-5D3C5EA2F79B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A4712CA9-630F-36FA-EA14-2ADA0DA9A2E2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E35D1BF7-D982-87F9-092F-E35FA703EC65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93531C64-D3AA-05DB-6DB4-577B6FC7EE45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0" name="Rechteck 389">
              <a:extLst>
                <a:ext uri="{FF2B5EF4-FFF2-40B4-BE49-F238E27FC236}">
                  <a16:creationId xmlns:a16="http://schemas.microsoft.com/office/drawing/2014/main" id="{BC8244CE-843A-6115-5907-FCB991729FC1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1" name="Rechteck 390">
              <a:extLst>
                <a:ext uri="{FF2B5EF4-FFF2-40B4-BE49-F238E27FC236}">
                  <a16:creationId xmlns:a16="http://schemas.microsoft.com/office/drawing/2014/main" id="{82773620-C3C6-43FC-963E-F517F3C783A5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2" name="Rechteck 391">
              <a:extLst>
                <a:ext uri="{FF2B5EF4-FFF2-40B4-BE49-F238E27FC236}">
                  <a16:creationId xmlns:a16="http://schemas.microsoft.com/office/drawing/2014/main" id="{C0376B1B-810E-35BE-7A8C-7E4712F5A0DF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3" name="Rechteck 392">
              <a:extLst>
                <a:ext uri="{FF2B5EF4-FFF2-40B4-BE49-F238E27FC236}">
                  <a16:creationId xmlns:a16="http://schemas.microsoft.com/office/drawing/2014/main" id="{19305C83-D340-7216-6BF5-E7FA14A805D4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4" name="Rechteck 393">
              <a:extLst>
                <a:ext uri="{FF2B5EF4-FFF2-40B4-BE49-F238E27FC236}">
                  <a16:creationId xmlns:a16="http://schemas.microsoft.com/office/drawing/2014/main" id="{E4C43581-3F7B-1CA6-6FA3-18D4E9B05433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5" name="Rechteck 394">
              <a:extLst>
                <a:ext uri="{FF2B5EF4-FFF2-40B4-BE49-F238E27FC236}">
                  <a16:creationId xmlns:a16="http://schemas.microsoft.com/office/drawing/2014/main" id="{123E9A19-9462-A424-FA87-F057F460A7C6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6" name="Rechteck 395">
              <a:extLst>
                <a:ext uri="{FF2B5EF4-FFF2-40B4-BE49-F238E27FC236}">
                  <a16:creationId xmlns:a16="http://schemas.microsoft.com/office/drawing/2014/main" id="{0D8AC7E5-CF7C-CB1C-88B4-E7BDA333788D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7" name="Rechteck 396">
              <a:extLst>
                <a:ext uri="{FF2B5EF4-FFF2-40B4-BE49-F238E27FC236}">
                  <a16:creationId xmlns:a16="http://schemas.microsoft.com/office/drawing/2014/main" id="{40DBBE19-11B4-7ACA-19BD-5C1645454E9C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65B37948-EF9C-97D6-FF1C-4C9C15EC7C5C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402F9EB8-5A86-0326-F840-7535332F0475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1ACA4C6B-E7B8-1946-EF86-82C1D62B01B4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8F220E69-3A4D-C58E-629A-7DF83E42250A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E9945FD2-F476-3F9F-A02C-11DF7A407052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3" name="Rechteck 402">
              <a:extLst>
                <a:ext uri="{FF2B5EF4-FFF2-40B4-BE49-F238E27FC236}">
                  <a16:creationId xmlns:a16="http://schemas.microsoft.com/office/drawing/2014/main" id="{5A12B1F6-0096-BB24-E4CE-C20A3B7004B2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79AF5BA9-44A5-833E-4BA7-2DC7DB51808C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5" name="Rechteck 404">
              <a:extLst>
                <a:ext uri="{FF2B5EF4-FFF2-40B4-BE49-F238E27FC236}">
                  <a16:creationId xmlns:a16="http://schemas.microsoft.com/office/drawing/2014/main" id="{AE34CF66-6C51-25A5-86B5-F5DE6F65001F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6" name="Rechteck 405">
              <a:extLst>
                <a:ext uri="{FF2B5EF4-FFF2-40B4-BE49-F238E27FC236}">
                  <a16:creationId xmlns:a16="http://schemas.microsoft.com/office/drawing/2014/main" id="{4DBDF2F8-0DF6-47B3-A16C-2554740A5EC2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1093060E-B60B-0BB0-F871-CA9C2FD30631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F15B94B1-CCCA-90DB-3334-6B36EFD86BA0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4F044852-AA77-C66E-7D12-81DFEE03C134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sp>
        <p:nvSpPr>
          <p:cNvPr id="411" name="Freihandform: Form 410">
            <a:extLst>
              <a:ext uri="{FF2B5EF4-FFF2-40B4-BE49-F238E27FC236}">
                <a16:creationId xmlns:a16="http://schemas.microsoft.com/office/drawing/2014/main" id="{8095DEE7-CADB-5AC6-5F3E-2AA481A650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1424" y="2060848"/>
            <a:ext cx="2892425" cy="2879303"/>
          </a:xfrm>
          <a:custGeom>
            <a:avLst/>
            <a:gdLst>
              <a:gd name="connsiteX0" fmla="*/ 0 w 2892425"/>
              <a:gd name="connsiteY0" fmla="*/ 0 h 2879303"/>
              <a:gd name="connsiteX1" fmla="*/ 2892425 w 2892425"/>
              <a:gd name="connsiteY1" fmla="*/ 0 h 2879303"/>
              <a:gd name="connsiteX2" fmla="*/ 2307742 w 2892425"/>
              <a:gd name="connsiteY2" fmla="*/ 2298575 h 2879303"/>
              <a:gd name="connsiteX3" fmla="*/ 0 w 2892425"/>
              <a:gd name="connsiteY3" fmla="*/ 2879303 h 2879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92425" h="2879303">
                <a:moveTo>
                  <a:pt x="0" y="0"/>
                </a:moveTo>
                <a:lnTo>
                  <a:pt x="2892425" y="0"/>
                </a:lnTo>
                <a:lnTo>
                  <a:pt x="2307742" y="2298575"/>
                </a:lnTo>
                <a:lnTo>
                  <a:pt x="0" y="2879303"/>
                </a:lnTo>
                <a:close/>
              </a:path>
            </a:pathLst>
          </a:custGeom>
          <a:solidFill>
            <a:schemeClr val="bg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 rtl="0"/>
            <a:endParaRPr lang="en-US" sz="1600" dirty="0"/>
          </a:p>
        </p:txBody>
      </p:sp>
      <p:sp>
        <p:nvSpPr>
          <p:cNvPr id="283" name="Number">
            <a:extLst>
              <a:ext uri="{FF2B5EF4-FFF2-40B4-BE49-F238E27FC236}">
                <a16:creationId xmlns:a16="http://schemas.microsoft.com/office/drawing/2014/main" id="{4C4966BF-C099-498A-89EE-FA463EDE83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11424" y="2060997"/>
            <a:ext cx="2889051" cy="2880171"/>
          </a:xfrm>
          <a:custGeom>
            <a:avLst/>
            <a:gdLst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517775 w 3022600"/>
              <a:gd name="connsiteY2" fmla="*/ 2520950 h 3024187"/>
              <a:gd name="connsiteX3" fmla="*/ 0 w 3022600"/>
              <a:gd name="connsiteY3" fmla="*/ 3024187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328434 w 3022600"/>
              <a:gd name="connsiteY2" fmla="*/ 2311783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398191 w 3022600"/>
              <a:gd name="connsiteY2" fmla="*/ 2414707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411479 w 3022600"/>
              <a:gd name="connsiteY2" fmla="*/ 2408067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2600" h="3024187">
                <a:moveTo>
                  <a:pt x="0" y="0"/>
                </a:moveTo>
                <a:lnTo>
                  <a:pt x="3022600" y="0"/>
                </a:lnTo>
                <a:lnTo>
                  <a:pt x="2411479" y="2408067"/>
                </a:lnTo>
                <a:lnTo>
                  <a:pt x="0" y="3024187"/>
                </a:lnTo>
                <a:lnTo>
                  <a:pt x="0" y="0"/>
                </a:lnTo>
                <a:close/>
              </a:path>
            </a:pathLst>
          </a:custGeom>
          <a:solidFill>
            <a:srgbClr val="FFA52F"/>
          </a:solidFill>
          <a:ln w="127">
            <a:solidFill>
              <a:srgbClr val="FFA52F">
                <a:alpha val="0"/>
              </a:srgbClr>
            </a:solidFill>
          </a:ln>
        </p:spPr>
        <p:txBody>
          <a:bodyPr wrap="square" lIns="216000" tIns="0" rIns="0" bIns="0" anchor="t" anchorCtr="0"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9pPr>
          </a:lstStyle>
          <a:p>
            <a:r>
              <a:rPr lang="en-US"/>
              <a:t>00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4727849" y="1988840"/>
            <a:ext cx="5040000" cy="18002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36000" rIns="216000">
            <a:noAutofit/>
          </a:bodyPr>
          <a:lstStyle>
            <a:lvl1pPr rtl="0"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Divider slide | Insert your headline in maximal three lines her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46297C-A90E-4725-9584-F26D2B59D3D8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4727848" y="3717033"/>
            <a:ext cx="5040000" cy="936104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281" name="Source">
            <a:extLst>
              <a:ext uri="{FF2B5EF4-FFF2-40B4-BE49-F238E27FC236}">
                <a16:creationId xmlns:a16="http://schemas.microsoft.com/office/drawing/2014/main" id="{74C57727-E1DA-4BD0-945F-B1C68DF669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87488" y="6525000"/>
            <a:ext cx="9144512" cy="144000"/>
          </a:xfrm>
        </p:spPr>
        <p:txBody>
          <a:bodyPr anchor="b"/>
          <a:lstStyle>
            <a:lvl1pPr marL="0" indent="0" algn="l" rtl="0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2pPr>
            <a:lvl3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3pPr>
            <a:lvl4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6pPr>
            <a:lvl7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7pPr>
            <a:lvl8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8pPr>
            <a:lvl9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/>
              <a:t>Source, Footnote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F7303E1-146B-0384-2FA3-7C5951CD5B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0841B6C8-4081-4FF2-A55E-90BDCE0C153A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407EE75-92A3-F67F-F222-CE3DBB104B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EAF306-FDA4-0211-6F94-84B5B67EF9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6889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 | Magant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26B51D0-2A3A-179E-0547-39F3F04D5D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5829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6B51D0-2A3A-179E-0547-39F3F04D5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1D342334-F736-22B7-E48C-924F6D546B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43C79060-D921-FC36-FC59-005C2AE8D814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2F007DEF-E3D0-8645-9105-19FF8047F091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C5C6C648-EAA0-252F-A344-E5CBA2EF05B0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A791BB7C-535C-21BC-A1EA-6D718CC11CF9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D19F7A3F-2ED1-A9C2-8EB4-9EBC8913F4BC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B7AF0310-5BD9-7763-76B7-AEB202E4704C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E4DA6996-B0CA-004A-3B4E-7D26EF15047A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A86032B7-DCFA-D33B-D179-5A478717EF21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A0823B1F-2563-DB47-2039-6524B94FF136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8BF9B7C1-A69C-9B1F-7320-E59EBD72DAB1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201087D6-4BF2-9B60-337B-60B350F37E1C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8F2A3B6-0CF8-7279-275A-AD4BAF54CEAD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58AF4ECF-291B-680E-EF00-7864ECE0CCCA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92365156-1DE3-C8A4-1497-3F78E5CC75B7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0" name="Rechteck 79">
              <a:extLst>
                <a:ext uri="{FF2B5EF4-FFF2-40B4-BE49-F238E27FC236}">
                  <a16:creationId xmlns:a16="http://schemas.microsoft.com/office/drawing/2014/main" id="{5E7E5902-87DA-79A1-69A2-884A67FBF184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30821C97-F5C9-6255-5B09-4E89645C0C3B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17305D37-4205-988D-F4C3-964B91B4182E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EB8822E7-AB1E-8A4B-56CB-042F005B931C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36741CF7-B994-BFCB-DCD6-F2BF8598EAD2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61748F4B-3461-122E-48C2-D8E7B8B82C06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678C1F2F-167E-3637-E435-5C664B5A1454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7" name="Rechteck 86">
              <a:extLst>
                <a:ext uri="{FF2B5EF4-FFF2-40B4-BE49-F238E27FC236}">
                  <a16:creationId xmlns:a16="http://schemas.microsoft.com/office/drawing/2014/main" id="{7B13A9F9-DD23-A321-95EE-B2DA8A8220CA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8" name="Rechteck 87">
              <a:extLst>
                <a:ext uri="{FF2B5EF4-FFF2-40B4-BE49-F238E27FC236}">
                  <a16:creationId xmlns:a16="http://schemas.microsoft.com/office/drawing/2014/main" id="{FD8425B4-1418-EFBC-0DA4-DE05B76EC9CF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9" name="Rechteck 88">
              <a:extLst>
                <a:ext uri="{FF2B5EF4-FFF2-40B4-BE49-F238E27FC236}">
                  <a16:creationId xmlns:a16="http://schemas.microsoft.com/office/drawing/2014/main" id="{9940FFA8-5FB2-0C03-96C1-794E3BF6CB61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5" name="Rechteck 94">
              <a:extLst>
                <a:ext uri="{FF2B5EF4-FFF2-40B4-BE49-F238E27FC236}">
                  <a16:creationId xmlns:a16="http://schemas.microsoft.com/office/drawing/2014/main" id="{9B3DC47F-EEDA-C44D-9A82-AF9B44E6DD0F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ABD9BF5F-4EFD-042E-D66A-3EA947FA4E9F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68A6A23-7056-1A39-8CD5-4BB31F4D81E7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30F0FB85-9A1F-0CD4-39A7-BD87681DC803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F4DBB41B-F061-9E47-B4C2-A9B6AC43E0E4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545965-B087-EBA3-D206-DB871AF59282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8" name="Rechteck 117">
              <a:extLst>
                <a:ext uri="{FF2B5EF4-FFF2-40B4-BE49-F238E27FC236}">
                  <a16:creationId xmlns:a16="http://schemas.microsoft.com/office/drawing/2014/main" id="{42667A56-0FD9-1B30-C4DA-16D72E65CABF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9" name="Rechteck 118">
              <a:extLst>
                <a:ext uri="{FF2B5EF4-FFF2-40B4-BE49-F238E27FC236}">
                  <a16:creationId xmlns:a16="http://schemas.microsoft.com/office/drawing/2014/main" id="{423035A7-EC5A-1A2E-DB86-17A1B99F85A6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0" name="Rechteck 119">
              <a:extLst>
                <a:ext uri="{FF2B5EF4-FFF2-40B4-BE49-F238E27FC236}">
                  <a16:creationId xmlns:a16="http://schemas.microsoft.com/office/drawing/2014/main" id="{80750342-596B-E435-518C-F2D7D64AA5B4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1" name="Rechteck 120">
              <a:extLst>
                <a:ext uri="{FF2B5EF4-FFF2-40B4-BE49-F238E27FC236}">
                  <a16:creationId xmlns:a16="http://schemas.microsoft.com/office/drawing/2014/main" id="{BE83A8F1-EC0B-AC76-B6C1-E2DD1D2A7294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2" name="Rechteck 121">
              <a:extLst>
                <a:ext uri="{FF2B5EF4-FFF2-40B4-BE49-F238E27FC236}">
                  <a16:creationId xmlns:a16="http://schemas.microsoft.com/office/drawing/2014/main" id="{F14282F9-196F-89EC-8387-BA15F1E8C1C9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3" name="Rechteck 122">
              <a:extLst>
                <a:ext uri="{FF2B5EF4-FFF2-40B4-BE49-F238E27FC236}">
                  <a16:creationId xmlns:a16="http://schemas.microsoft.com/office/drawing/2014/main" id="{825DDEC1-5430-DB87-C496-4D5D3430EFC6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1" name="Rechteck 140">
              <a:extLst>
                <a:ext uri="{FF2B5EF4-FFF2-40B4-BE49-F238E27FC236}">
                  <a16:creationId xmlns:a16="http://schemas.microsoft.com/office/drawing/2014/main" id="{0266DCD7-E281-1277-EA4C-1339AD4AF615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AAA92518-A0E9-FDB9-A5DA-6FE6AE073F3B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3" name="Rechteck 142">
              <a:extLst>
                <a:ext uri="{FF2B5EF4-FFF2-40B4-BE49-F238E27FC236}">
                  <a16:creationId xmlns:a16="http://schemas.microsoft.com/office/drawing/2014/main" id="{089FD3F1-B2FB-9692-B364-786485C3CD31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4" name="Rechteck 143">
              <a:extLst>
                <a:ext uri="{FF2B5EF4-FFF2-40B4-BE49-F238E27FC236}">
                  <a16:creationId xmlns:a16="http://schemas.microsoft.com/office/drawing/2014/main" id="{D2EBCE75-1ED4-2055-EEC3-B164B24CD011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5" name="Rechteck 144">
              <a:extLst>
                <a:ext uri="{FF2B5EF4-FFF2-40B4-BE49-F238E27FC236}">
                  <a16:creationId xmlns:a16="http://schemas.microsoft.com/office/drawing/2014/main" id="{DD08EF2E-6D27-77F4-81DB-72A5264EC7BA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6" name="Rechteck 145">
              <a:extLst>
                <a:ext uri="{FF2B5EF4-FFF2-40B4-BE49-F238E27FC236}">
                  <a16:creationId xmlns:a16="http://schemas.microsoft.com/office/drawing/2014/main" id="{CB5FF4D6-C5E3-2D76-6C04-F0C00236CDED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4" name="Rechteck 163">
              <a:extLst>
                <a:ext uri="{FF2B5EF4-FFF2-40B4-BE49-F238E27FC236}">
                  <a16:creationId xmlns:a16="http://schemas.microsoft.com/office/drawing/2014/main" id="{559EFB4D-1BFE-D562-83B4-340CECC27885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5" name="Rechteck 164">
              <a:extLst>
                <a:ext uri="{FF2B5EF4-FFF2-40B4-BE49-F238E27FC236}">
                  <a16:creationId xmlns:a16="http://schemas.microsoft.com/office/drawing/2014/main" id="{84EED6EA-FD49-2F16-049C-89B387382766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6" name="Rechteck 165">
              <a:extLst>
                <a:ext uri="{FF2B5EF4-FFF2-40B4-BE49-F238E27FC236}">
                  <a16:creationId xmlns:a16="http://schemas.microsoft.com/office/drawing/2014/main" id="{31E46700-4643-6A98-B86D-1FE9A7FF2E0E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7" name="Rechteck 166">
              <a:extLst>
                <a:ext uri="{FF2B5EF4-FFF2-40B4-BE49-F238E27FC236}">
                  <a16:creationId xmlns:a16="http://schemas.microsoft.com/office/drawing/2014/main" id="{FE02C1DA-F522-F362-2A1D-6E52EFE78CEA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8" name="Rechteck 167">
              <a:extLst>
                <a:ext uri="{FF2B5EF4-FFF2-40B4-BE49-F238E27FC236}">
                  <a16:creationId xmlns:a16="http://schemas.microsoft.com/office/drawing/2014/main" id="{012DCEAA-E7E7-F4FF-C974-3767E2A00443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9" name="Rechteck 168">
              <a:extLst>
                <a:ext uri="{FF2B5EF4-FFF2-40B4-BE49-F238E27FC236}">
                  <a16:creationId xmlns:a16="http://schemas.microsoft.com/office/drawing/2014/main" id="{CE38D69F-EDDB-6341-2F38-64B02BDB3D3B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7" name="Rechteck 186">
              <a:extLst>
                <a:ext uri="{FF2B5EF4-FFF2-40B4-BE49-F238E27FC236}">
                  <a16:creationId xmlns:a16="http://schemas.microsoft.com/office/drawing/2014/main" id="{1708436F-4BEB-6A8E-D710-0D7C1C27AA49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8" name="Rechteck 187">
              <a:extLst>
                <a:ext uri="{FF2B5EF4-FFF2-40B4-BE49-F238E27FC236}">
                  <a16:creationId xmlns:a16="http://schemas.microsoft.com/office/drawing/2014/main" id="{570FB296-FCB6-6EBE-68B8-E98DD1C06A3E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9" name="Rechteck 188">
              <a:extLst>
                <a:ext uri="{FF2B5EF4-FFF2-40B4-BE49-F238E27FC236}">
                  <a16:creationId xmlns:a16="http://schemas.microsoft.com/office/drawing/2014/main" id="{C1BE9A72-96BB-A4C0-FA6C-D8D85E5F09E6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0" name="Rechteck 189">
              <a:extLst>
                <a:ext uri="{FF2B5EF4-FFF2-40B4-BE49-F238E27FC236}">
                  <a16:creationId xmlns:a16="http://schemas.microsoft.com/office/drawing/2014/main" id="{F894CE26-81D7-5526-8C23-E6186AC0AA6B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9ED37474-448A-0010-4858-C21FDE0CE1C2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23349D52-0E48-BD27-29D3-AA8C888F1911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59559C85-2DE9-FA8D-4487-EFE3C463FB66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1AA3A59D-321B-C274-C2CE-A7B5755BAD6E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20B9E210-822F-C3AF-96BF-ECBB46370B0D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0BB3190C-3DBC-989E-B84E-01567268522C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F9B5D99C-568A-822F-42D2-0AF0A0054C9D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D2808FB3-65D2-A288-62D9-EA98FB64A0D0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361B9BA4-256C-101C-B79F-C2BEBC7EFA48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CFA11A9D-1913-E554-4719-D22109E0B249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3" name="Rechteck 282">
              <a:extLst>
                <a:ext uri="{FF2B5EF4-FFF2-40B4-BE49-F238E27FC236}">
                  <a16:creationId xmlns:a16="http://schemas.microsoft.com/office/drawing/2014/main" id="{B536C046-AA86-12FE-11DD-E714C5949568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2B55976F-1FD1-0D5D-AD26-1B48911AE99D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73D42353-98B8-AC06-809E-98983691F665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88BF9793-FB71-09C5-B649-4CF77F978BAC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BAE4B7A0-9CCC-143E-4AC5-CCCDF8EAF08E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7B8F3AAC-9297-A9DF-B1C4-6C7D726019F1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0CA2E9A9-142D-DA0C-7ED6-DD8CFD9CF9D0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AABB9AAD-B48C-E551-9A3D-615794958629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5C921E0D-BE12-AFC5-B531-6AAA5C4A3EDD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13227629-E49A-313B-F4F7-55A1055E75EC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C7B27336-FA94-8E26-C7A9-22331EA5235D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5E6D575D-4C1E-ABBD-0AA6-9B0819515D57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114DA0A6-6EAA-1C72-9588-59650DEC1A6B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4003197B-7CCD-B214-DEBC-76E430C5D360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C333D8EE-E162-3C0E-CDCE-7B8BBBD13A19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277F46AF-922B-CEEA-D35C-E9E45DAEC953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DF007B27-B6F7-4426-2717-9C8F03BD31D9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DC7D7E68-E8ED-7A4A-0A66-E4C3273A87B8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E5401704-A1E0-B0F8-4B6A-616CD4B6360F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0A36E7A4-AF0F-5851-BF7B-F8617322CF13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33D46C8F-6918-730B-08E8-BFE12AD08EDF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3A450ED7-5A32-97C0-9846-7B78AED3C402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8DAFF91F-710C-FC77-9AB2-3FDA34E69B21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E78FB73A-4680-DA8D-B81D-3489C37B1238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9C34D4B1-6FA8-3510-53F5-2BEF12B5D700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E84D4837-9D83-D9F9-559F-2DABC45864B2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794AFCE8-10E1-3CA4-F8D6-FFBC02123C43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C70C1943-E0E6-B950-7DC4-3E797BC7C381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B8D9E0A4-0F19-8BEA-D625-193FBF6AD960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04E3B58A-6D3A-D68F-A485-E89CC97D207C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8D3F7299-30B5-0810-3B25-2A1CE8245C64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9BB52A26-4B5E-0221-3BF9-5ADBC54C7BC4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E8E709EC-5606-6BE7-C4CC-022ACB6BD324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74602A96-6FC2-A9F1-9390-CAD80C5CD83B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BCFD6519-7B66-7CFF-CB85-18E3A4F63C90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C431DED9-6D51-3524-63D2-CA07F225113A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9D0B0057-32FC-D6DE-17D3-AEFEA0074F1A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2C1AA290-9199-1A52-12B5-174F6D0FAF1F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4BA83343-EB8C-A134-2851-512D94A7D797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F730E6F8-881E-2ED3-6C7C-E96C179633EC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AC2149BF-4718-125A-6924-5286FF2FFB1B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94B48DF0-29A1-D4A8-43ED-2A9743F4589F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8F3A814F-9FC6-E64E-A4CF-75B5D41ABE9C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DAF484BB-F931-1F3F-E77F-ED27232CC62D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61D59D1B-1B99-7294-6F05-4ECE48268FEA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B28449A4-D0AA-0C5D-3A1C-1EDE4C040C69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9B492897-D6A2-CC13-8F81-9ED8743E50F6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7FEA081A-0BF4-878D-369E-57AEC81C48EF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9F7CF485-D0D9-AA7C-E199-E1D2C16A57A4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C28B7252-B6C3-22C0-241C-C654404B8A72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6D0B8772-D9C9-5DF7-F277-C118B4EBD4CA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40C8959F-AF9D-D6D2-BE10-75A0DFFBF148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F91CED41-E334-9D18-C6C7-3544422DC222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48A804AA-162D-231D-F1A7-1658D651677A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FA133D41-5489-81DF-02C3-463D76AFD6D4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4E309EA2-20D1-5AFF-4AE2-797072892E6A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B59BD6CE-87EE-F68F-9347-A45A543A57E7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A5194CED-3AFB-66D0-2323-86926FAB873F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7142EC13-E2C9-C832-77DF-0BC3995F6955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41FF16DD-45A7-BAA2-9856-4B0330886804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D0C99DE7-93F1-7785-8C3E-0D077A82A22C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460E0C86-14C5-AA0C-A1D6-9DC2F4CC15F9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3D68DC9D-13A0-6B31-0873-361F5ACD16F5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E0A88ED3-3B0E-DC21-1647-952AC1228B1E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ACB4D24B-8B0B-8C4E-1BA4-6FF42D36F680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27C2B19A-8506-15D9-9BBA-26A2F04AC7E1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213CEAD1-A2F7-248D-B065-827927D5967B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4D440765-8416-3FE5-4CBF-EFE2679EC70B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D4285498-C3C5-BF11-FE14-95B6E506A173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E943FF97-E6E3-2044-05B7-D75522BB6A73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DA809EDB-5F55-C581-8B69-68A61C679055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00E24337-9495-4B90-5D5F-A124A0371264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3D2C37C1-2D84-E947-2BAD-2089F06AF55C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93A67DDE-D97D-E7DA-8885-6385C47BFAC2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F57DE1DF-66CA-9B5B-12CE-6E4A81188C68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1AA4ED0E-38E5-25CD-B63C-CADD57FA2228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02C80602-F60F-AA39-1BF4-AC21C90E3158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142A7E55-7C56-7DFF-7A15-4452C2700A58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0EBEFDD9-57CE-CBBC-244E-90FAE37142F8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A8B0AFF4-6BC2-346F-B08B-C35205BE6317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EF14783D-4DB1-A8D6-882A-2F6B40C12DF2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4DB52321-9804-EA61-5F84-C1A91B157B67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842BCAD7-1B1B-3167-D38B-90AF68DF3284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5C202404-53A5-9BA3-F365-24DC399FCD7C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BC219BE6-BD2F-D9EA-576D-5DCA1A4A8AFA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210E0B10-68C0-CADA-346B-C59CB06E3AF5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8BB92AFC-CE5E-A7E2-9B7D-2DE222226728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FFABF5F5-DEEA-5641-F68A-83739BF0AB40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62E9C9E1-41BD-2F1A-598E-68942BF2C45C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E09D411B-9086-DD67-BFCF-0D7C22F1B7EE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492A0EF9-C216-003A-DCE8-60CC2AAF69B4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BC15DB4A-3CD1-2BE6-F6F3-BCBCE8A7F763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C81D8B12-97EF-A626-51EB-07676C7F9BD4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846BBB2C-90E6-5DEE-9A15-431284CECDBE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A83514F6-F7DF-E83C-C1A3-F2F7DF4F09B7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6E58DC7D-CBA7-A8C7-B9F2-F2D43E4549B6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E8630789-4A1A-ED5B-25CB-A1CE172E80B6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9E034873-AB2C-F727-3323-E11ABA7445A3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452C72BB-6FAD-33C3-2A61-3A62176D3FF1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25C7216B-957E-5A8F-1CE3-DA25910DFD93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F83ADF01-9AB8-4F32-0071-024DE7425B64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BB6B0701-639C-B2D6-2A02-9EE8A71DB344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A88009CB-C3C6-D650-C5F8-09D7412F7AB0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F6722E80-068A-9782-5591-3C236C0C6360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DF3FC8E5-7475-9BA8-1BD1-68E721227105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99DBCD01-0404-6271-A468-1519165EA76B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38BC4591-B643-1DBB-4E79-BA70BC2ABD68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0" name="Rechteck 389">
              <a:extLst>
                <a:ext uri="{FF2B5EF4-FFF2-40B4-BE49-F238E27FC236}">
                  <a16:creationId xmlns:a16="http://schemas.microsoft.com/office/drawing/2014/main" id="{C2FED524-D748-F406-E2D7-537DD4E83076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1" name="Rechteck 390">
              <a:extLst>
                <a:ext uri="{FF2B5EF4-FFF2-40B4-BE49-F238E27FC236}">
                  <a16:creationId xmlns:a16="http://schemas.microsoft.com/office/drawing/2014/main" id="{28205692-7911-C25A-9DF9-AC2EA0DF10A7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2" name="Rechteck 391">
              <a:extLst>
                <a:ext uri="{FF2B5EF4-FFF2-40B4-BE49-F238E27FC236}">
                  <a16:creationId xmlns:a16="http://schemas.microsoft.com/office/drawing/2014/main" id="{BA845082-75D6-4E71-0B8B-927888DFF871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3" name="Rechteck 392">
              <a:extLst>
                <a:ext uri="{FF2B5EF4-FFF2-40B4-BE49-F238E27FC236}">
                  <a16:creationId xmlns:a16="http://schemas.microsoft.com/office/drawing/2014/main" id="{1BA245DF-6D89-11A1-4228-C07EB4D5D412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4" name="Rechteck 393">
              <a:extLst>
                <a:ext uri="{FF2B5EF4-FFF2-40B4-BE49-F238E27FC236}">
                  <a16:creationId xmlns:a16="http://schemas.microsoft.com/office/drawing/2014/main" id="{EA52EDEF-A709-A019-D59C-235C21672609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5" name="Rechteck 394">
              <a:extLst>
                <a:ext uri="{FF2B5EF4-FFF2-40B4-BE49-F238E27FC236}">
                  <a16:creationId xmlns:a16="http://schemas.microsoft.com/office/drawing/2014/main" id="{B0E66173-2EA2-9686-130E-F523C543DDD7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6" name="Rechteck 395">
              <a:extLst>
                <a:ext uri="{FF2B5EF4-FFF2-40B4-BE49-F238E27FC236}">
                  <a16:creationId xmlns:a16="http://schemas.microsoft.com/office/drawing/2014/main" id="{66B2D418-4A79-1E85-D2EF-E39CB2002723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7" name="Rechteck 396">
              <a:extLst>
                <a:ext uri="{FF2B5EF4-FFF2-40B4-BE49-F238E27FC236}">
                  <a16:creationId xmlns:a16="http://schemas.microsoft.com/office/drawing/2014/main" id="{8B4B111E-D316-7D6B-D05E-DDE62D25F0C7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F53760BE-4A3E-2BE2-DC55-CBA236A2100D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A82C2ADF-49AB-8F98-7F76-8A0756E827D7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A90E9606-C312-6A21-57F9-04DB5085E31D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AD60058D-CBC9-5B18-7B72-88AA71AE4DAD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E85DA91C-D4AF-B789-E91E-8C261EC31555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3" name="Rechteck 402">
              <a:extLst>
                <a:ext uri="{FF2B5EF4-FFF2-40B4-BE49-F238E27FC236}">
                  <a16:creationId xmlns:a16="http://schemas.microsoft.com/office/drawing/2014/main" id="{FA4577CD-8CEE-A51C-4EBA-5BA974B78F31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31604413-19C6-80E9-1A67-220B4322FF51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5" name="Rechteck 404">
              <a:extLst>
                <a:ext uri="{FF2B5EF4-FFF2-40B4-BE49-F238E27FC236}">
                  <a16:creationId xmlns:a16="http://schemas.microsoft.com/office/drawing/2014/main" id="{8129EA09-B255-1B25-263A-B9649B626FE9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6" name="Rechteck 405">
              <a:extLst>
                <a:ext uri="{FF2B5EF4-FFF2-40B4-BE49-F238E27FC236}">
                  <a16:creationId xmlns:a16="http://schemas.microsoft.com/office/drawing/2014/main" id="{E80E9448-9D59-C483-09E9-CB33B99FCB82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76048D34-FD7A-89A7-F2AA-F374FE7EB1EB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25397912-19F2-0D23-1F0E-1B6D71B07AA7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05BB03EE-5965-F5DE-261C-3C2962A107D4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sp>
        <p:nvSpPr>
          <p:cNvPr id="410" name="Freihandform: Form 409">
            <a:extLst>
              <a:ext uri="{FF2B5EF4-FFF2-40B4-BE49-F238E27FC236}">
                <a16:creationId xmlns:a16="http://schemas.microsoft.com/office/drawing/2014/main" id="{39967FCA-6C82-F61D-2250-4D3E161C8D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1424" y="2060848"/>
            <a:ext cx="2892425" cy="2879303"/>
          </a:xfrm>
          <a:custGeom>
            <a:avLst/>
            <a:gdLst>
              <a:gd name="connsiteX0" fmla="*/ 0 w 2892425"/>
              <a:gd name="connsiteY0" fmla="*/ 0 h 2879303"/>
              <a:gd name="connsiteX1" fmla="*/ 2892425 w 2892425"/>
              <a:gd name="connsiteY1" fmla="*/ 0 h 2879303"/>
              <a:gd name="connsiteX2" fmla="*/ 2307742 w 2892425"/>
              <a:gd name="connsiteY2" fmla="*/ 2298575 h 2879303"/>
              <a:gd name="connsiteX3" fmla="*/ 0 w 2892425"/>
              <a:gd name="connsiteY3" fmla="*/ 2879303 h 2879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92425" h="2879303">
                <a:moveTo>
                  <a:pt x="0" y="0"/>
                </a:moveTo>
                <a:lnTo>
                  <a:pt x="2892425" y="0"/>
                </a:lnTo>
                <a:lnTo>
                  <a:pt x="2307742" y="2298575"/>
                </a:lnTo>
                <a:lnTo>
                  <a:pt x="0" y="2879303"/>
                </a:lnTo>
                <a:close/>
              </a:path>
            </a:pathLst>
          </a:custGeom>
          <a:solidFill>
            <a:schemeClr val="bg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 rtl="0"/>
            <a:endParaRPr lang="en-US" sz="1600" dirty="0"/>
          </a:p>
        </p:txBody>
      </p:sp>
      <p:sp>
        <p:nvSpPr>
          <p:cNvPr id="272" name="Number">
            <a:extLst>
              <a:ext uri="{FF2B5EF4-FFF2-40B4-BE49-F238E27FC236}">
                <a16:creationId xmlns:a16="http://schemas.microsoft.com/office/drawing/2014/main" id="{D5CB6551-380D-4369-9F74-701786508BD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11424" y="2060849"/>
            <a:ext cx="2880320" cy="2880320"/>
          </a:xfrm>
          <a:custGeom>
            <a:avLst/>
            <a:gdLst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517775 w 3022600"/>
              <a:gd name="connsiteY2" fmla="*/ 2520950 h 3024187"/>
              <a:gd name="connsiteX3" fmla="*/ 0 w 3022600"/>
              <a:gd name="connsiteY3" fmla="*/ 3024187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315365 w 3022600"/>
              <a:gd name="connsiteY2" fmla="*/ 2398440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417820 w 3022600"/>
              <a:gd name="connsiteY2" fmla="*/ 2420942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2600" h="3024187">
                <a:moveTo>
                  <a:pt x="0" y="0"/>
                </a:moveTo>
                <a:lnTo>
                  <a:pt x="3022600" y="0"/>
                </a:lnTo>
                <a:lnTo>
                  <a:pt x="2417820" y="2420942"/>
                </a:lnTo>
                <a:lnTo>
                  <a:pt x="0" y="3024187"/>
                </a:lnTo>
                <a:lnTo>
                  <a:pt x="0" y="0"/>
                </a:lnTo>
                <a:close/>
              </a:path>
            </a:pathLst>
          </a:custGeom>
          <a:solidFill>
            <a:srgbClr val="D2335F"/>
          </a:solidFill>
          <a:ln w="127">
            <a:solidFill>
              <a:srgbClr val="D2335F">
                <a:alpha val="0"/>
              </a:srgbClr>
            </a:solidFill>
          </a:ln>
        </p:spPr>
        <p:txBody>
          <a:bodyPr wrap="square" lIns="216000" tIns="0" rIns="0" bIns="0" anchor="t" anchorCtr="0"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9pPr>
          </a:lstStyle>
          <a:p>
            <a:r>
              <a:rPr lang="en-US"/>
              <a:t>00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4727849" y="1989184"/>
            <a:ext cx="5040000" cy="1799856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36000" rIns="216000">
            <a:noAutofit/>
          </a:bodyPr>
          <a:lstStyle>
            <a:lvl1pPr rtl="0"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Divider slide | Insert your headline in maximal three lines her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46297C-A90E-4725-9584-F26D2B59D3D8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4727848" y="3717033"/>
            <a:ext cx="5040000" cy="936104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271" name="Source">
            <a:extLst>
              <a:ext uri="{FF2B5EF4-FFF2-40B4-BE49-F238E27FC236}">
                <a16:creationId xmlns:a16="http://schemas.microsoft.com/office/drawing/2014/main" id="{52A2314A-6E57-4640-8D3E-9FB2DE55FD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87488" y="6525000"/>
            <a:ext cx="9144512" cy="144000"/>
          </a:xfrm>
        </p:spPr>
        <p:txBody>
          <a:bodyPr anchor="b"/>
          <a:lstStyle>
            <a:lvl1pPr marL="0" indent="0" algn="l" rtl="0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2pPr>
            <a:lvl3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3pPr>
            <a:lvl4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6pPr>
            <a:lvl7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7pPr>
            <a:lvl8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8pPr>
            <a:lvl9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/>
              <a:t>Source, Footnote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0C5952B-D33D-99BB-9484-336BE50E50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A455F2C0-C104-40CD-9A66-D4E6188A43D0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4B65E20-68D6-4970-D9A8-046F10EEB4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F921B4-2C35-2739-550B-662CA2AA73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23086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 |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B0F97DA-DDBC-02A0-739F-D3B44478CF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1542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0F97DA-DDBC-02A0-739F-D3B44478CF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5B6092E3-BB3D-62C3-E5C3-DB923BCEAA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ADFE758D-7730-9845-AD21-674416B875F6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F21DA2E8-B94F-C509-D272-2D2BAD272FE0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C731765D-8BB8-7B3C-E854-B509A1A45DD1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7FE81260-22F7-BE75-0143-F1B11391169E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C85F4AC2-57C9-0C72-5A39-AC5AFE3C13D1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061ED26D-D119-878B-99F1-21A9EC186758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62B17131-2BEB-E555-8E30-FF66FF891D3C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424AA650-FE3F-88F5-2EA9-781D2F950998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31A3CD9E-CBAD-E02D-3A43-556D392DBD15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A05642BF-5509-CE90-1438-56F76E7A308A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C5F136B4-5FED-005D-83A7-0A4C0E7AAB13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3FDF53B-8449-157B-8A8A-613B74C4CF59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AE960CD8-32CE-9B11-F770-2CF645C4DA92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064C600F-3BE3-52EB-1ECF-0C657B555177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0" name="Rechteck 79">
              <a:extLst>
                <a:ext uri="{FF2B5EF4-FFF2-40B4-BE49-F238E27FC236}">
                  <a16:creationId xmlns:a16="http://schemas.microsoft.com/office/drawing/2014/main" id="{DECE1A43-83E1-7464-C128-BC14E6BFD0BE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B096E7E5-7CE0-385E-1E97-472F5E5B2299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EA26D28-2204-842E-9100-7FE038522711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74022AC1-CC08-F121-D65A-9B0BD3F22CF4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F4156B04-8906-6DA2-C632-AAD9022FF15B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AAC9C4C7-1AEB-4221-457C-251574219B0F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9CEAF80F-0A04-6B70-8A66-39A3F49882FF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7" name="Rechteck 86">
              <a:extLst>
                <a:ext uri="{FF2B5EF4-FFF2-40B4-BE49-F238E27FC236}">
                  <a16:creationId xmlns:a16="http://schemas.microsoft.com/office/drawing/2014/main" id="{FEEE46D2-A242-AAF9-1DA8-EBF096021C4C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8" name="Rechteck 87">
              <a:extLst>
                <a:ext uri="{FF2B5EF4-FFF2-40B4-BE49-F238E27FC236}">
                  <a16:creationId xmlns:a16="http://schemas.microsoft.com/office/drawing/2014/main" id="{6D2AABF8-BA73-D70F-59CA-DAAA5788A8C9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9" name="Rechteck 88">
              <a:extLst>
                <a:ext uri="{FF2B5EF4-FFF2-40B4-BE49-F238E27FC236}">
                  <a16:creationId xmlns:a16="http://schemas.microsoft.com/office/drawing/2014/main" id="{EFAB6654-C4A8-D88B-7448-05F61D8C3C76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5" name="Rechteck 94">
              <a:extLst>
                <a:ext uri="{FF2B5EF4-FFF2-40B4-BE49-F238E27FC236}">
                  <a16:creationId xmlns:a16="http://schemas.microsoft.com/office/drawing/2014/main" id="{D94C6721-18A7-5921-1EA7-AEE19F87A965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425D2D93-466A-BF12-22F5-EF3E43428E33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EF1B5BD7-51C5-7806-FD98-FF29E6882F4E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3801F6C5-46FB-B12D-ABBC-C68388CB039D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6F92E027-11E4-D145-D28C-0375EBAB6505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AB2E04B7-C2E1-524D-4D31-9D4320222512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8" name="Rechteck 117">
              <a:extLst>
                <a:ext uri="{FF2B5EF4-FFF2-40B4-BE49-F238E27FC236}">
                  <a16:creationId xmlns:a16="http://schemas.microsoft.com/office/drawing/2014/main" id="{E4E9B356-6B80-27C7-B162-7D51674BA664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9" name="Rechteck 118">
              <a:extLst>
                <a:ext uri="{FF2B5EF4-FFF2-40B4-BE49-F238E27FC236}">
                  <a16:creationId xmlns:a16="http://schemas.microsoft.com/office/drawing/2014/main" id="{5F47675C-6C1B-7D52-D5A5-463D5E0E6700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0" name="Rechteck 119">
              <a:extLst>
                <a:ext uri="{FF2B5EF4-FFF2-40B4-BE49-F238E27FC236}">
                  <a16:creationId xmlns:a16="http://schemas.microsoft.com/office/drawing/2014/main" id="{B375CF5D-BD81-FA5F-00B9-351218A71B69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1" name="Rechteck 120">
              <a:extLst>
                <a:ext uri="{FF2B5EF4-FFF2-40B4-BE49-F238E27FC236}">
                  <a16:creationId xmlns:a16="http://schemas.microsoft.com/office/drawing/2014/main" id="{7C10C87E-738C-9212-8D9F-A7001541DD7A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2" name="Rechteck 121">
              <a:extLst>
                <a:ext uri="{FF2B5EF4-FFF2-40B4-BE49-F238E27FC236}">
                  <a16:creationId xmlns:a16="http://schemas.microsoft.com/office/drawing/2014/main" id="{AEC70AB7-CDF4-7339-AE9D-C4F5A3424909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3" name="Rechteck 122">
              <a:extLst>
                <a:ext uri="{FF2B5EF4-FFF2-40B4-BE49-F238E27FC236}">
                  <a16:creationId xmlns:a16="http://schemas.microsoft.com/office/drawing/2014/main" id="{92D4B29D-69ED-8966-F876-FFF8E2EE0D2C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1" name="Rechteck 140">
              <a:extLst>
                <a:ext uri="{FF2B5EF4-FFF2-40B4-BE49-F238E27FC236}">
                  <a16:creationId xmlns:a16="http://schemas.microsoft.com/office/drawing/2014/main" id="{B9040217-B886-465A-4BA3-D3D32AC280BC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F8F62BC1-B322-9DDE-60DD-EAE00CADFAB4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3" name="Rechteck 142">
              <a:extLst>
                <a:ext uri="{FF2B5EF4-FFF2-40B4-BE49-F238E27FC236}">
                  <a16:creationId xmlns:a16="http://schemas.microsoft.com/office/drawing/2014/main" id="{D652073B-064F-8623-EDFF-F1DA067EC47A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4" name="Rechteck 143">
              <a:extLst>
                <a:ext uri="{FF2B5EF4-FFF2-40B4-BE49-F238E27FC236}">
                  <a16:creationId xmlns:a16="http://schemas.microsoft.com/office/drawing/2014/main" id="{0598082A-1DCE-7F5A-962F-81158E61E4FB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5" name="Rechteck 144">
              <a:extLst>
                <a:ext uri="{FF2B5EF4-FFF2-40B4-BE49-F238E27FC236}">
                  <a16:creationId xmlns:a16="http://schemas.microsoft.com/office/drawing/2014/main" id="{DD898DB8-B146-0B66-714B-A472FAC9EB76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6" name="Rechteck 145">
              <a:extLst>
                <a:ext uri="{FF2B5EF4-FFF2-40B4-BE49-F238E27FC236}">
                  <a16:creationId xmlns:a16="http://schemas.microsoft.com/office/drawing/2014/main" id="{4800D790-92FE-BFA5-AEAF-42E00B5E0280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4" name="Rechteck 163">
              <a:extLst>
                <a:ext uri="{FF2B5EF4-FFF2-40B4-BE49-F238E27FC236}">
                  <a16:creationId xmlns:a16="http://schemas.microsoft.com/office/drawing/2014/main" id="{54E9252E-1CD4-175B-3E5D-F3151DA39D69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5" name="Rechteck 164">
              <a:extLst>
                <a:ext uri="{FF2B5EF4-FFF2-40B4-BE49-F238E27FC236}">
                  <a16:creationId xmlns:a16="http://schemas.microsoft.com/office/drawing/2014/main" id="{D5C3856B-A287-5F25-AA54-FABDB0E54749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6" name="Rechteck 165">
              <a:extLst>
                <a:ext uri="{FF2B5EF4-FFF2-40B4-BE49-F238E27FC236}">
                  <a16:creationId xmlns:a16="http://schemas.microsoft.com/office/drawing/2014/main" id="{CE06743E-B055-2957-4BFB-67E709A766EC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7" name="Rechteck 166">
              <a:extLst>
                <a:ext uri="{FF2B5EF4-FFF2-40B4-BE49-F238E27FC236}">
                  <a16:creationId xmlns:a16="http://schemas.microsoft.com/office/drawing/2014/main" id="{A7A52160-3890-5A0A-A1F1-34C95BF1A174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8" name="Rechteck 167">
              <a:extLst>
                <a:ext uri="{FF2B5EF4-FFF2-40B4-BE49-F238E27FC236}">
                  <a16:creationId xmlns:a16="http://schemas.microsoft.com/office/drawing/2014/main" id="{5FA3B395-6413-DD2A-0374-5D69126B3499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9" name="Rechteck 168">
              <a:extLst>
                <a:ext uri="{FF2B5EF4-FFF2-40B4-BE49-F238E27FC236}">
                  <a16:creationId xmlns:a16="http://schemas.microsoft.com/office/drawing/2014/main" id="{1B504F0D-EE4B-F53B-826B-5B2CFCA551EB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7" name="Rechteck 186">
              <a:extLst>
                <a:ext uri="{FF2B5EF4-FFF2-40B4-BE49-F238E27FC236}">
                  <a16:creationId xmlns:a16="http://schemas.microsoft.com/office/drawing/2014/main" id="{549DE55F-AEE3-F66A-E0A0-32214BBD3C6A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8" name="Rechteck 187">
              <a:extLst>
                <a:ext uri="{FF2B5EF4-FFF2-40B4-BE49-F238E27FC236}">
                  <a16:creationId xmlns:a16="http://schemas.microsoft.com/office/drawing/2014/main" id="{8BB551D1-3F8C-81AA-2E3E-01399BD37B5C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9" name="Rechteck 188">
              <a:extLst>
                <a:ext uri="{FF2B5EF4-FFF2-40B4-BE49-F238E27FC236}">
                  <a16:creationId xmlns:a16="http://schemas.microsoft.com/office/drawing/2014/main" id="{3D4D1ED7-30A0-22D6-CE65-4EA680B0BED0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0" name="Rechteck 189">
              <a:extLst>
                <a:ext uri="{FF2B5EF4-FFF2-40B4-BE49-F238E27FC236}">
                  <a16:creationId xmlns:a16="http://schemas.microsoft.com/office/drawing/2014/main" id="{50B4A194-4625-DBB4-1AB2-7807250ECDB3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513CF13A-E352-6616-9660-DE783745C877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D1C84EC0-808A-0948-A0D9-518CE5D0B33E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E5BA60B3-89E5-2EDF-371C-3C93CF984BEA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D833789F-BB6F-A741-FA9D-5ECACED4EEF7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F2F9A28C-6166-2526-D7AF-D30BE35EC932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C6739921-84B8-5AFC-F3DF-1BA5573C8C62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8ADC0129-D80D-F1BC-60BC-33F252699437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DC68F6E7-E5E5-5B0F-FE73-BC3819E9E887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ECD52194-7001-8DE9-82C3-842047148941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2C9E4984-15DE-EA3C-AB2A-2DF597A5BEA2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3" name="Rechteck 282">
              <a:extLst>
                <a:ext uri="{FF2B5EF4-FFF2-40B4-BE49-F238E27FC236}">
                  <a16:creationId xmlns:a16="http://schemas.microsoft.com/office/drawing/2014/main" id="{F36D6CC5-BB66-1DEB-CE22-0BE00569506C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284AC05A-711F-16B5-566F-5E24DEC0964A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30114E5F-0A6B-A14F-956F-99493F201C7E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6BFD95E9-FBCD-8899-C6A7-AC8744E739CC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86961A03-074A-50F8-EF1E-66F8363A0058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EA4BE0F6-704E-E762-25BD-14872EF75738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1AA29E82-5D1A-C4A5-F461-0867845BDD4C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41D0A04D-EFCD-E2D0-29E3-A71A2ED42947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319DB583-227C-A41E-1CDB-20B879E92263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D5AAB9A7-2436-0F15-F8F3-24B53910819D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B87EFB61-C353-3437-E48A-20C784833AB7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C9CC7723-7C62-96E2-3785-1E5880F910AD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CD6BEA59-56B4-7C5C-1B30-3F2E70A2599D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B3BC321B-6D5E-317F-13B3-F86EFBE247CF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6A6462D6-2FBB-AFEC-A93D-934D0D458224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FDBAFC78-7084-9BDD-79CD-9DE51C8A013F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DEF4FDC3-8816-2E66-087D-BC8FDE1748CF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855CA52D-9C18-F90E-48DB-5EE039779486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7D711CC0-39E8-906D-D631-00CBF488F48B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9B2079A0-8C2B-86D7-E6A4-9DD4B3325F8D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2F9F5FB1-6203-E9C1-4428-D30E93954166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DDE6B4AF-6E51-6405-9469-7391188437F9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023ED7FC-40DE-A1A3-BA05-76D5BE62A82B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85120DF9-10A8-EF76-C8FC-12E5D08DA21D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1342D6A9-30BE-51BF-2BF1-12F297DB7191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BA6ECA71-4722-F9BB-89D7-9A5F3ABF6AAC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D0EDEF9B-0402-BFB2-D262-FCC46C876AD9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3B0FECCE-C269-C84B-98DA-2F06AFDD1F46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262A233C-4D5B-80F8-AF41-AEA3C637FF44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0E4BF6E8-B10F-E524-5197-6775B764E103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C69829A1-F555-4DFB-2468-1E007D6AD83B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0C2EA107-A603-7E2D-1663-463892E19684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A26461B3-3FAB-2C2C-CA40-6BE4EB61695E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CFFE3EAD-39D8-9329-400C-64D36D99787D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177AB9AE-EB81-12A2-0C78-FFCCFA8B49B9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86EC370F-0270-C6C2-23B2-B2C56CF4C12A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195DCBE4-A2AD-2E3A-2C91-0EB8CF2C2BBF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5D3C4C11-CA67-D0AF-999C-A66CFC9C08E3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72C6AC26-AE74-0825-6400-466D30E9039A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92E68E51-848F-A446-6552-EFA70697F99B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83C03A34-585B-473D-ED76-ED831A2558CC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CF136AB9-E460-40B1-01A1-7FB869022054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D4E9AB20-6FA5-E9D9-55DE-D01002D853E1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896B8BBB-C45B-504D-B5E5-6B6A3150BA85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8E2BCAF0-DFE2-F5D7-EB28-AD1D69EB4677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D827F783-1CF7-FC03-FCC9-7073017DF5A9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B567EE53-5AC0-5C60-BDE7-3F90EA98A038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17386832-62F4-0BF0-C824-6E74BC6A6F8A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214998EC-F3BF-C05F-1302-CA260DED8AB9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96787D3D-76B8-9930-7D91-306D72914FDE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7F7E690D-2BEA-138D-2F8B-4F55D5FD1FA6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2F7496A3-80FC-55E5-1EB0-20A05CB034AA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B983114D-18D1-36D1-E538-7AE4CC44EC8B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CB6A403A-A33A-FCE2-20C5-231929AABE6A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D67E989E-BF4F-05A3-77C6-FC4DEB430934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94AB2C24-E430-26AE-913B-A62E5A7C7DEE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148F02F8-DB5E-1585-04D8-13601656E88B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66E95D41-A775-3179-19D6-E9F9479D86ED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C7772BF1-E253-761C-5646-C0C760AA263A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ADDA250A-02E0-D5B6-0B22-DEBBBE57DB63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B9080BDE-151F-1560-6CA7-A8B85048FFF8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6DA148A4-1D81-DF61-3BCD-95E925B7D79B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BF82E0A3-E94C-80DC-A064-42A20B1230BC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03072B08-66C4-7798-F3CB-52B4040892E5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D1852D4A-6474-A174-D543-1C5EB5F2A2B5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2A4CC4D0-9DDE-9C76-4E27-CF418D43F7B8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7B0DE93B-48A5-3CB2-E181-4E90A2437534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ACD20F9D-AE88-9779-53D3-E15BF79F1091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AA0510A3-9141-39A6-7402-56EC7F084E01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D6530F85-DF64-4189-6E95-D949598CED98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87DA7BC9-7DEB-531A-8331-A7025602C5AA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3745243A-7A99-127E-1914-16289C00FA5D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2B22C0E4-972E-8315-885F-BE7717710439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6BEDC334-BB1E-7AFB-12E2-15234EE02DCB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A2BE4561-B652-A91A-A5DE-D9601A68B1DD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8E0CA352-6399-7EBA-A890-14BCBE066218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85555C70-E91C-1DF1-7703-7FCB5646E470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981CF177-B7C5-DB63-3918-46F9C6707AA5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D0000442-16A9-902D-07B0-78E784F6EBE9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F345E3C6-93C3-8E68-AABF-C397B8D55D06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D557E22D-9124-4A52-DAD5-79D2BC4F9F52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CE20D4C1-22EF-282A-2B51-6467664973A5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0D78E315-F654-6056-74A6-FF3172E66590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22648560-0BB3-2AB3-1974-602B72FE3D9A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88B8D9E1-3D27-76A6-367A-4831B30D8C47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9F358AD8-256C-A53F-701C-94426256DE6B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66E4AD82-5E7C-CBAD-D67B-8D5C13F3814C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0CFEC580-FCCD-9DDF-DD69-5F36C93A39FD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0C041A00-4437-5403-D635-F324AD243357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94F1C352-0A76-1878-D174-5E8272317581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9FF89084-FD98-ED39-7268-0CE7154303DB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72BFBB6F-8B11-B5C6-B5A5-DDB55F3B4032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36DBD36C-13FF-243F-7922-A9B48D0D37B5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35F517D4-F7FA-1CB0-9DF7-027A75D3A932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9798625A-E072-4C65-3DF5-7D0FB7626977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74683D24-3935-1DA5-12F3-9B4E0872F53C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34EDF014-0A6C-1D17-646B-C897C6AF29CF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B489A388-C7F0-A003-E30D-8B8023A5640E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39DD6218-DEF2-3073-CC9E-1FE91AEFCB2E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F18E9C62-713B-8FD4-1B95-CCE4333528DF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4338D0BF-E7C6-4D3C-4FD9-642CC26262CA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418F8E35-62BA-343D-1B12-7BA6C596AD2D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3240D4E4-9C54-1AE9-DDD4-997F11670F7B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00A7FDA1-267A-5DBE-57E9-B2D8DA22B262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6D4786B4-64CE-A45C-278D-66CFFFF59399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41E26555-2B13-F4B9-0F44-20240CB0FDC1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B10601F1-11E5-E77E-519A-9BEA61E2C72D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0" name="Rechteck 389">
              <a:extLst>
                <a:ext uri="{FF2B5EF4-FFF2-40B4-BE49-F238E27FC236}">
                  <a16:creationId xmlns:a16="http://schemas.microsoft.com/office/drawing/2014/main" id="{C4872143-88E8-F8CE-2B9D-58328C826640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1" name="Rechteck 390">
              <a:extLst>
                <a:ext uri="{FF2B5EF4-FFF2-40B4-BE49-F238E27FC236}">
                  <a16:creationId xmlns:a16="http://schemas.microsoft.com/office/drawing/2014/main" id="{5813D00C-85B1-BA03-9D2E-99DF2DEFF3F7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2" name="Rechteck 391">
              <a:extLst>
                <a:ext uri="{FF2B5EF4-FFF2-40B4-BE49-F238E27FC236}">
                  <a16:creationId xmlns:a16="http://schemas.microsoft.com/office/drawing/2014/main" id="{C45CFE6A-98ED-057C-53A7-8DAB0342EB9E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3" name="Rechteck 392">
              <a:extLst>
                <a:ext uri="{FF2B5EF4-FFF2-40B4-BE49-F238E27FC236}">
                  <a16:creationId xmlns:a16="http://schemas.microsoft.com/office/drawing/2014/main" id="{E0A86586-C8AA-B44E-372C-4A5CAFD3D547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4" name="Rechteck 393">
              <a:extLst>
                <a:ext uri="{FF2B5EF4-FFF2-40B4-BE49-F238E27FC236}">
                  <a16:creationId xmlns:a16="http://schemas.microsoft.com/office/drawing/2014/main" id="{10659ACA-8546-144F-2BF0-5EAD5B10890B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5" name="Rechteck 394">
              <a:extLst>
                <a:ext uri="{FF2B5EF4-FFF2-40B4-BE49-F238E27FC236}">
                  <a16:creationId xmlns:a16="http://schemas.microsoft.com/office/drawing/2014/main" id="{E2B7D295-06D1-6805-09B8-AFC7B74F23DE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6" name="Rechteck 395">
              <a:extLst>
                <a:ext uri="{FF2B5EF4-FFF2-40B4-BE49-F238E27FC236}">
                  <a16:creationId xmlns:a16="http://schemas.microsoft.com/office/drawing/2014/main" id="{4FEBD252-E5AA-5BB9-DC20-29543B993E8B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7" name="Rechteck 396">
              <a:extLst>
                <a:ext uri="{FF2B5EF4-FFF2-40B4-BE49-F238E27FC236}">
                  <a16:creationId xmlns:a16="http://schemas.microsoft.com/office/drawing/2014/main" id="{90E447B1-CC5F-F274-C758-F8F45B18B9CD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86B2105A-1249-37D5-05C1-F3E25143B864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9E6784DB-0CA5-AB3F-6FDA-6771D8930386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63A2E910-0B54-A6CB-F901-ED663CA5109A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67F30C89-F3FC-274B-4088-53568D89359A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BA60F1E6-A634-72C2-D2F1-7650E8075549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3" name="Rechteck 402">
              <a:extLst>
                <a:ext uri="{FF2B5EF4-FFF2-40B4-BE49-F238E27FC236}">
                  <a16:creationId xmlns:a16="http://schemas.microsoft.com/office/drawing/2014/main" id="{E0E03A59-B9DB-E923-918B-73A0DCC70B6C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207049EA-022E-E455-617C-3C3A3472C2E0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5" name="Rechteck 404">
              <a:extLst>
                <a:ext uri="{FF2B5EF4-FFF2-40B4-BE49-F238E27FC236}">
                  <a16:creationId xmlns:a16="http://schemas.microsoft.com/office/drawing/2014/main" id="{F0F73520-BC85-7706-A16B-E55FD0E4C56E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6" name="Rechteck 405">
              <a:extLst>
                <a:ext uri="{FF2B5EF4-FFF2-40B4-BE49-F238E27FC236}">
                  <a16:creationId xmlns:a16="http://schemas.microsoft.com/office/drawing/2014/main" id="{9943852D-1081-63A8-FBBA-DD0D77BECC40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0047F6DD-3966-B875-956D-CCF3ADB8DEBB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7315CC30-438D-87EF-886A-D954D8AE5572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5B4FF126-6B87-1B6C-41DE-BF1F7A636E5E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sp>
        <p:nvSpPr>
          <p:cNvPr id="410" name="Freihandform: Form 409">
            <a:extLst>
              <a:ext uri="{FF2B5EF4-FFF2-40B4-BE49-F238E27FC236}">
                <a16:creationId xmlns:a16="http://schemas.microsoft.com/office/drawing/2014/main" id="{B519BAD5-7401-764D-1A93-5C3CF2A8C9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1424" y="2060848"/>
            <a:ext cx="2892425" cy="2879303"/>
          </a:xfrm>
          <a:custGeom>
            <a:avLst/>
            <a:gdLst>
              <a:gd name="connsiteX0" fmla="*/ 0 w 2892425"/>
              <a:gd name="connsiteY0" fmla="*/ 0 h 2879303"/>
              <a:gd name="connsiteX1" fmla="*/ 2892425 w 2892425"/>
              <a:gd name="connsiteY1" fmla="*/ 0 h 2879303"/>
              <a:gd name="connsiteX2" fmla="*/ 2307742 w 2892425"/>
              <a:gd name="connsiteY2" fmla="*/ 2298575 h 2879303"/>
              <a:gd name="connsiteX3" fmla="*/ 0 w 2892425"/>
              <a:gd name="connsiteY3" fmla="*/ 2879303 h 2879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92425" h="2879303">
                <a:moveTo>
                  <a:pt x="0" y="0"/>
                </a:moveTo>
                <a:lnTo>
                  <a:pt x="2892425" y="0"/>
                </a:lnTo>
                <a:lnTo>
                  <a:pt x="2307742" y="2298575"/>
                </a:lnTo>
                <a:lnTo>
                  <a:pt x="0" y="2879303"/>
                </a:lnTo>
                <a:close/>
              </a:path>
            </a:pathLst>
          </a:custGeom>
          <a:solidFill>
            <a:schemeClr val="bg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 rtl="0"/>
            <a:endParaRPr lang="en-US" sz="1600" dirty="0"/>
          </a:p>
        </p:txBody>
      </p:sp>
      <p:sp>
        <p:nvSpPr>
          <p:cNvPr id="272" name="Number">
            <a:extLst>
              <a:ext uri="{FF2B5EF4-FFF2-40B4-BE49-F238E27FC236}">
                <a16:creationId xmlns:a16="http://schemas.microsoft.com/office/drawing/2014/main" id="{05129C6C-1C1D-470A-AEB9-61C957AD29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11424" y="2060997"/>
            <a:ext cx="2880320" cy="2880171"/>
          </a:xfrm>
          <a:custGeom>
            <a:avLst/>
            <a:gdLst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517775 w 3022600"/>
              <a:gd name="connsiteY2" fmla="*/ 2520950 h 3024187"/>
              <a:gd name="connsiteX3" fmla="*/ 0 w 3022600"/>
              <a:gd name="connsiteY3" fmla="*/ 3024187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384501 w 3022600"/>
              <a:gd name="connsiteY2" fmla="*/ 2357596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407824 w 3022600"/>
              <a:gd name="connsiteY2" fmla="*/ 2420937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2600" h="3024187">
                <a:moveTo>
                  <a:pt x="0" y="0"/>
                </a:moveTo>
                <a:lnTo>
                  <a:pt x="3022600" y="0"/>
                </a:lnTo>
                <a:lnTo>
                  <a:pt x="2407824" y="2420937"/>
                </a:lnTo>
                <a:lnTo>
                  <a:pt x="0" y="3024187"/>
                </a:lnTo>
                <a:lnTo>
                  <a:pt x="0" y="0"/>
                </a:lnTo>
                <a:close/>
              </a:path>
            </a:pathLst>
          </a:custGeom>
          <a:solidFill>
            <a:srgbClr val="7B4DB3"/>
          </a:solidFill>
          <a:ln w="127">
            <a:solidFill>
              <a:srgbClr val="7B4DB3">
                <a:alpha val="0"/>
              </a:srgbClr>
            </a:solidFill>
          </a:ln>
        </p:spPr>
        <p:txBody>
          <a:bodyPr wrap="square" lIns="216000" tIns="0" rIns="0" bIns="0" anchor="t" anchorCtr="0"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9pPr>
          </a:lstStyle>
          <a:p>
            <a:r>
              <a:rPr lang="en-US"/>
              <a:t>00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4727849" y="1989184"/>
            <a:ext cx="5040000" cy="1799856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36000" rIns="216000">
            <a:noAutofit/>
          </a:bodyPr>
          <a:lstStyle>
            <a:lvl1pPr rtl="0"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Divider slide | Insert your headline in maximal three lines her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46297C-A90E-4725-9584-F26D2B59D3D8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4727848" y="3717033"/>
            <a:ext cx="5040000" cy="936104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271" name="Source">
            <a:extLst>
              <a:ext uri="{FF2B5EF4-FFF2-40B4-BE49-F238E27FC236}">
                <a16:creationId xmlns:a16="http://schemas.microsoft.com/office/drawing/2014/main" id="{DAC8EFAD-9559-4867-97CB-ABA60D14E8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87488" y="6525000"/>
            <a:ext cx="9144512" cy="144000"/>
          </a:xfrm>
        </p:spPr>
        <p:txBody>
          <a:bodyPr anchor="b"/>
          <a:lstStyle>
            <a:lvl1pPr marL="0" indent="0" algn="l" rtl="0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2pPr>
            <a:lvl3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3pPr>
            <a:lvl4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6pPr>
            <a:lvl7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7pPr>
            <a:lvl8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8pPr>
            <a:lvl9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/>
              <a:t>Source, Footnote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4C4D2C-3CD7-4167-ACBE-67C59EAFCF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5F4079BC-BB41-447D-8A32-E96EFB933782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17F1470-B343-C390-7A8B-E257A28541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9DB696-345D-0EAF-6BFC-545F90AEC6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54867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 |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10D6EDF-B4D2-20E2-6633-7C982E3352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9574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0D6EDF-B4D2-20E2-6633-7C982E3352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997C7D71-3708-EDD0-ACC8-0E35106DF8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62F0E973-90B0-4916-8BFC-8FE91EC5D707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3865CF7-EDCF-231D-4AD5-BF14E6488635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4BE4610-A8A9-1D66-37A9-CC195AB1AC93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569C458B-6365-D62C-DA76-4F8420E41CCA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DEECCE98-A6D4-1A74-7CE1-D4F98CA3BC72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9B09CDF9-19F1-ADEC-8406-08FCCB45B3D2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723B8759-9F60-E6BF-FE71-BB13A0F17090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F051549F-5EDA-64B9-B736-D1CF313A4B4E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AC3844C8-DF5C-2DA4-6312-2B5C1334C60D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9DCD5716-10D2-2A02-5324-1FEE666644E6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B86C6295-A008-9D21-762C-8EAEFD1C56B1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460B37B-1B73-EE56-4B1D-33B4F15321AE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8F34DB77-129C-5FA8-D0EA-7CA2147EFF28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717E31C3-172D-4807-FAEE-C0FB78D7D870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0" name="Rechteck 79">
              <a:extLst>
                <a:ext uri="{FF2B5EF4-FFF2-40B4-BE49-F238E27FC236}">
                  <a16:creationId xmlns:a16="http://schemas.microsoft.com/office/drawing/2014/main" id="{56A6B720-138D-0F46-EE24-4EEFE7764607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13AC1AFC-1879-D5B6-49B9-0E796A606A1B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0DCB79B2-E3BC-FAAA-C3C7-5AA62C776AC2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B27055CA-0434-09A3-8F41-4A51B9CA8DD4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A5A6979A-88EA-90BE-E975-8A536125F389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69983A50-4B0F-694A-8EFE-0A11A31B15DC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77559531-08C2-F634-F979-0A1FB0B12A9E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7" name="Rechteck 86">
              <a:extLst>
                <a:ext uri="{FF2B5EF4-FFF2-40B4-BE49-F238E27FC236}">
                  <a16:creationId xmlns:a16="http://schemas.microsoft.com/office/drawing/2014/main" id="{44518E61-1112-4D7F-C45A-776D23E4D32F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8" name="Rechteck 87">
              <a:extLst>
                <a:ext uri="{FF2B5EF4-FFF2-40B4-BE49-F238E27FC236}">
                  <a16:creationId xmlns:a16="http://schemas.microsoft.com/office/drawing/2014/main" id="{A570F623-403B-6644-BC5F-BD582CB54DC4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9" name="Rechteck 88">
              <a:extLst>
                <a:ext uri="{FF2B5EF4-FFF2-40B4-BE49-F238E27FC236}">
                  <a16:creationId xmlns:a16="http://schemas.microsoft.com/office/drawing/2014/main" id="{8C720195-D1E2-295E-3B5E-57EDEDC4134D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5" name="Rechteck 94">
              <a:extLst>
                <a:ext uri="{FF2B5EF4-FFF2-40B4-BE49-F238E27FC236}">
                  <a16:creationId xmlns:a16="http://schemas.microsoft.com/office/drawing/2014/main" id="{EFEA8C3C-DD72-48CF-C7F3-D3FB4CDB17A3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B34AA8CB-5C08-D574-C26B-E679AA6440E9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4AE30B8F-B044-073B-4D08-0C84A4B41001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775F305B-E488-B6C7-ADB9-D0A67F729BA0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DAE27F4E-3937-6895-00DD-4060C319C9B3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F39FDAD4-59E9-E592-CD6A-B48845F331BC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8" name="Rechteck 117">
              <a:extLst>
                <a:ext uri="{FF2B5EF4-FFF2-40B4-BE49-F238E27FC236}">
                  <a16:creationId xmlns:a16="http://schemas.microsoft.com/office/drawing/2014/main" id="{6B330369-E1F2-6034-EA45-588881371243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9" name="Rechteck 118">
              <a:extLst>
                <a:ext uri="{FF2B5EF4-FFF2-40B4-BE49-F238E27FC236}">
                  <a16:creationId xmlns:a16="http://schemas.microsoft.com/office/drawing/2014/main" id="{F7A1616C-D08D-3E6C-12FD-8C467262994D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0" name="Rechteck 119">
              <a:extLst>
                <a:ext uri="{FF2B5EF4-FFF2-40B4-BE49-F238E27FC236}">
                  <a16:creationId xmlns:a16="http://schemas.microsoft.com/office/drawing/2014/main" id="{A818FFCF-461C-2212-CB65-3EE43B50E732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1" name="Rechteck 120">
              <a:extLst>
                <a:ext uri="{FF2B5EF4-FFF2-40B4-BE49-F238E27FC236}">
                  <a16:creationId xmlns:a16="http://schemas.microsoft.com/office/drawing/2014/main" id="{899AB9D7-E9D5-371D-161C-956E4DDC2D4C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2" name="Rechteck 121">
              <a:extLst>
                <a:ext uri="{FF2B5EF4-FFF2-40B4-BE49-F238E27FC236}">
                  <a16:creationId xmlns:a16="http://schemas.microsoft.com/office/drawing/2014/main" id="{7677E94F-61A3-2717-2103-D8A48CBC3A85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3" name="Rechteck 122">
              <a:extLst>
                <a:ext uri="{FF2B5EF4-FFF2-40B4-BE49-F238E27FC236}">
                  <a16:creationId xmlns:a16="http://schemas.microsoft.com/office/drawing/2014/main" id="{ADFC0CCB-5058-27B7-F02B-41DE817E3B67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1" name="Rechteck 140">
              <a:extLst>
                <a:ext uri="{FF2B5EF4-FFF2-40B4-BE49-F238E27FC236}">
                  <a16:creationId xmlns:a16="http://schemas.microsoft.com/office/drawing/2014/main" id="{B042D170-86C1-62C2-1167-DD08CF9E164C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3CC0085D-F24B-2F17-FAAA-B0DBAAD3FCCF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3" name="Rechteck 142">
              <a:extLst>
                <a:ext uri="{FF2B5EF4-FFF2-40B4-BE49-F238E27FC236}">
                  <a16:creationId xmlns:a16="http://schemas.microsoft.com/office/drawing/2014/main" id="{FC20D90D-59D9-7C5F-1539-30DF8926BDA0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4" name="Rechteck 143">
              <a:extLst>
                <a:ext uri="{FF2B5EF4-FFF2-40B4-BE49-F238E27FC236}">
                  <a16:creationId xmlns:a16="http://schemas.microsoft.com/office/drawing/2014/main" id="{7F752D1D-220F-3E83-284F-BC2332469657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5" name="Rechteck 144">
              <a:extLst>
                <a:ext uri="{FF2B5EF4-FFF2-40B4-BE49-F238E27FC236}">
                  <a16:creationId xmlns:a16="http://schemas.microsoft.com/office/drawing/2014/main" id="{09D71745-C237-39F3-F19E-53348766B220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6" name="Rechteck 145">
              <a:extLst>
                <a:ext uri="{FF2B5EF4-FFF2-40B4-BE49-F238E27FC236}">
                  <a16:creationId xmlns:a16="http://schemas.microsoft.com/office/drawing/2014/main" id="{EDF74F25-689B-FE9C-D27E-E2683333882F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4" name="Rechteck 163">
              <a:extLst>
                <a:ext uri="{FF2B5EF4-FFF2-40B4-BE49-F238E27FC236}">
                  <a16:creationId xmlns:a16="http://schemas.microsoft.com/office/drawing/2014/main" id="{3D3EA703-0211-9180-7213-758F5BAD0235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5" name="Rechteck 164">
              <a:extLst>
                <a:ext uri="{FF2B5EF4-FFF2-40B4-BE49-F238E27FC236}">
                  <a16:creationId xmlns:a16="http://schemas.microsoft.com/office/drawing/2014/main" id="{CFF0818B-19D0-8A05-0508-D257B8A03FE9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6" name="Rechteck 165">
              <a:extLst>
                <a:ext uri="{FF2B5EF4-FFF2-40B4-BE49-F238E27FC236}">
                  <a16:creationId xmlns:a16="http://schemas.microsoft.com/office/drawing/2014/main" id="{98811417-294F-8243-F779-F0680E491BD5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7" name="Rechteck 166">
              <a:extLst>
                <a:ext uri="{FF2B5EF4-FFF2-40B4-BE49-F238E27FC236}">
                  <a16:creationId xmlns:a16="http://schemas.microsoft.com/office/drawing/2014/main" id="{F70137A0-41B5-19FC-B09C-D8A31E1E216F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8" name="Rechteck 167">
              <a:extLst>
                <a:ext uri="{FF2B5EF4-FFF2-40B4-BE49-F238E27FC236}">
                  <a16:creationId xmlns:a16="http://schemas.microsoft.com/office/drawing/2014/main" id="{FFDD1DE2-E3EC-3B49-FB67-D242FD72B640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9" name="Rechteck 168">
              <a:extLst>
                <a:ext uri="{FF2B5EF4-FFF2-40B4-BE49-F238E27FC236}">
                  <a16:creationId xmlns:a16="http://schemas.microsoft.com/office/drawing/2014/main" id="{0ADDC9A0-F056-1327-D66F-26A906BBD7C9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7" name="Rechteck 186">
              <a:extLst>
                <a:ext uri="{FF2B5EF4-FFF2-40B4-BE49-F238E27FC236}">
                  <a16:creationId xmlns:a16="http://schemas.microsoft.com/office/drawing/2014/main" id="{BF8F08C4-0E86-04A0-C62C-3D605FA2FB7B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8" name="Rechteck 187">
              <a:extLst>
                <a:ext uri="{FF2B5EF4-FFF2-40B4-BE49-F238E27FC236}">
                  <a16:creationId xmlns:a16="http://schemas.microsoft.com/office/drawing/2014/main" id="{460180B5-3C7B-5A63-4C57-F4EBBD6D28F2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9" name="Rechteck 188">
              <a:extLst>
                <a:ext uri="{FF2B5EF4-FFF2-40B4-BE49-F238E27FC236}">
                  <a16:creationId xmlns:a16="http://schemas.microsoft.com/office/drawing/2014/main" id="{0F85227D-BD0D-14C1-3E7E-DD1F708B005C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0" name="Rechteck 189">
              <a:extLst>
                <a:ext uri="{FF2B5EF4-FFF2-40B4-BE49-F238E27FC236}">
                  <a16:creationId xmlns:a16="http://schemas.microsoft.com/office/drawing/2014/main" id="{06C90CE6-F5F1-F487-51E4-FA4E1081F2E0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E7EE09F9-3B99-1E92-D081-5019BDFD557B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A5C0B268-BE8B-43A5-FBD7-F1D91D9FA481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27EC3604-7496-8D31-2FAD-A0B891138B86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0200F1F9-3696-6F4C-B57D-DDF1BCFB1D17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75D50D5E-6732-B4BD-BF47-3B74BA1B765D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3743FC8B-940D-BE7B-AB96-D774F2E5CE65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4A7DE8F0-24A9-15FB-31EB-8696591B0BF9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4A0B31CD-EEFF-C4EB-0D10-53E95A6E675F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3E6F26E5-87E7-B141-D93D-6D973F54CF52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15A878EE-41F1-0CA9-3C5D-158DB9F00D33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3" name="Rechteck 282">
              <a:extLst>
                <a:ext uri="{FF2B5EF4-FFF2-40B4-BE49-F238E27FC236}">
                  <a16:creationId xmlns:a16="http://schemas.microsoft.com/office/drawing/2014/main" id="{ED89E719-CE1D-380D-804A-8DDA026A01F6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75F774CB-EE75-4762-046C-F6A25FF7BFF0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5FED1B1E-7A76-2410-D7A0-82ABB0676DD7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98D6E8B1-F9E6-7156-E162-30C03C18EAE7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C68A3BFB-6AB0-C182-6FE3-54F8C0413540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BD072C43-0691-766D-BC5B-9792E72C0860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1EF16077-983E-22E0-8C12-D03231A8D26B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0068593F-F3E1-5022-8453-FB53BF9E6FB9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168E361A-E856-7D63-D12E-CAF20DDE05C6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4CE0B89B-0ED4-101E-B824-E71E9E8145B3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07984503-9565-060B-84F1-C5F05C32290A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4DF80959-CCAB-63CD-8CDC-E72243AA7010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60034036-5B5B-AEBB-5DE9-A58CBED2DCEB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2EED3034-1299-EB47-3CED-73723A3291C0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74BCDF44-51F2-B555-6E0A-6A4A482BB120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BDBFC7EA-B121-2ADE-C32C-F04E68ED7533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B60216B0-7427-1F93-72DA-5384B965306A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9F20C657-6EDF-9FF5-81CB-4C11931675B2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2CD539F8-2A7C-46FD-B615-6E8FA103584D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8ECE2368-2D8B-D6E4-B7A3-50571A01719B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62B35920-FCE6-813A-3DE0-E02803E88BAB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94A3E265-9B43-01CB-826E-3A679037D772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D679F87C-ACC5-4E5C-4E6D-4A38B09271CF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6D891ACE-A068-4229-BE86-61F1D4B0AB6D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022C9AF1-DA88-E36D-B6DF-B8EFE7F00921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15AE2429-8729-D181-B02C-DE69C6632C39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01148E07-1A39-35FC-AD09-0F9EF225912A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60DDA28B-CA90-6FBE-45A2-71C1CAE1B6CA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33180018-7172-6FD3-F946-45449D58635A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05C52664-34EF-994A-C9E2-ABFA345E045C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677755C8-EE93-5393-AD32-A8E929212286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112856BB-06F8-0FBC-1382-39EA57933F4F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6A6F14AD-7365-1311-B2E4-4CB4AB99864B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0231BAE9-0AAD-D7F2-596C-5C3F92E4FD54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F22A498E-F685-1E8A-4486-7EE49A4AD90C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10576592-0917-A272-8EC1-07F36F55CEF1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38420A1D-AC27-2069-3F9E-60C131033874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A30B81BD-ECEF-9AA9-CEE1-E9CA1A9B5C1F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C19B1B73-370E-1D8D-7502-9CC93C6E3FFA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69B99626-3FC2-C45E-005E-511E6BE1803F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4EDAB558-CEC0-3718-E920-A45B5F0067BC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2DC0B6FC-0480-394D-E5EE-E02F7AF92A31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769E259A-2312-8DE9-8D7B-E4451C319CA7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0E383A4C-AF4E-85D0-5B5C-315C1C449A0F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0DF3FC96-20A0-E766-7950-05B3CC0DD0D3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063B08B8-26D5-0D67-071C-0B8F168923EB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13696CA4-A1D5-D09D-E106-96A370204276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F3D8F586-ABE4-8597-2343-08DAE003258D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703088A5-6DC7-D5BB-44AC-5E8D11BB67BF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84E87DA5-26FC-072A-5669-75135918D3AF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C6320B96-8FD0-B6FD-CC9A-E0CBC1DEC446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2BBC829F-B0E8-1E14-17D6-6FA72A233DE3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492777A7-AAC0-C020-49DD-8479F4C2F24D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33919EBF-B3E2-BC99-1C93-D84C69C8A672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F34E2AE1-2644-FAA8-99C1-3B30DEFAC51E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D8A842E3-BEFE-8390-685B-81A2BE3025D2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4505B5E6-E2E7-6AFE-F307-5991289E1D5D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B4975F2A-7464-0158-4E8D-F54A6BD08481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9CE31611-9C4E-2E2B-B0DC-307CE5E992BB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8FC37BE7-4F3A-E80C-5FFF-F411B343A1D4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E45D1AFB-89B3-B561-CD56-ADD23AA2A393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D4543A3E-7A44-D778-BFC1-BB3F01400031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34677254-7E79-FE84-A734-982593DDE88D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BF0E9C7C-AF21-8C82-63D1-6796BAE3BE60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147DECF9-0575-6132-178C-8C48BE9A9618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14ABEE62-6C81-7ECE-491B-A760D419C21E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D99054A0-AE99-24A4-1049-0BF7A5715DA2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EB405491-C0A7-4DE5-9433-6458AD62A9CD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1BA2399A-B013-D3C4-7D5F-F50DEF9C07C2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B211FA68-90CF-27FD-7A33-CF615A44D1E7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732DEF96-8AAC-A5B0-97B8-934563C287B6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D4766C35-A89B-5B45-C73F-E65D349E1C82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F4D7BA31-5093-03FB-30AF-8EFBC9795751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E25D8CA0-4F00-EC7C-25C2-5E67E3DE60CF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E8518285-684B-2913-49A1-F54FFCF9EF5C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4B154C5A-6386-3744-5FA3-B2C39AD22B21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DB8CAACD-D3DF-5506-5CC7-7C1740523298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70711201-27AA-F27D-7F29-A6B8785C9B3F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A414A3B9-104C-F6ED-574B-DB1037B169C7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3A06FFC0-1FD2-A284-66A3-78B0A4A61F40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3D1AA4A3-3CB5-A305-4BFB-3EB667D7A761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9BBFA944-E6A8-2612-48C6-43CC302FE809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3AE0FE69-B4BE-A343-A3A0-33F3E8E32C5A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89709E1C-C476-7D94-CA69-683FDFB170DF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E3391966-7E2E-21DD-722B-85475696E621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2A88A50F-7AE6-2C85-1FA6-B5A45D773569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04E716E8-D0F4-3CC8-F03A-F61C06C44E9F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71E5F60D-6CD9-C2AD-8859-CAB550AB7EA4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381CA6A3-335F-FADA-226E-0155957A3CEC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C9D5758E-E1AE-2E8C-B5AB-30FD7C23E683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9B5212E3-081A-EFE1-2F65-C834593B4F6D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2073899A-8727-A05E-122C-04494467D1B9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36EA85AA-7094-B73E-7241-C1CAA2E1BC1D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58C58E62-19F8-6417-4AA4-3C2A630FFC21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66678A5C-4F7A-D7A1-EE7C-B8E7EF3C69F3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8165FED5-DEA9-0135-0033-481D0B57107F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2CFA3AFF-7421-A010-FE97-A2A2638FAF27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9E9A67BD-6327-4CAC-2044-6F6CC118CD65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90766766-A01A-3786-4378-27AE5DA82EBC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5AB5FF54-C8B3-6D81-D720-F0AE69EB80E8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246E0B07-4F3E-423D-5EBC-E026AB447C01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5A761BFB-9D98-C403-DF19-AE28A64B1678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0CB7A8BF-024B-6613-A476-8A435B1F3FB4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BE22894F-AA1E-5D28-ADC2-7D6CACBD96FB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48A776DE-423E-068E-D1A9-53BFAA80A225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1025F6B7-0835-BAF6-3A05-77E1AFBE0872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9CB828D6-3144-002C-EE51-459CE2FB25D3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0" name="Rechteck 389">
              <a:extLst>
                <a:ext uri="{FF2B5EF4-FFF2-40B4-BE49-F238E27FC236}">
                  <a16:creationId xmlns:a16="http://schemas.microsoft.com/office/drawing/2014/main" id="{D6F973FE-2A92-4224-141C-6640E734C1DD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1" name="Rechteck 390">
              <a:extLst>
                <a:ext uri="{FF2B5EF4-FFF2-40B4-BE49-F238E27FC236}">
                  <a16:creationId xmlns:a16="http://schemas.microsoft.com/office/drawing/2014/main" id="{0B5DB296-F090-FFC1-1B25-C39D57E54B51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2" name="Rechteck 391">
              <a:extLst>
                <a:ext uri="{FF2B5EF4-FFF2-40B4-BE49-F238E27FC236}">
                  <a16:creationId xmlns:a16="http://schemas.microsoft.com/office/drawing/2014/main" id="{5C7E263B-20E8-50F4-E5EB-6736994BCE67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3" name="Rechteck 392">
              <a:extLst>
                <a:ext uri="{FF2B5EF4-FFF2-40B4-BE49-F238E27FC236}">
                  <a16:creationId xmlns:a16="http://schemas.microsoft.com/office/drawing/2014/main" id="{EF09D085-9AFC-47ED-8C16-A379672CBC6A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4" name="Rechteck 393">
              <a:extLst>
                <a:ext uri="{FF2B5EF4-FFF2-40B4-BE49-F238E27FC236}">
                  <a16:creationId xmlns:a16="http://schemas.microsoft.com/office/drawing/2014/main" id="{9C99C55A-94A9-CD70-DE3A-CAC2DCDBD390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5" name="Rechteck 394">
              <a:extLst>
                <a:ext uri="{FF2B5EF4-FFF2-40B4-BE49-F238E27FC236}">
                  <a16:creationId xmlns:a16="http://schemas.microsoft.com/office/drawing/2014/main" id="{294D9768-B58A-9D78-2EF0-95AE7B3D19DE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6" name="Rechteck 395">
              <a:extLst>
                <a:ext uri="{FF2B5EF4-FFF2-40B4-BE49-F238E27FC236}">
                  <a16:creationId xmlns:a16="http://schemas.microsoft.com/office/drawing/2014/main" id="{E045C236-DFC2-84DD-3ACD-A21236272DAE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7" name="Rechteck 396">
              <a:extLst>
                <a:ext uri="{FF2B5EF4-FFF2-40B4-BE49-F238E27FC236}">
                  <a16:creationId xmlns:a16="http://schemas.microsoft.com/office/drawing/2014/main" id="{B293FBB0-E6CF-54BB-8998-FB202CC85459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1C4843D0-414F-3C42-AA14-CA508D98DAEC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B38DEE85-1E5E-1C74-EFD2-4A4AB127E52A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2D660827-5D4C-197B-C3DB-3374701979EA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AA0C6F8A-A05F-CB89-5417-018D3FBE26B9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C987FCE4-9147-F00E-9EAD-89D813576A8B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3" name="Rechteck 402">
              <a:extLst>
                <a:ext uri="{FF2B5EF4-FFF2-40B4-BE49-F238E27FC236}">
                  <a16:creationId xmlns:a16="http://schemas.microsoft.com/office/drawing/2014/main" id="{D0581425-1055-E469-7776-F7306BC9DA5C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B6C5BC7A-8696-5091-35F1-64CB5BD74752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5" name="Rechteck 404">
              <a:extLst>
                <a:ext uri="{FF2B5EF4-FFF2-40B4-BE49-F238E27FC236}">
                  <a16:creationId xmlns:a16="http://schemas.microsoft.com/office/drawing/2014/main" id="{2D1198C2-C774-1E0E-0E60-43A4BC42481F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6" name="Rechteck 405">
              <a:extLst>
                <a:ext uri="{FF2B5EF4-FFF2-40B4-BE49-F238E27FC236}">
                  <a16:creationId xmlns:a16="http://schemas.microsoft.com/office/drawing/2014/main" id="{9A3C2D6D-8477-760A-B611-44C96B865D88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8F225F7D-37B8-291F-FCD6-2DD49AEFDE09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169F820B-C4BD-4FA3-B94F-860563E0301C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E57D7161-B6DF-ACC5-9900-52599FECBA8E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sp>
        <p:nvSpPr>
          <p:cNvPr id="411" name="Freihandform: Form 410">
            <a:extLst>
              <a:ext uri="{FF2B5EF4-FFF2-40B4-BE49-F238E27FC236}">
                <a16:creationId xmlns:a16="http://schemas.microsoft.com/office/drawing/2014/main" id="{2AD52377-04C7-915A-34D5-E1C0543FB4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1424" y="2060848"/>
            <a:ext cx="2892425" cy="2879303"/>
          </a:xfrm>
          <a:custGeom>
            <a:avLst/>
            <a:gdLst>
              <a:gd name="connsiteX0" fmla="*/ 0 w 2892425"/>
              <a:gd name="connsiteY0" fmla="*/ 0 h 2879303"/>
              <a:gd name="connsiteX1" fmla="*/ 2892425 w 2892425"/>
              <a:gd name="connsiteY1" fmla="*/ 0 h 2879303"/>
              <a:gd name="connsiteX2" fmla="*/ 2307742 w 2892425"/>
              <a:gd name="connsiteY2" fmla="*/ 2298575 h 2879303"/>
              <a:gd name="connsiteX3" fmla="*/ 0 w 2892425"/>
              <a:gd name="connsiteY3" fmla="*/ 2879303 h 2879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92425" h="2879303">
                <a:moveTo>
                  <a:pt x="0" y="0"/>
                </a:moveTo>
                <a:lnTo>
                  <a:pt x="2892425" y="0"/>
                </a:lnTo>
                <a:lnTo>
                  <a:pt x="2307742" y="2298575"/>
                </a:lnTo>
                <a:lnTo>
                  <a:pt x="0" y="2879303"/>
                </a:lnTo>
                <a:close/>
              </a:path>
            </a:pathLst>
          </a:custGeom>
          <a:solidFill>
            <a:schemeClr val="bg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 rtl="0"/>
            <a:endParaRPr lang="en-US" sz="1600" dirty="0"/>
          </a:p>
        </p:txBody>
      </p:sp>
      <p:sp>
        <p:nvSpPr>
          <p:cNvPr id="272" name="Number">
            <a:extLst>
              <a:ext uri="{FF2B5EF4-FFF2-40B4-BE49-F238E27FC236}">
                <a16:creationId xmlns:a16="http://schemas.microsoft.com/office/drawing/2014/main" id="{B51777ED-2677-4CA6-9D24-823DF0017EB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11424" y="2060997"/>
            <a:ext cx="2880320" cy="2880171"/>
          </a:xfrm>
          <a:custGeom>
            <a:avLst/>
            <a:gdLst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517775 w 3022600"/>
              <a:gd name="connsiteY2" fmla="*/ 2520950 h 3024187"/>
              <a:gd name="connsiteX3" fmla="*/ 0 w 3022600"/>
              <a:gd name="connsiteY3" fmla="*/ 3024187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337856 w 3022600"/>
              <a:gd name="connsiteY2" fmla="*/ 2347595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414488 w 3022600"/>
              <a:gd name="connsiteY2" fmla="*/ 2417604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2600" h="3024187">
                <a:moveTo>
                  <a:pt x="0" y="0"/>
                </a:moveTo>
                <a:lnTo>
                  <a:pt x="3022600" y="0"/>
                </a:lnTo>
                <a:lnTo>
                  <a:pt x="2414488" y="2417604"/>
                </a:lnTo>
                <a:lnTo>
                  <a:pt x="0" y="3024187"/>
                </a:lnTo>
                <a:lnTo>
                  <a:pt x="0" y="0"/>
                </a:lnTo>
                <a:close/>
              </a:path>
            </a:pathLst>
          </a:custGeom>
          <a:solidFill>
            <a:srgbClr val="519FBC"/>
          </a:solidFill>
          <a:ln w="127">
            <a:solidFill>
              <a:srgbClr val="519FBC">
                <a:alpha val="0"/>
              </a:srgbClr>
            </a:solidFill>
          </a:ln>
        </p:spPr>
        <p:txBody>
          <a:bodyPr wrap="square" lIns="216000" tIns="0" rIns="0" bIns="0" anchor="t" anchorCtr="0"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9pPr>
          </a:lstStyle>
          <a:p>
            <a:r>
              <a:rPr lang="en-US"/>
              <a:t>00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4727849" y="1988840"/>
            <a:ext cx="5040000" cy="18002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36000" rIns="216000">
            <a:noAutofit/>
          </a:bodyPr>
          <a:lstStyle>
            <a:lvl1pPr rtl="0"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Divider slide | Insert your headline in maximal three lines her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46297C-A90E-4725-9584-F26D2B59D3D8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4727848" y="3717033"/>
            <a:ext cx="5040000" cy="936104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271" name="Source">
            <a:extLst>
              <a:ext uri="{FF2B5EF4-FFF2-40B4-BE49-F238E27FC236}">
                <a16:creationId xmlns:a16="http://schemas.microsoft.com/office/drawing/2014/main" id="{ECFBD499-EAD8-4061-9B79-3BE04BC20C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87488" y="6525000"/>
            <a:ext cx="9144512" cy="144000"/>
          </a:xfrm>
        </p:spPr>
        <p:txBody>
          <a:bodyPr anchor="b"/>
          <a:lstStyle>
            <a:lvl1pPr marL="0" indent="0" algn="l" rtl="0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2pPr>
            <a:lvl3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3pPr>
            <a:lvl4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6pPr>
            <a:lvl7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7pPr>
            <a:lvl8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8pPr>
            <a:lvl9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/>
              <a:t>Source, Footnote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9CCD5DB-0D01-7AB9-B6CA-3826DB15D2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5BEB42C0-BD1B-4147-BFFC-A8336F91A7B9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DD82BBB-77A7-D509-536D-9C9CE1AFC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F35785-D94C-67B5-E395-7424B82734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05038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6F77881-D984-BA7F-CE8B-F40375C16E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9591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F77881-D984-BA7F-CE8B-F40375C16E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B0795529-4D73-3332-2945-704225E049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60648"/>
            <a:ext cx="8063551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7" name="Subtitle"/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788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9" name="Source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98D2D80-83C7-C3BE-11DE-891FB4F740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9A4C19A7-2697-4401-A65A-0F200AB0BD3F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4FF2831-9930-617B-0107-D5E0273C47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4DE80F-7084-7C4F-A5DC-647F766EC0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0466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3838">
          <p15:clr>
            <a:srgbClr val="FBAE40"/>
          </p15:clr>
        </p15:guide>
        <p15:guide id="5" pos="211">
          <p15:clr>
            <a:srgbClr val="FBAE40"/>
          </p15:clr>
        </p15:guide>
        <p15:guide id="6" orient="horz" pos="1298">
          <p15:clr>
            <a:srgbClr val="FBAE40"/>
          </p15:clr>
        </p15:guide>
      </p15:sldGuideLst>
    </p:ext>
  </p:extLs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CF7741D-25D1-A403-9EE6-5D180AECA6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6556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F7741D-25D1-A403-9EE6-5D180AECA6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">
            <a:extLst>
              <a:ext uri="{FF2B5EF4-FFF2-40B4-BE49-F238E27FC236}">
                <a16:creationId xmlns:a16="http://schemas.microsoft.com/office/drawing/2014/main" id="{CF5EDE16-5B1A-4150-90CB-D4C4142476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96F545AC-9767-C3A9-8852-5B3F117FB099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1" y="658788"/>
            <a:ext cx="8064895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4962" y="2060575"/>
            <a:ext cx="10369549" cy="4032250"/>
          </a:xfrm>
          <a:prstGeom prst="rect">
            <a:avLst/>
          </a:prstGeom>
        </p:spPr>
        <p:txBody>
          <a:bodyPr/>
          <a:lstStyle>
            <a:lvl1pPr rtl="0">
              <a:defRPr baseline="0"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5" name="Source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313E8EF-477B-829C-E76D-82E935EA0F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8914BA79-9CF9-4542-BDB0-93DCCAD941AD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99F21F9-7E82-D3A4-D13F-25045FB168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069B29-DDCD-4764-6C0C-2E75AC2884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53107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3" pos="6743">
          <p15:clr>
            <a:srgbClr val="FBAE40"/>
          </p15:clr>
        </p15:guide>
        <p15:guide id="4" orient="horz" pos="3838">
          <p15:clr>
            <a:srgbClr val="FBAE40"/>
          </p15:clr>
        </p15:guide>
        <p15:guide id="5" pos="211">
          <p15:clr>
            <a:srgbClr val="FBAE40"/>
          </p15:clr>
        </p15:guide>
        <p15:guide id="6" orient="horz" pos="935">
          <p15:clr>
            <a:srgbClr val="FBAE40"/>
          </p15:clr>
        </p15:guide>
        <p15:guide id="7" pos="7469">
          <p15:clr>
            <a:srgbClr val="FBAE40"/>
          </p15:clr>
        </p15:guide>
      </p15:sldGuideLst>
    </p:ext>
  </p:extLs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EB8E318-263B-DD73-68D8-5ECA10FBC6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9096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B8E318-263B-DD73-68D8-5ECA10FBC6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">
            <a:extLst>
              <a:ext uri="{FF2B5EF4-FFF2-40B4-BE49-F238E27FC236}">
                <a16:creationId xmlns:a16="http://schemas.microsoft.com/office/drawing/2014/main" id="{88B08B0E-0F2C-4F39-8C83-40D56780A4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511F11FC-FCA8-FA31-88F5-727DE1C458C7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4963" y="2060574"/>
            <a:ext cx="5761037" cy="4032721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672263" y="2060575"/>
            <a:ext cx="5184377" cy="403225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0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8" y="6525000"/>
            <a:ext cx="9144512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5A63D7-562B-C3CB-9A70-CD611C8190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rtl="0">
              <a:defRPr/>
            </a:lvl1pPr>
          </a:lstStyle>
          <a:p>
            <a:fld id="{26AE5FF7-CF5E-419A-8C03-8CE67B686C77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A1B3EF-1533-F6D5-16F8-628C93E34E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0807DB1-E0B6-D636-F949-1B29AAFDE8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498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2" pos="211">
          <p15:clr>
            <a:srgbClr val="FBAE40"/>
          </p15:clr>
        </p15:guide>
        <p15:guide id="3" pos="3840">
          <p15:clr>
            <a:srgbClr val="FBAE40"/>
          </p15:clr>
        </p15:guide>
        <p15:guide id="4" orient="horz" pos="3838">
          <p15:clr>
            <a:srgbClr val="FBAE40"/>
          </p15:clr>
        </p15:guide>
        <p15:guide id="5" pos="4203">
          <p15:clr>
            <a:srgbClr val="FBAE40"/>
          </p15:clr>
        </p15:guide>
        <p15:guide id="6" pos="7469">
          <p15:clr>
            <a:srgbClr val="FBAE40"/>
          </p15:clr>
        </p15:guide>
        <p15:guide id="7" orient="horz" pos="935">
          <p15:clr>
            <a:srgbClr val="FBAE40"/>
          </p15:clr>
        </p15:guide>
      </p15:sldGuideLst>
    </p:ext>
  </p:extLs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wo contents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FAAB537-F9EC-9532-829A-3A45B8DEAE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9255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AAB537-F9EC-9532-829A-3A45B8DEAE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">
            <a:extLst>
              <a:ext uri="{FF2B5EF4-FFF2-40B4-BE49-F238E27FC236}">
                <a16:creationId xmlns:a16="http://schemas.microsoft.com/office/drawing/2014/main" id="{88B08B0E-0F2C-4F39-8C83-40D56780A4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EE808A18-70FE-DEF8-E6D2-29530301EDF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5360" y="2060575"/>
            <a:ext cx="2592288" cy="403225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03689BB-5D3D-4CA0-AB51-B4084500818D}"/>
              </a:ext>
            </a:extLst>
          </p:cNvPr>
          <p:cNvSpPr>
            <a:spLocks noGrp="1"/>
          </p:cNvSpPr>
          <p:nvPr>
            <p:ph idx="21" hasCustomPrompt="1"/>
          </p:nvPr>
        </p:nvSpPr>
        <p:spPr bwMode="gray">
          <a:xfrm>
            <a:off x="3503712" y="2060575"/>
            <a:ext cx="2592288" cy="403225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672263" y="2060575"/>
            <a:ext cx="5184775" cy="403225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0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8" y="6525000"/>
            <a:ext cx="9144512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3786BD5-22CA-99DE-9E0E-717C8157D8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 rtl="0">
              <a:defRPr/>
            </a:lvl1pPr>
          </a:lstStyle>
          <a:p>
            <a:fld id="{3AE7CC68-AE93-446C-8D25-4309545FCAF2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1ECC00D-5CF3-B203-FBF0-46A16B02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39BCCD-2AB5-4A2C-D8EC-2F02CB0424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9361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2" pos="211">
          <p15:clr>
            <a:srgbClr val="FBAE40"/>
          </p15:clr>
        </p15:guide>
        <p15:guide id="3" pos="3840">
          <p15:clr>
            <a:srgbClr val="FBAE40"/>
          </p15:clr>
        </p15:guide>
        <p15:guide id="4" pos="4203">
          <p15:clr>
            <a:srgbClr val="FBAE40"/>
          </p15:clr>
        </p15:guide>
        <p15:guide id="5" pos="7469">
          <p15:clr>
            <a:srgbClr val="FBAE40"/>
          </p15:clr>
        </p15:guide>
        <p15:guide id="6" orient="horz" pos="3838">
          <p15:clr>
            <a:srgbClr val="FBAE40"/>
          </p15:clr>
        </p15:guide>
        <p15:guide id="7" orient="horz" pos="93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B0795529-4D73-3332-2945-704225E049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60648"/>
            <a:ext cx="8063551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7" name="Subtitle"/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788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9" name="Source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98D2D80-83C7-C3BE-11DE-891FB4F740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DE93318-5236-4FEB-9F68-8BCB525EBB34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4FF2831-9930-617B-0107-D5E0273C47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4DE80F-7084-7C4F-A5DC-647F766EC0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17808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3838">
          <p15:clr>
            <a:srgbClr val="FBAE40"/>
          </p15:clr>
        </p15:guide>
        <p15:guide id="5" pos="211">
          <p15:clr>
            <a:srgbClr val="FBAE40"/>
          </p15:clr>
        </p15:guide>
        <p15:guide id="6" orient="horz" pos="1298">
          <p15:clr>
            <a:srgbClr val="FBAE40"/>
          </p15:clr>
        </p15:guide>
      </p15:sldGuideLst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5785D15-6A1B-487F-1634-78100DBAD3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6506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785D15-6A1B-487F-1634-78100DBAD3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Picture">
            <a:extLst>
              <a:ext uri="{FF2B5EF4-FFF2-40B4-BE49-F238E27FC236}">
                <a16:creationId xmlns:a16="http://schemas.microsoft.com/office/drawing/2014/main" id="{4A4DB585-6D1E-7B61-ADF1-62BBDEF4151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0" y="0"/>
            <a:ext cx="10704512" cy="6858000"/>
          </a:xfrm>
          <a:custGeom>
            <a:avLst/>
            <a:gdLst>
              <a:gd name="connsiteX0" fmla="*/ 0 w 10632504"/>
              <a:gd name="connsiteY0" fmla="*/ 0 h 6858000"/>
              <a:gd name="connsiteX1" fmla="*/ 10632504 w 10632504"/>
              <a:gd name="connsiteY1" fmla="*/ 0 h 6858000"/>
              <a:gd name="connsiteX2" fmla="*/ 10632504 w 10632504"/>
              <a:gd name="connsiteY2" fmla="*/ 6858000 h 6858000"/>
              <a:gd name="connsiteX3" fmla="*/ 0 w 1063250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632504" h="6858000">
                <a:moveTo>
                  <a:pt x="0" y="0"/>
                </a:moveTo>
                <a:lnTo>
                  <a:pt x="10632504" y="0"/>
                </a:lnTo>
                <a:lnTo>
                  <a:pt x="1063250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6D9DC"/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8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2" name="Content">
            <a:extLst>
              <a:ext uri="{FF2B5EF4-FFF2-40B4-BE49-F238E27FC236}">
                <a16:creationId xmlns:a16="http://schemas.microsoft.com/office/drawing/2014/main" id="{93536E9D-E5E2-4B0C-91F6-B80985E0540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11424" y="1484784"/>
            <a:ext cx="3455789" cy="2305961"/>
          </a:xfrm>
          <a:solidFill>
            <a:schemeClr val="bg1"/>
          </a:solidFill>
        </p:spPr>
        <p:txBody>
          <a:bodyPr wrap="square" lIns="216000" tIns="216000" rIns="216000" bIns="216000">
            <a:sp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  <a:endParaRPr lang="en-US" dirty="0"/>
          </a:p>
        </p:txBody>
      </p:sp>
      <p:sp>
        <p:nvSpPr>
          <p:cNvPr id="5" name="Shape">
            <a:extLst>
              <a:ext uri="{FF2B5EF4-FFF2-40B4-BE49-F238E27FC236}">
                <a16:creationId xmlns:a16="http://schemas.microsoft.com/office/drawing/2014/main" id="{3F86E13A-084F-ED45-B21A-6735204194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10848528" y="0"/>
            <a:ext cx="216024" cy="13414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en-US" sz="160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78EB467-3819-CE01-9D54-B8D7B7DF1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6A9F266E-84FC-43F2-9321-B86398D5610B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4C1F6D1-6F23-F489-09BB-6E7DCE86A7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BB33AB8-ED32-DEC4-5F38-F02D6AB1AE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09429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383BF9C-F30D-085B-3257-3867CEADD5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4551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83BF9C-F30D-085B-3257-3867CEADD5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">
            <a:extLst>
              <a:ext uri="{FF2B5EF4-FFF2-40B4-BE49-F238E27FC236}">
                <a16:creationId xmlns:a16="http://schemas.microsoft.com/office/drawing/2014/main" id="{F9147370-4CB5-4DED-AFC1-3924091C14B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" y="0"/>
            <a:ext cx="7824192" cy="6858000"/>
          </a:xfrm>
          <a:custGeom>
            <a:avLst/>
            <a:gdLst>
              <a:gd name="connsiteX0" fmla="*/ 0 w 8112125"/>
              <a:gd name="connsiteY0" fmla="*/ 0 h 6858000"/>
              <a:gd name="connsiteX1" fmla="*/ 8112125 w 8112125"/>
              <a:gd name="connsiteY1" fmla="*/ 0 h 6858000"/>
              <a:gd name="connsiteX2" fmla="*/ 8112125 w 8112125"/>
              <a:gd name="connsiteY2" fmla="*/ 6858000 h 6858000"/>
              <a:gd name="connsiteX3" fmla="*/ 0 w 811212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12125" h="6858000">
                <a:moveTo>
                  <a:pt x="0" y="0"/>
                </a:moveTo>
                <a:lnTo>
                  <a:pt x="8112125" y="0"/>
                </a:lnTo>
                <a:lnTo>
                  <a:pt x="811212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6D9DC"/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8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2" name="Content">
            <a:extLst>
              <a:ext uri="{FF2B5EF4-FFF2-40B4-BE49-F238E27FC236}">
                <a16:creationId xmlns:a16="http://schemas.microsoft.com/office/drawing/2014/main" id="{93536E9D-E5E2-4B0C-91F6-B80985E0540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400256" y="1484784"/>
            <a:ext cx="2880320" cy="4608512"/>
          </a:xfrm>
          <a:solidFill>
            <a:schemeClr val="bg1"/>
          </a:solidFill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13D68D4-6ACC-C20D-4759-F19E61D9AB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E45B979-FB31-4544-8231-F98C5E5EFDE6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D2D84D-6F02-C357-984C-E85E1F7C68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9F18E5F-9F75-692D-6F83-2EBE624C80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30358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98A0140-B63D-09DE-A68C-0FF77807E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0464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8A0140-B63D-09DE-A68C-0FF77807E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0EA33E6C-B6EA-4396-A2D1-BF412B2609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7CD28B2C-FBA7-17AC-27BC-DFDFAA1A2D2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5" name="Picture 1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35360" y="1484783"/>
            <a:ext cx="5184378" cy="4608041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9" name="Picture 2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095999" y="1484313"/>
            <a:ext cx="5184775" cy="4608512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6EC8BE7-F506-DD6E-D0BF-03869A5732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57933E13-3C9B-4EF6-A5F1-5698D11260BA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D5AFD17-3544-54BD-6CA6-E32063B705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ACBA8D8-2C91-A9DC-0C32-8D2C0EAABE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31224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838">
          <p15:clr>
            <a:srgbClr val="FBAE40"/>
          </p15:clr>
        </p15:guide>
        <p15:guide id="3" pos="3840">
          <p15:clr>
            <a:srgbClr val="FBAE40"/>
          </p15:clr>
        </p15:guide>
        <p15:guide id="4" pos="3477">
          <p15:clr>
            <a:srgbClr val="FBAE40"/>
          </p15:clr>
        </p15:guide>
        <p15:guide id="5" pos="211">
          <p15:clr>
            <a:srgbClr val="FBAE40"/>
          </p15:clr>
        </p15:guide>
        <p15:guide id="6" pos="7106">
          <p15:clr>
            <a:srgbClr val="FBAE40"/>
          </p15:clr>
        </p15:guide>
      </p15:sldGuideLst>
    </p:ext>
  </p:extLs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&amp;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DFD92165-EAF2-574C-2721-CA2EA0F0BA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8546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D92165-EAF2-574C-2721-CA2EA0F0BA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0EA33E6C-B6EA-4396-A2D1-BF412B2609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913BB0AF-B044-78B3-50A8-2B3BCC5A4AD1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5" name="Picture 1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35360" y="1484784"/>
            <a:ext cx="3456384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Content 1">
            <a:extLst>
              <a:ext uri="{FF2B5EF4-FFF2-40B4-BE49-F238E27FC236}">
                <a16:creationId xmlns:a16="http://schemas.microsoft.com/office/drawing/2014/main" id="{06A67EB1-7EE7-45D3-A94D-6EA201E90CF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34964" y="3789363"/>
            <a:ext cx="3456780" cy="2303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  <a:endParaRPr lang="en-US" dirty="0"/>
          </a:p>
        </p:txBody>
      </p:sp>
      <p:sp>
        <p:nvSpPr>
          <p:cNvPr id="9" name="Picture 2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367808" y="1484784"/>
            <a:ext cx="3456384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2" name="Content 2">
            <a:extLst>
              <a:ext uri="{FF2B5EF4-FFF2-40B4-BE49-F238E27FC236}">
                <a16:creationId xmlns:a16="http://schemas.microsoft.com/office/drawing/2014/main" id="{C35DD715-4BC4-4F30-A849-B8E23CA41DB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367213" y="3789363"/>
            <a:ext cx="3457575" cy="2303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  <a:endParaRPr lang="en-US" dirty="0"/>
          </a:p>
        </p:txBody>
      </p:sp>
      <p:sp>
        <p:nvSpPr>
          <p:cNvPr id="10" name="Picture 3">
            <a:extLst>
              <a:ext uri="{FF2B5EF4-FFF2-40B4-BE49-F238E27FC236}">
                <a16:creationId xmlns:a16="http://schemas.microsoft.com/office/drawing/2014/main" id="{13F83B90-1053-4BAE-A04B-E97DF0BCFAD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8400256" y="1484784"/>
            <a:ext cx="3456384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3" name="Content 3">
            <a:extLst>
              <a:ext uri="{FF2B5EF4-FFF2-40B4-BE49-F238E27FC236}">
                <a16:creationId xmlns:a16="http://schemas.microsoft.com/office/drawing/2014/main" id="{312C35B1-615F-427F-BBA3-DA904C08CA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400256" y="3789363"/>
            <a:ext cx="3456384" cy="2303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  <a:endParaRPr lang="en-US" dirty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4E386D9-C434-65C3-CE3E-5CD1C1ECED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>
            <a:lvl1pPr rtl="0">
              <a:defRPr/>
            </a:lvl1pPr>
          </a:lstStyle>
          <a:p>
            <a:fld id="{7706AF2B-8B92-4B39-A293-A477DA953158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83C618C-9D8F-7DC3-186F-2EAA8F41FD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CF80E59-E563-C03E-500C-5F125399B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09467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211">
          <p15:clr>
            <a:srgbClr val="FBAE40"/>
          </p15:clr>
        </p15:guide>
        <p15:guide id="5" pos="5292">
          <p15:clr>
            <a:srgbClr val="FBAE40"/>
          </p15:clr>
        </p15:guide>
        <p15:guide id="6" pos="4929">
          <p15:clr>
            <a:srgbClr val="FBAE40"/>
          </p15:clr>
        </p15:guide>
        <p15:guide id="7" pos="7469">
          <p15:clr>
            <a:srgbClr val="FBAE40"/>
          </p15:clr>
        </p15:guide>
        <p15:guide id="8" orient="horz" pos="2205">
          <p15:clr>
            <a:srgbClr val="FBAE40"/>
          </p15:clr>
        </p15:guide>
        <p15:guide id="9" orient="horz" pos="2387">
          <p15:clr>
            <a:srgbClr val="FBAE40"/>
          </p15:clr>
        </p15:guide>
        <p15:guide id="10" orient="horz" pos="3838">
          <p15:clr>
            <a:srgbClr val="FBAE40"/>
          </p15:clr>
        </p15:guide>
        <p15:guide id="11" pos="2389">
          <p15:clr>
            <a:srgbClr val="FBAE40"/>
          </p15:clr>
        </p15:guide>
        <p15:guide id="12" pos="2751">
          <p15:clr>
            <a:srgbClr val="FBAE40"/>
          </p15:clr>
        </p15:guide>
      </p15:sldGuideLst>
    </p:ext>
  </p:extLs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 &amp;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C3551477-0CD1-9A8D-28A4-EB1BB16AE9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1027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551477-0CD1-9A8D-28A4-EB1BB16AE9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0EA33E6C-B6EA-4396-A2D1-BF412B2609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1507B77C-0D2E-12CE-1939-1BE789001261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5" name="Picture 1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35360" y="1484883"/>
            <a:ext cx="2304000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Content 1">
            <a:extLst>
              <a:ext uri="{FF2B5EF4-FFF2-40B4-BE49-F238E27FC236}">
                <a16:creationId xmlns:a16="http://schemas.microsoft.com/office/drawing/2014/main" id="{06A67EB1-7EE7-45D3-A94D-6EA201E90CF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35616" y="3789039"/>
            <a:ext cx="2304000" cy="2303785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  <a:endParaRPr lang="en-US" dirty="0"/>
          </a:p>
        </p:txBody>
      </p:sp>
      <p:sp>
        <p:nvSpPr>
          <p:cNvPr id="9" name="Picture 2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215936" y="1484556"/>
            <a:ext cx="2304000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2" name="Content 2">
            <a:extLst>
              <a:ext uri="{FF2B5EF4-FFF2-40B4-BE49-F238E27FC236}">
                <a16:creationId xmlns:a16="http://schemas.microsoft.com/office/drawing/2014/main" id="{C35DD715-4BC4-4F30-A849-B8E23CA41DB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215680" y="3789239"/>
            <a:ext cx="2304000" cy="2303586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  <a:endParaRPr lang="en-US" dirty="0"/>
          </a:p>
        </p:txBody>
      </p:sp>
      <p:sp>
        <p:nvSpPr>
          <p:cNvPr id="10" name="Picture 3">
            <a:extLst>
              <a:ext uri="{FF2B5EF4-FFF2-40B4-BE49-F238E27FC236}">
                <a16:creationId xmlns:a16="http://schemas.microsoft.com/office/drawing/2014/main" id="{13F83B90-1053-4BAE-A04B-E97DF0BCFAD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096000" y="1484556"/>
            <a:ext cx="2304000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3" name="Content 3">
            <a:extLst>
              <a:ext uri="{FF2B5EF4-FFF2-40B4-BE49-F238E27FC236}">
                <a16:creationId xmlns:a16="http://schemas.microsoft.com/office/drawing/2014/main" id="{312C35B1-615F-427F-BBA3-DA904C08CA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096000" y="3789437"/>
            <a:ext cx="2304000" cy="2303387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  <a:endParaRPr lang="en-US" sz="1600" dirty="0"/>
          </a:p>
        </p:txBody>
      </p:sp>
      <p:sp>
        <p:nvSpPr>
          <p:cNvPr id="15" name="Picture 4">
            <a:extLst>
              <a:ext uri="{FF2B5EF4-FFF2-40B4-BE49-F238E27FC236}">
                <a16:creationId xmlns:a16="http://schemas.microsoft.com/office/drawing/2014/main" id="{66D73E2B-B33B-41C2-A349-344B52ABB4F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8976320" y="1484556"/>
            <a:ext cx="2304000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6" name="Content 4">
            <a:extLst>
              <a:ext uri="{FF2B5EF4-FFF2-40B4-BE49-F238E27FC236}">
                <a16:creationId xmlns:a16="http://schemas.microsoft.com/office/drawing/2014/main" id="{6CA8DE4A-220D-4F9A-90B4-B0BB300CB3D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8976320" y="3789437"/>
            <a:ext cx="2304000" cy="2303387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  <a:endParaRPr lang="en-US" dirty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E647764-8CCE-C554-1F25-EEEE0F5D96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>
            <a:lvl1pPr rtl="0">
              <a:defRPr/>
            </a:lvl1pPr>
          </a:lstStyle>
          <a:p>
            <a:fld id="{974118DD-53CC-4B59-B461-BE93352D0430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488AB02-059F-77D0-CA70-E32FA49AB6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EE24804-CB38-11A2-FCB9-F55C4EE010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8598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4" orient="horz" pos="2387">
          <p15:clr>
            <a:srgbClr val="FBAE40"/>
          </p15:clr>
        </p15:guide>
        <p15:guide id="5" orient="horz" pos="3838">
          <p15:clr>
            <a:srgbClr val="FBAE40"/>
          </p15:clr>
        </p15:guide>
        <p15:guide id="6" pos="211">
          <p15:clr>
            <a:srgbClr val="FBAE40"/>
          </p15:clr>
        </p15:guide>
        <p15:guide id="7" pos="7106">
          <p15:clr>
            <a:srgbClr val="FBAE40"/>
          </p15:clr>
        </p15:guide>
        <p15:guide id="8" pos="1663">
          <p15:clr>
            <a:srgbClr val="FBAE40"/>
          </p15:clr>
        </p15:guide>
        <p15:guide id="9" orient="horz" pos="2205">
          <p15:clr>
            <a:srgbClr val="FBAE40"/>
          </p15:clr>
        </p15:guide>
        <p15:guide id="10" pos="2026">
          <p15:clr>
            <a:srgbClr val="FBAE40"/>
          </p15:clr>
        </p15:guide>
        <p15:guide id="11" pos="3477">
          <p15:clr>
            <a:srgbClr val="FBAE40"/>
          </p15:clr>
        </p15:guide>
        <p15:guide id="12" pos="3840">
          <p15:clr>
            <a:srgbClr val="FBAE40"/>
          </p15:clr>
        </p15:guide>
        <p15:guide id="13" pos="5292">
          <p15:clr>
            <a:srgbClr val="FBAE40"/>
          </p15:clr>
        </p15:guide>
        <p15:guide id="14" pos="5654">
          <p15:clr>
            <a:srgbClr val="FBAE40"/>
          </p15:clr>
        </p15:guide>
      </p15:sldGuideLst>
    </p:ext>
  </p:extLs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 &amp; contents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25E18911-C7D6-9AC6-1187-5C25A8E0A4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9102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E18911-C7D6-9AC6-1187-5C25A8E0A4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0EA33E6C-B6EA-4396-A2D1-BF412B2609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8C3CA226-0D3A-7FCE-3A80-9AA57B3A41C9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5" name="Picture 1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35360" y="1485111"/>
            <a:ext cx="2304312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Content 1">
            <a:extLst>
              <a:ext uri="{FF2B5EF4-FFF2-40B4-BE49-F238E27FC236}">
                <a16:creationId xmlns:a16="http://schemas.microsoft.com/office/drawing/2014/main" id="{06A67EB1-7EE7-45D3-A94D-6EA201E90CF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2927648" y="1484784"/>
            <a:ext cx="2592090" cy="201572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  <a:endParaRPr lang="en-US" dirty="0"/>
          </a:p>
        </p:txBody>
      </p:sp>
      <p:sp>
        <p:nvSpPr>
          <p:cNvPr id="9" name="Picture 2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35360" y="4077072"/>
            <a:ext cx="2304312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2" name="Content 2">
            <a:extLst>
              <a:ext uri="{FF2B5EF4-FFF2-40B4-BE49-F238E27FC236}">
                <a16:creationId xmlns:a16="http://schemas.microsoft.com/office/drawing/2014/main" id="{C35DD715-4BC4-4F30-A849-B8E23CA41DB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2927936" y="4077273"/>
            <a:ext cx="2592000" cy="201572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  <a:endParaRPr lang="en-US" dirty="0"/>
          </a:p>
        </p:txBody>
      </p:sp>
      <p:sp>
        <p:nvSpPr>
          <p:cNvPr id="10" name="Picture3">
            <a:extLst>
              <a:ext uri="{FF2B5EF4-FFF2-40B4-BE49-F238E27FC236}">
                <a16:creationId xmlns:a16="http://schemas.microsoft.com/office/drawing/2014/main" id="{13F83B90-1053-4BAE-A04B-E97DF0BCFAD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096000" y="1484784"/>
            <a:ext cx="2304312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3" name="Content 3">
            <a:extLst>
              <a:ext uri="{FF2B5EF4-FFF2-40B4-BE49-F238E27FC236}">
                <a16:creationId xmlns:a16="http://schemas.microsoft.com/office/drawing/2014/main" id="{312C35B1-615F-427F-BBA3-DA904C08CA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688576" y="1484784"/>
            <a:ext cx="2592000" cy="201572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  <a:endParaRPr lang="en-US" dirty="0"/>
          </a:p>
        </p:txBody>
      </p:sp>
      <p:sp>
        <p:nvSpPr>
          <p:cNvPr id="15" name="Picture 4">
            <a:extLst>
              <a:ext uri="{FF2B5EF4-FFF2-40B4-BE49-F238E27FC236}">
                <a16:creationId xmlns:a16="http://schemas.microsoft.com/office/drawing/2014/main" id="{66D73E2B-B33B-41C2-A349-344B52ABB4F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096000" y="4089172"/>
            <a:ext cx="2304312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6" name="Content 4">
            <a:extLst>
              <a:ext uri="{FF2B5EF4-FFF2-40B4-BE49-F238E27FC236}">
                <a16:creationId xmlns:a16="http://schemas.microsoft.com/office/drawing/2014/main" id="{6CA8DE4A-220D-4F9A-90B4-B0BB300CB3D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8688576" y="4077072"/>
            <a:ext cx="2592000" cy="201572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  <a:endParaRPr lang="en-US" dirty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0800896-A343-85C0-41B8-D38B9CF988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>
            <a:lvl1pPr rtl="0">
              <a:defRPr/>
            </a:lvl1pPr>
          </a:lstStyle>
          <a:p>
            <a:fld id="{6FCDF597-C84A-4D1D-BE20-65C297D7131C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6CD4FCA-BFF1-7819-C4DB-F0B56CE7FA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9EF8F54-B891-4074-416C-767E36E5FE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7955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211">
          <p15:clr>
            <a:srgbClr val="FBAE40"/>
          </p15:clr>
        </p15:guide>
        <p15:guide id="5" pos="7106">
          <p15:clr>
            <a:srgbClr val="FBAE40"/>
          </p15:clr>
        </p15:guide>
        <p15:guide id="6" orient="horz" pos="2205">
          <p15:clr>
            <a:srgbClr val="FBAE40"/>
          </p15:clr>
        </p15:guide>
        <p15:guide id="7" orient="horz" pos="2568">
          <p15:clr>
            <a:srgbClr val="FBAE40"/>
          </p15:clr>
        </p15:guide>
        <p15:guide id="8" orient="horz" pos="3838">
          <p15:clr>
            <a:srgbClr val="FBAE40"/>
          </p15:clr>
        </p15:guide>
        <p15:guide id="9" pos="3477">
          <p15:clr>
            <a:srgbClr val="FBAE40"/>
          </p15:clr>
        </p15:guide>
        <p15:guide id="10" pos="3840">
          <p15:clr>
            <a:srgbClr val="FBAE40"/>
          </p15:clr>
        </p15:guide>
      </p15:sldGuideLst>
    </p:ext>
  </p:extLs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Diagrams &amp;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A8807EC-A82D-516D-8315-24C84C4239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0632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8807EC-A82D-516D-8315-24C84C4239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0EA33E6C-B6EA-4396-A2D1-BF412B2609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9249E29B-4214-E23A-46E7-5147331FCB39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8" name="Diagram 1">
            <a:extLst>
              <a:ext uri="{FF2B5EF4-FFF2-40B4-BE49-F238E27FC236}">
                <a16:creationId xmlns:a16="http://schemas.microsoft.com/office/drawing/2014/main" id="{3C03ED19-FCCA-4F93-A27B-CE2D505869A8}"/>
              </a:ext>
            </a:extLst>
          </p:cNvPr>
          <p:cNvSpPr>
            <a:spLocks noGrp="1"/>
          </p:cNvSpPr>
          <p:nvPr>
            <p:ph type="chart" sz="quarter" idx="28" hasCustomPrompt="1"/>
          </p:nvPr>
        </p:nvSpPr>
        <p:spPr bwMode="gray">
          <a:xfrm>
            <a:off x="335360" y="1486098"/>
            <a:ext cx="2304000" cy="201612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Content 1">
            <a:extLst>
              <a:ext uri="{FF2B5EF4-FFF2-40B4-BE49-F238E27FC236}">
                <a16:creationId xmlns:a16="http://schemas.microsoft.com/office/drawing/2014/main" id="{06A67EB1-7EE7-45D3-A94D-6EA201E90CF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35360" y="3789039"/>
            <a:ext cx="2304000" cy="230378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  <a:endParaRPr lang="en-US" dirty="0"/>
          </a:p>
        </p:txBody>
      </p:sp>
      <p:sp>
        <p:nvSpPr>
          <p:cNvPr id="17" name="Diagram 2">
            <a:extLst>
              <a:ext uri="{FF2B5EF4-FFF2-40B4-BE49-F238E27FC236}">
                <a16:creationId xmlns:a16="http://schemas.microsoft.com/office/drawing/2014/main" id="{D1A80D6A-DCC1-4500-888C-4F1A24AABF4F}"/>
              </a:ext>
            </a:extLst>
          </p:cNvPr>
          <p:cNvSpPr>
            <a:spLocks noGrp="1"/>
          </p:cNvSpPr>
          <p:nvPr>
            <p:ph type="chart" sz="quarter" idx="29" hasCustomPrompt="1"/>
          </p:nvPr>
        </p:nvSpPr>
        <p:spPr bwMode="gray">
          <a:xfrm>
            <a:off x="3215680" y="1485660"/>
            <a:ext cx="2304000" cy="201612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2" name="Content 2">
            <a:extLst>
              <a:ext uri="{FF2B5EF4-FFF2-40B4-BE49-F238E27FC236}">
                <a16:creationId xmlns:a16="http://schemas.microsoft.com/office/drawing/2014/main" id="{C35DD715-4BC4-4F30-A849-B8E23CA41DB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215680" y="3789040"/>
            <a:ext cx="2304000" cy="230378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  <a:endParaRPr lang="en-US" dirty="0"/>
          </a:p>
        </p:txBody>
      </p:sp>
      <p:sp>
        <p:nvSpPr>
          <p:cNvPr id="18" name="Diagram 3">
            <a:extLst>
              <a:ext uri="{FF2B5EF4-FFF2-40B4-BE49-F238E27FC236}">
                <a16:creationId xmlns:a16="http://schemas.microsoft.com/office/drawing/2014/main" id="{021B7AD0-D310-4069-ACD1-90BD901B155A}"/>
              </a:ext>
            </a:extLst>
          </p:cNvPr>
          <p:cNvSpPr>
            <a:spLocks noGrp="1"/>
          </p:cNvSpPr>
          <p:nvPr>
            <p:ph type="chart" sz="quarter" idx="30" hasCustomPrompt="1"/>
          </p:nvPr>
        </p:nvSpPr>
        <p:spPr bwMode="gray">
          <a:xfrm>
            <a:off x="6096000" y="1485222"/>
            <a:ext cx="2304000" cy="201612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3" name="Content 3">
            <a:extLst>
              <a:ext uri="{FF2B5EF4-FFF2-40B4-BE49-F238E27FC236}">
                <a16:creationId xmlns:a16="http://schemas.microsoft.com/office/drawing/2014/main" id="{312C35B1-615F-427F-BBA3-DA904C08CA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096168" y="3789040"/>
            <a:ext cx="2304000" cy="230378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  <a:endParaRPr lang="en-US" dirty="0"/>
          </a:p>
        </p:txBody>
      </p:sp>
      <p:sp>
        <p:nvSpPr>
          <p:cNvPr id="19" name="Diagram 5">
            <a:extLst>
              <a:ext uri="{FF2B5EF4-FFF2-40B4-BE49-F238E27FC236}">
                <a16:creationId xmlns:a16="http://schemas.microsoft.com/office/drawing/2014/main" id="{2857BF4C-3473-4E27-93FF-E487BE286E40}"/>
              </a:ext>
            </a:extLst>
          </p:cNvPr>
          <p:cNvSpPr>
            <a:spLocks noGrp="1"/>
          </p:cNvSpPr>
          <p:nvPr>
            <p:ph type="chart" sz="quarter" idx="31" hasCustomPrompt="1"/>
          </p:nvPr>
        </p:nvSpPr>
        <p:spPr bwMode="gray">
          <a:xfrm>
            <a:off x="8976576" y="1484784"/>
            <a:ext cx="2304000" cy="201612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6" name="Content 4">
            <a:extLst>
              <a:ext uri="{FF2B5EF4-FFF2-40B4-BE49-F238E27FC236}">
                <a16:creationId xmlns:a16="http://schemas.microsoft.com/office/drawing/2014/main" id="{6CA8DE4A-220D-4F9A-90B4-B0BB300CB3D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8976576" y="3789040"/>
            <a:ext cx="2304000" cy="230378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  <a:endParaRPr lang="en-US" dirty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AD73A62-5F93-5692-4019-B4CB93AE59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DAD5CD45-0FD2-46DF-8449-7526BC8224B8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AEF68D-D7DA-91EF-710C-3A139E3935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964B93-1B38-7930-9F7E-426900F171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43591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3" orient="horz" pos="2205">
          <p15:clr>
            <a:srgbClr val="FBAE40"/>
          </p15:clr>
        </p15:guide>
        <p15:guide id="4" orient="horz" pos="2387">
          <p15:clr>
            <a:srgbClr val="FBAE40"/>
          </p15:clr>
        </p15:guide>
        <p15:guide id="5" orient="horz" pos="3838">
          <p15:clr>
            <a:srgbClr val="FBAE40"/>
          </p15:clr>
        </p15:guide>
        <p15:guide id="6" pos="211">
          <p15:clr>
            <a:srgbClr val="FBAE40"/>
          </p15:clr>
        </p15:guide>
        <p15:guide id="7" pos="7106">
          <p15:clr>
            <a:srgbClr val="FBAE40"/>
          </p15:clr>
        </p15:guide>
        <p15:guide id="8" pos="1663">
          <p15:clr>
            <a:srgbClr val="FBAE40"/>
          </p15:clr>
        </p15:guide>
        <p15:guide id="9" pos="2026">
          <p15:clr>
            <a:srgbClr val="FBAE40"/>
          </p15:clr>
        </p15:guide>
        <p15:guide id="10" pos="3477">
          <p15:clr>
            <a:srgbClr val="FBAE40"/>
          </p15:clr>
        </p15:guide>
        <p15:guide id="11" pos="3840">
          <p15:clr>
            <a:srgbClr val="FBAE40"/>
          </p15:clr>
        </p15:guide>
        <p15:guide id="12" pos="5292">
          <p15:clr>
            <a:srgbClr val="FBAE40"/>
          </p15:clr>
        </p15:guide>
        <p15:guide id="13" pos="5654">
          <p15:clr>
            <a:srgbClr val="FBAE40"/>
          </p15:clr>
        </p15:guide>
      </p15:sldGuideLst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DA45901-C332-0DFB-DF1F-058DE29BD3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115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A45901-C332-0DFB-DF1F-058DE29BD3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B323AA85-A1CF-4FE7-8932-7304C7420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C5A673E7-146B-0F2F-21E1-617457FA7BA1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5360" y="2061045"/>
            <a:ext cx="5184378" cy="4032251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 hasCustomPrompt="1"/>
          </p:nvPr>
        </p:nvSpPr>
        <p:spPr bwMode="gray">
          <a:xfrm>
            <a:off x="6094935" y="2061045"/>
            <a:ext cx="5184378" cy="4032251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8" y="6525000"/>
            <a:ext cx="9143999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6D14CB0-8393-5DC6-F9B0-16524D8197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rtl="0">
              <a:defRPr/>
            </a:lvl1pPr>
          </a:lstStyle>
          <a:p>
            <a:fld id="{76B7B76E-9108-4227-8B92-7446D43FB2B7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8C971C8-8A05-00F1-F73B-B86674EA52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80422B2-3883-8096-897A-4E9981BBD9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9105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2" pos="3840">
          <p15:clr>
            <a:srgbClr val="FBAE40"/>
          </p15:clr>
        </p15:guide>
        <p15:guide id="3" pos="3477">
          <p15:clr>
            <a:srgbClr val="FBAE40"/>
          </p15:clr>
        </p15:guide>
        <p15:guide id="4" pos="7106">
          <p15:clr>
            <a:srgbClr val="FBAE40"/>
          </p15:clr>
        </p15:guide>
        <p15:guide id="5" pos="211">
          <p15:clr>
            <a:srgbClr val="FBAE40"/>
          </p15:clr>
        </p15:guide>
        <p15:guide id="6" orient="horz" pos="3838">
          <p15:clr>
            <a:srgbClr val="FBAE40"/>
          </p15:clr>
        </p15:guide>
      </p15:sldGuideLst>
    </p:ext>
  </p:extLs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893E7E0-7CEA-3EF6-2852-B078FAE87B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1871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93E7E0-7CEA-3EF6-2852-B078FAE87B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FCA3E486-0EBD-4776-BA1F-112C5185C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C0EA9C1E-5D6B-17C9-7981-2D7528C3C02A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5360" y="2061045"/>
            <a:ext cx="3456000" cy="4032251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 hasCustomPrompt="1"/>
          </p:nvPr>
        </p:nvSpPr>
        <p:spPr bwMode="gray">
          <a:xfrm>
            <a:off x="4368192" y="2061045"/>
            <a:ext cx="3456000" cy="4032251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8400256" y="2061045"/>
            <a:ext cx="3456000" cy="4032251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12" name="Source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C3FE5F1-47BB-D5FE-BA8D-1A7CA9233C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0D2BE7B7-863E-4694-A1A2-4615C808F717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FA3B5FF-F94F-B68A-7BB4-B7A715EFF2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94CF1FC-3864-67F0-6544-6A9113A4C4A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875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2" pos="211">
          <p15:clr>
            <a:srgbClr val="FBAE40"/>
          </p15:clr>
        </p15:guide>
        <p15:guide id="3" pos="2751">
          <p15:clr>
            <a:srgbClr val="FBAE40"/>
          </p15:clr>
        </p15:guide>
        <p15:guide id="4" pos="2389">
          <p15:clr>
            <a:srgbClr val="FBAE40"/>
          </p15:clr>
        </p15:guide>
        <p15:guide id="5" pos="5292">
          <p15:clr>
            <a:srgbClr val="FBAE40"/>
          </p15:clr>
        </p15:guide>
        <p15:guide id="6" pos="4929">
          <p15:clr>
            <a:srgbClr val="FBAE40"/>
          </p15:clr>
        </p15:guide>
        <p15:guide id="7" pos="7469">
          <p15:clr>
            <a:srgbClr val="FBAE40"/>
          </p15:clr>
        </p15:guide>
        <p15:guide id="8" orient="horz" pos="3838">
          <p15:clr>
            <a:srgbClr val="FBAE40"/>
          </p15:clr>
        </p15:guide>
      </p15:sldGuideLst>
    </p:ext>
  </p:extLs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E5CF8C3-597A-75AC-834C-564A1A2420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7373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5CF8C3-597A-75AC-834C-564A1A2420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9C3F806D-AD62-4FAF-ACF7-4E654593A0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71ECE885-C792-1197-23E7-87F3EA82962F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5360" y="2061045"/>
            <a:ext cx="2304000" cy="403225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 hasCustomPrompt="1"/>
          </p:nvPr>
        </p:nvSpPr>
        <p:spPr bwMode="gray">
          <a:xfrm>
            <a:off x="3215680" y="2061046"/>
            <a:ext cx="2304000" cy="403225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096000" y="2061046"/>
            <a:ext cx="2304000" cy="4032249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76576" y="2061046"/>
            <a:ext cx="2304000" cy="403225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12" name="Source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E393A0D-4EED-300B-CF2D-381E4CDFC0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 rtl="0">
              <a:defRPr/>
            </a:lvl1pPr>
          </a:lstStyle>
          <a:p>
            <a:fld id="{F684B13E-4096-4489-96A6-EDDAB9EC1802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D2C5886-1FC3-743A-7B19-09B60A2E70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9455AF0-9100-7C20-4C99-B5582D5834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9175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2" pos="211">
          <p15:clr>
            <a:srgbClr val="FBAE40"/>
          </p15:clr>
        </p15:guide>
        <p15:guide id="3" pos="7106">
          <p15:clr>
            <a:srgbClr val="FBAE40"/>
          </p15:clr>
        </p15:guide>
        <p15:guide id="4" orient="horz" pos="3838">
          <p15:clr>
            <a:srgbClr val="FBAE40"/>
          </p15:clr>
        </p15:guide>
        <p15:guide id="5" pos="5654">
          <p15:clr>
            <a:srgbClr val="FBAE40"/>
          </p15:clr>
        </p15:guide>
        <p15:guide id="6" pos="5292">
          <p15:clr>
            <a:srgbClr val="FBAE40"/>
          </p15:clr>
        </p15:guide>
        <p15:guide id="7" pos="3840">
          <p15:clr>
            <a:srgbClr val="FBAE40"/>
          </p15:clr>
        </p15:guide>
        <p15:guide id="8" pos="3477">
          <p15:clr>
            <a:srgbClr val="FBAE40"/>
          </p15:clr>
        </p15:guide>
        <p15:guide id="9" pos="2026">
          <p15:clr>
            <a:srgbClr val="FBAE40"/>
          </p15:clr>
        </p15:guide>
        <p15:guide id="10" pos="1663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CF5EDE16-5B1A-4150-90CB-D4C4142476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96F545AC-9767-C3A9-8852-5B3F117FB099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1" y="658788"/>
            <a:ext cx="8064895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4962" y="2060575"/>
            <a:ext cx="10369549" cy="403225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5" name="Source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313E8EF-477B-829C-E76D-82E935EA0F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AD36723-66E7-4B35-9A79-32C73706DF9F}" type="datetime1">
              <a:rPr lang="en-GB" smtClean="0"/>
              <a:t>12/02/2026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99F21F9-7E82-D3A4-D13F-25045FB168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069B29-DDCD-4764-6C0C-2E75AC2884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0620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3" pos="6743">
          <p15:clr>
            <a:srgbClr val="FBAE40"/>
          </p15:clr>
        </p15:guide>
        <p15:guide id="4" orient="horz" pos="3838">
          <p15:clr>
            <a:srgbClr val="FBAE40"/>
          </p15:clr>
        </p15:guide>
        <p15:guide id="5" pos="211">
          <p15:clr>
            <a:srgbClr val="FBAE40"/>
          </p15:clr>
        </p15:guide>
        <p15:guide id="6" orient="horz" pos="935">
          <p15:clr>
            <a:srgbClr val="FBAE40"/>
          </p15:clr>
        </p15:guide>
        <p15:guide id="7" pos="7469">
          <p15:clr>
            <a:srgbClr val="FBAE40"/>
          </p15:clr>
        </p15:guide>
      </p15:sldGuideLst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F3B2732-50DB-C050-C44C-8E36303CDC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0436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3B2732-50DB-C050-C44C-8E36303CD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456C613C-8B12-41CF-B6EE-ED0A598357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C39EBC16-06C0-C9BF-3775-6257BE716204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5360" y="1484784"/>
            <a:ext cx="5184378" cy="201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 hasCustomPrompt="1"/>
          </p:nvPr>
        </p:nvSpPr>
        <p:spPr bwMode="gray">
          <a:xfrm>
            <a:off x="6095999" y="1484785"/>
            <a:ext cx="5184775" cy="201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335360" y="4077073"/>
            <a:ext cx="5184378" cy="201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095999" y="4077072"/>
            <a:ext cx="5184775" cy="201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  <a:endParaRPr lang="en-US" dirty="0"/>
          </a:p>
        </p:txBody>
      </p:sp>
      <p:sp>
        <p:nvSpPr>
          <p:cNvPr id="12" name="Source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487488" y="6525000"/>
            <a:ext cx="9144512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9662A98-E78E-B372-BD2D-55903C8F02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 rtl="0">
              <a:defRPr/>
            </a:lvl1pPr>
          </a:lstStyle>
          <a:p>
            <a:fld id="{B6BB87FB-332F-474C-AFF2-0DFD16422F69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20C0625-3AC3-CF81-145A-854DCB935E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82B4419-65DF-2B9C-E379-BD3D2DA807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79606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2" pos="211">
          <p15:clr>
            <a:srgbClr val="FBAE40"/>
          </p15:clr>
        </p15:guide>
        <p15:guide id="3" pos="3840">
          <p15:clr>
            <a:srgbClr val="FBAE40"/>
          </p15:clr>
        </p15:guide>
        <p15:guide id="4" pos="3477">
          <p15:clr>
            <a:srgbClr val="FBAE40"/>
          </p15:clr>
        </p15:guide>
        <p15:guide id="5" pos="7106">
          <p15:clr>
            <a:srgbClr val="FBAE40"/>
          </p15:clr>
        </p15:guide>
        <p15:guide id="6" orient="horz" pos="3838">
          <p15:clr>
            <a:srgbClr val="FBAE40"/>
          </p15:clr>
        </p15:guide>
      </p15:sldGuideLst>
    </p:ext>
  </p:extLs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harts and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16EDF778-4D63-104E-EAFA-8632E292D2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1801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EDF778-4D63-104E-EAFA-8632E292D2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F814CA5C-4F72-4D7A-9378-F25AAE1E19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446639C3-1ED9-85F5-C8DE-074963D1BDE1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3" name="Diagram"/>
          <p:cNvSpPr>
            <a:spLocks noGrp="1"/>
          </p:cNvSpPr>
          <p:nvPr>
            <p:ph idx="1" hasCustomPrompt="1"/>
          </p:nvPr>
        </p:nvSpPr>
        <p:spPr bwMode="gray">
          <a:xfrm>
            <a:off x="335360" y="2060848"/>
            <a:ext cx="11521678" cy="4032251"/>
          </a:xfrm>
          <a:prstGeom prst="rect">
            <a:avLst/>
          </a:prstGeom>
        </p:spPr>
        <p:txBody>
          <a:bodyPr anchor="t"/>
          <a:lstStyle>
            <a:lvl1pPr marL="0" indent="0" algn="ctr" rtl="0">
              <a:spcBef>
                <a:spcPts val="1000"/>
              </a:spcBef>
              <a:buNone/>
              <a:defRPr sz="1600" baseline="0"/>
            </a:lvl1pPr>
            <a:lvl2pPr marL="0" indent="0">
              <a:spcBef>
                <a:spcPts val="1000"/>
              </a:spcBef>
              <a:buNone/>
              <a:defRPr sz="2800"/>
            </a:lvl2pPr>
            <a:lvl3pPr marL="0" indent="0">
              <a:spcBef>
                <a:spcPts val="1000"/>
              </a:spcBef>
              <a:buNone/>
              <a:defRPr sz="2800"/>
            </a:lvl3pPr>
            <a:lvl4pPr>
              <a:spcBef>
                <a:spcPts val="1000"/>
              </a:spcBef>
              <a:buNone/>
              <a:defRPr sz="2800"/>
            </a:lvl4pPr>
            <a:lvl5pPr marL="0" indent="0">
              <a:spcBef>
                <a:spcPts val="1000"/>
              </a:spcBef>
              <a:buNone/>
              <a:defRPr sz="2800"/>
            </a:lvl5pPr>
          </a:lstStyle>
          <a:p>
            <a:pPr lvl="0"/>
            <a:r>
              <a:rPr lang="en-US"/>
              <a:t>Use this layout for large charts and tables only. Please, do not use with text.</a:t>
            </a:r>
            <a:endParaRPr lang="en-US" dirty="0"/>
          </a:p>
        </p:txBody>
      </p:sp>
      <p:sp>
        <p:nvSpPr>
          <p:cNvPr id="9" name="Source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479BDE-F217-1606-121A-A2C6BD914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42C48769-5C1A-4A8F-86DE-10B479FE779E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189551-0F6F-E8BD-F9C9-6A15D13C0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42622DE-33D2-2BA8-3111-512A69FAFF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40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69">
          <p15:clr>
            <a:srgbClr val="FBAE40"/>
          </p15:clr>
        </p15:guide>
        <p15:guide id="4" orient="horz" pos="1298">
          <p15:clr>
            <a:srgbClr val="FBAE40"/>
          </p15:clr>
        </p15:guide>
        <p15:guide id="5" orient="horz" pos="3838">
          <p15:clr>
            <a:srgbClr val="FBAE40"/>
          </p15:clr>
        </p15:guide>
        <p15:guide id="6" pos="211">
          <p15:clr>
            <a:srgbClr val="FBAE40"/>
          </p15:clr>
        </p15:guide>
      </p15:sldGuideLst>
    </p:ext>
  </p:extLs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65BD8F63-BFF0-2ED7-9799-15887D04B6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7680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BD8F63-BFF0-2ED7-9799-15887D04B6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">
            <a:extLst>
              <a:ext uri="{FF2B5EF4-FFF2-40B4-BE49-F238E27FC236}">
                <a16:creationId xmlns:a16="http://schemas.microsoft.com/office/drawing/2014/main" id="{2EA34D9C-A1E3-4B38-B976-FAFB7D8CCE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0A62B5BA-2EEF-E0A9-4BC5-30A5B752A08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4" name="Diagram"/>
          <p:cNvSpPr>
            <a:spLocks noGrp="1"/>
          </p:cNvSpPr>
          <p:nvPr>
            <p:ph type="chart" sz="quarter" idx="17" hasCustomPrompt="1"/>
          </p:nvPr>
        </p:nvSpPr>
        <p:spPr bwMode="gray">
          <a:xfrm>
            <a:off x="334963" y="2060574"/>
            <a:ext cx="8066087" cy="4032721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Click to add chart</a:t>
            </a:r>
            <a:endParaRPr lang="en-US" dirty="0"/>
          </a:p>
        </p:txBody>
      </p:sp>
      <p:sp>
        <p:nvSpPr>
          <p:cNvPr id="16" name="Content">
            <a:extLst>
              <a:ext uri="{FF2B5EF4-FFF2-40B4-BE49-F238E27FC236}">
                <a16:creationId xmlns:a16="http://schemas.microsoft.com/office/drawing/2014/main" id="{70876C6A-FD31-474D-BB56-8DECA6A84BA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76320" y="2060848"/>
            <a:ext cx="2880320" cy="40322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6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9" y="6525000"/>
            <a:ext cx="9144000" cy="144000"/>
          </a:xfrm>
          <a:prstGeom prst="rect">
            <a:avLst/>
          </a:prstGeom>
          <a:noFill/>
        </p:spPr>
        <p:txBody>
          <a:bodyPr lIns="0" tIns="0" rIns="0" bIns="0" anchor="b"/>
          <a:lstStyle>
            <a:lvl1pPr marL="0" indent="0" rtl="0">
              <a:spcBef>
                <a:spcPts val="0"/>
              </a:spcBef>
              <a:buNone/>
              <a:defRPr sz="900" b="0"/>
            </a:lvl1pPr>
            <a:lvl2pPr marL="0" indent="0">
              <a:spcBef>
                <a:spcPts val="0"/>
              </a:spcBef>
              <a:buNone/>
              <a:defRPr sz="900" b="0"/>
            </a:lvl2pPr>
            <a:lvl3pPr marL="0" indent="0">
              <a:spcBef>
                <a:spcPts val="0"/>
              </a:spcBef>
              <a:buNone/>
              <a:defRPr sz="900" b="0"/>
            </a:lvl3pPr>
            <a:lvl4pPr marL="0" indent="0">
              <a:spcBef>
                <a:spcPts val="0"/>
              </a:spcBef>
              <a:buNone/>
              <a:defRPr sz="900" b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7D307C5-EE03-0779-BFEF-56A6B769D8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rtl="0">
              <a:defRPr/>
            </a:lvl1pPr>
          </a:lstStyle>
          <a:p>
            <a:fld id="{95431DBC-942B-41A8-B090-7F61C4B1A8FC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4A7B9E-E8C1-359E-C3A0-1C8E8BA065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BDC71E9-3DB5-FCE0-6BD3-1C4C4AAF0E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80573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92">
          <p15:clr>
            <a:srgbClr val="FBAE40"/>
          </p15:clr>
        </p15:guide>
        <p15:guide id="2" pos="7469">
          <p15:clr>
            <a:srgbClr val="FBAE40"/>
          </p15:clr>
        </p15:guide>
        <p15:guide id="3" orient="horz" pos="1298">
          <p15:clr>
            <a:srgbClr val="FBAE40"/>
          </p15:clr>
        </p15:guide>
        <p15:guide id="4" orient="horz" pos="3838">
          <p15:clr>
            <a:srgbClr val="FBAE40"/>
          </p15:clr>
        </p15:guide>
        <p15:guide id="5" pos="4929">
          <p15:clr>
            <a:srgbClr val="FBAE40"/>
          </p15:clr>
        </p15:guide>
        <p15:guide id="6" pos="211">
          <p15:clr>
            <a:srgbClr val="FBAE40"/>
          </p15:clr>
        </p15:guide>
      </p15:sldGuideLst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teboo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7385E59-1451-F513-E62A-FF2D9B757A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3514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385E59-1451-F513-E62A-FF2D9B757A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">
            <a:extLst>
              <a:ext uri="{FF2B5EF4-FFF2-40B4-BE49-F238E27FC236}">
                <a16:creationId xmlns:a16="http://schemas.microsoft.com/office/drawing/2014/main" id="{688D30AF-522D-4245-9284-58DA1A6605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CAE8C20D-BB63-92BE-C96C-53725E5FB955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18" name="Shape">
            <a:extLst>
              <a:ext uri="{FF2B5EF4-FFF2-40B4-BE49-F238E27FC236}">
                <a16:creationId xmlns:a16="http://schemas.microsoft.com/office/drawing/2014/main" id="{BD5F0027-250B-42F2-867F-9FED18931B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5088000" y="1916750"/>
            <a:ext cx="5976000" cy="3888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pic>
        <p:nvPicPr>
          <p:cNvPr id="10" name="Shape">
            <a:extLst>
              <a:ext uri="{FF2B5EF4-FFF2-40B4-BE49-F238E27FC236}">
                <a16:creationId xmlns:a16="http://schemas.microsoft.com/office/drawing/2014/main" id="{5A4FDBA1-5706-4639-9AF6-B0075997EF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936001" y="1844674"/>
            <a:ext cx="8256000" cy="43279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5360" y="2060848"/>
            <a:ext cx="3456384" cy="4032448"/>
          </a:xfrm>
          <a:prstGeom prst="rect">
            <a:avLst/>
          </a:prstGeom>
        </p:spPr>
        <p:txBody>
          <a:bodyPr anchor="t"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200"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75B90C02-6FB2-69C6-D072-E90145B78B6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143500" y="1955800"/>
            <a:ext cx="5842000" cy="3771900"/>
          </a:xfrm>
          <a:prstGeom prst="roundRect">
            <a:avLst>
              <a:gd name="adj" fmla="val 2189"/>
            </a:avLst>
          </a:prstGeo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122615C-9513-149B-3B45-34427170F1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rtl="0">
              <a:defRPr/>
            </a:lvl1pPr>
          </a:lstStyle>
          <a:p>
            <a:fld id="{31B87165-8FD0-4FF7-8801-73C8974B39F2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BB78F0-6262-A1CD-04B6-57A492E5C3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34E15A0-F9D0-075D-A080-D8EED1F791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65562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2C9FFE3-EA4D-B048-73B9-C3858A4104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1463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C9FFE3-EA4D-B048-73B9-C3858A4104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">
            <a:extLst>
              <a:ext uri="{FF2B5EF4-FFF2-40B4-BE49-F238E27FC236}">
                <a16:creationId xmlns:a16="http://schemas.microsoft.com/office/drawing/2014/main" id="{F65E210A-EEA7-42E8-8FF8-1EF5E4DDE9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A9FFCAD9-833D-6C62-123D-358843C82731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5360" y="2060847"/>
            <a:ext cx="3456384" cy="4032449"/>
          </a:xfrm>
          <a:prstGeom prst="rect">
            <a:avLst/>
          </a:prstGeom>
        </p:spPr>
        <p:txBody>
          <a:bodyPr anchor="t"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200"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9C3A763B-E2E0-485C-B3D0-6D8C1B4FC2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5040664" y="1927860"/>
            <a:ext cx="6033780" cy="4008120"/>
          </a:xfrm>
          <a:prstGeom prst="roundRect">
            <a:avLst>
              <a:gd name="adj" fmla="val 512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pic>
        <p:nvPicPr>
          <p:cNvPr id="10" name="Shape">
            <a:extLst>
              <a:ext uri="{FF2B5EF4-FFF2-40B4-BE49-F238E27FC236}">
                <a16:creationId xmlns:a16="http://schemas.microsoft.com/office/drawing/2014/main" id="{A69542B0-BEFE-488C-BB9A-7FA4648D38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67"/>
          <a:stretch/>
        </p:blipFill>
        <p:spPr bwMode="gray">
          <a:xfrm>
            <a:off x="3672664" y="1806037"/>
            <a:ext cx="8400000" cy="4575713"/>
          </a:xfrm>
          <a:prstGeom prst="rect">
            <a:avLst/>
          </a:prstGeom>
        </p:spPr>
      </p:pic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2DBAB34E-942D-A270-5D81-6FDC0D52802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081315" y="1962150"/>
            <a:ext cx="5935662" cy="3914774"/>
          </a:xfrm>
          <a:prstGeom prst="roundRect">
            <a:avLst>
              <a:gd name="adj" fmla="val 5313"/>
            </a:avLst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8" y="6525000"/>
            <a:ext cx="9144512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40CC73F-5665-9700-FCAF-843AFAF1FA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rtl="0">
              <a:defRPr/>
            </a:lvl1pPr>
          </a:lstStyle>
          <a:p>
            <a:fld id="{4EBF0C12-EB22-4238-85CF-49A01A986110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5803CE6-440C-770B-50B9-876CA14B74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D429126-2340-1DA9-9148-3A025A5EDE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30371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9F05296-1898-3D49-FD12-8F975DA7C6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0722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F05296-1898-3D49-FD12-8F975DA7C6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">
            <a:extLst>
              <a:ext uri="{FF2B5EF4-FFF2-40B4-BE49-F238E27FC236}">
                <a16:creationId xmlns:a16="http://schemas.microsoft.com/office/drawing/2014/main" id="{AA7BA5C5-D7C9-4AD6-8D12-B312C46B26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548A329-08DC-1A62-ED68-B168E6AFF67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93C2BED1-C288-4362-A0E0-C779978ACA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7863840" y="1379220"/>
            <a:ext cx="2164080" cy="4549140"/>
          </a:xfrm>
          <a:prstGeom prst="roundRect">
            <a:avLst>
              <a:gd name="adj" fmla="val 1314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5360" y="2060847"/>
            <a:ext cx="6336704" cy="4032449"/>
          </a:xfrm>
          <a:prstGeom prst="rect">
            <a:avLst/>
          </a:prstGeom>
        </p:spPr>
        <p:txBody>
          <a:bodyPr anchor="t"/>
          <a:lstStyle>
            <a:lvl1pPr rtl="0">
              <a:lnSpc>
                <a:spcPct val="100000"/>
              </a:lnSpc>
              <a:defRPr sz="1600"/>
            </a:lvl1pPr>
            <a:lvl2pPr rtl="0">
              <a:lnSpc>
                <a:spcPct val="100000"/>
              </a:lnSpc>
              <a:defRPr sz="1600"/>
            </a:lvl2pPr>
            <a:lvl3pPr rtl="0">
              <a:lnSpc>
                <a:spcPct val="100000"/>
              </a:lnSpc>
              <a:defRPr sz="1600"/>
            </a:lvl3pPr>
            <a:lvl4pPr rtl="0">
              <a:lnSpc>
                <a:spcPct val="100000"/>
              </a:lnSpc>
              <a:defRPr sz="1600"/>
            </a:lvl4pPr>
            <a:lvl5pPr rtl="0">
              <a:lnSpc>
                <a:spcPct val="100000"/>
              </a:lnSpc>
              <a:defRPr sz="1200"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pic>
        <p:nvPicPr>
          <p:cNvPr id="18" name="Shape">
            <a:extLst>
              <a:ext uri="{FF2B5EF4-FFF2-40B4-BE49-F238E27FC236}">
                <a16:creationId xmlns:a16="http://schemas.microsoft.com/office/drawing/2014/main" id="{7F09AB9E-D3D1-4BF0-9135-508497D860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392000" y="1341438"/>
            <a:ext cx="3096000" cy="4787820"/>
          </a:xfrm>
          <a:prstGeom prst="rect">
            <a:avLst/>
          </a:prstGeom>
        </p:spPr>
      </p:pic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E73C628E-8916-9F81-2393-DF6AF23BC89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7909560" y="1432560"/>
            <a:ext cx="2057400" cy="4450080"/>
          </a:xfrm>
          <a:prstGeom prst="roundRect">
            <a:avLst>
              <a:gd name="adj" fmla="val 12964"/>
            </a:avLst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2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F342084-8763-7CB2-C48E-577922A572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rtl="0">
              <a:defRPr/>
            </a:lvl1pPr>
          </a:lstStyle>
          <a:p>
            <a:fld id="{75C6E30F-CA3B-47F7-9C41-F609F91733D0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30B3054-B34F-16AA-2CB1-C1061087E1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C1B9A6-3977-5939-01A3-CD2D975D24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90250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mart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8B8AE17-67D2-28B3-4B09-4F49C353A1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173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B8AE17-67D2-28B3-4B09-4F49C353A1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">
            <a:extLst>
              <a:ext uri="{FF2B5EF4-FFF2-40B4-BE49-F238E27FC236}">
                <a16:creationId xmlns:a16="http://schemas.microsoft.com/office/drawing/2014/main" id="{AA7BA5C5-D7C9-4AD6-8D12-B312C46B26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3377423B-DA7A-9098-27EA-EFAEFF393980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93C2BED1-C288-4362-A0E0-C779978ACA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3327824" y="1379220"/>
            <a:ext cx="2164080" cy="4549140"/>
          </a:xfrm>
          <a:prstGeom prst="roundRect">
            <a:avLst>
              <a:gd name="adj" fmla="val 1314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pic>
        <p:nvPicPr>
          <p:cNvPr id="18" name="Shape">
            <a:extLst>
              <a:ext uri="{FF2B5EF4-FFF2-40B4-BE49-F238E27FC236}">
                <a16:creationId xmlns:a16="http://schemas.microsoft.com/office/drawing/2014/main" id="{7F09AB9E-D3D1-4BF0-9135-508497D860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855984" y="1341438"/>
            <a:ext cx="3096000" cy="4787820"/>
          </a:xfrm>
          <a:prstGeom prst="rect">
            <a:avLst/>
          </a:prstGeom>
        </p:spPr>
      </p:pic>
      <p:sp>
        <p:nvSpPr>
          <p:cNvPr id="13" name="Rechteck: abgerundete Ecken 19">
            <a:extLst>
              <a:ext uri="{FF2B5EF4-FFF2-40B4-BE49-F238E27FC236}">
                <a16:creationId xmlns:a16="http://schemas.microsoft.com/office/drawing/2014/main" id="{E9916D98-3C6E-F067-BDD5-1A4A849EF1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6711856" y="1379220"/>
            <a:ext cx="2164080" cy="4549140"/>
          </a:xfrm>
          <a:prstGeom prst="roundRect">
            <a:avLst>
              <a:gd name="adj" fmla="val 1314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pic>
        <p:nvPicPr>
          <p:cNvPr id="14" name="Shape">
            <a:extLst>
              <a:ext uri="{FF2B5EF4-FFF2-40B4-BE49-F238E27FC236}">
                <a16:creationId xmlns:a16="http://schemas.microsoft.com/office/drawing/2014/main" id="{7A9D731A-95B3-E07F-A903-A04AB7A419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40016" y="1341438"/>
            <a:ext cx="3096000" cy="4787820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EE61EFE-7948-B7E3-1B6D-06F4012902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 rtl="0">
              <a:defRPr/>
            </a:lvl1pPr>
          </a:lstStyle>
          <a:p>
            <a:fld id="{23966CE9-96F7-4583-AF5B-FC25CC6002BD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47F0D6-A5F3-F828-35B0-984A88ACE7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4A3E4BF-588B-BB9F-90D3-4527536C1C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181E81A8-4080-A097-4083-7DF221E5BAE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373544" y="1432560"/>
            <a:ext cx="2057400" cy="4450080"/>
          </a:xfrm>
          <a:prstGeom prst="roundRect">
            <a:avLst>
              <a:gd name="adj" fmla="val 12964"/>
            </a:avLst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364DE43C-8BE5-169D-9F07-4787DA11F2D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757576" y="1432560"/>
            <a:ext cx="2057400" cy="4450080"/>
          </a:xfrm>
          <a:prstGeom prst="roundRect">
            <a:avLst>
              <a:gd name="adj" fmla="val 12964"/>
            </a:avLst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2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91457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mart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31BA32A-76C1-41E4-57D3-F1CC686640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1781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1BA32A-76C1-41E4-57D3-F1CC686640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">
            <a:extLst>
              <a:ext uri="{FF2B5EF4-FFF2-40B4-BE49-F238E27FC236}">
                <a16:creationId xmlns:a16="http://schemas.microsoft.com/office/drawing/2014/main" id="{AA7BA5C5-D7C9-4AD6-8D12-B312C46B26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8730BF4F-4A62-6DBC-1C82-32EE9A88D0D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93C2BED1-C288-4362-A0E0-C779978ACA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7936336" y="1379220"/>
            <a:ext cx="2164080" cy="4549140"/>
          </a:xfrm>
          <a:prstGeom prst="roundRect">
            <a:avLst>
              <a:gd name="adj" fmla="val 1314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pic>
        <p:nvPicPr>
          <p:cNvPr id="18" name="Shape">
            <a:extLst>
              <a:ext uri="{FF2B5EF4-FFF2-40B4-BE49-F238E27FC236}">
                <a16:creationId xmlns:a16="http://schemas.microsoft.com/office/drawing/2014/main" id="{7F09AB9E-D3D1-4BF0-9135-508497D860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464496" y="1341438"/>
            <a:ext cx="3096000" cy="4787820"/>
          </a:xfrm>
          <a:prstGeom prst="rect">
            <a:avLst/>
          </a:prstGeom>
        </p:spPr>
      </p:pic>
      <p:sp>
        <p:nvSpPr>
          <p:cNvPr id="13" name="Rechteck: abgerundete Ecken 19">
            <a:extLst>
              <a:ext uri="{FF2B5EF4-FFF2-40B4-BE49-F238E27FC236}">
                <a16:creationId xmlns:a16="http://schemas.microsoft.com/office/drawing/2014/main" id="{83B6B1DD-3BB2-05F1-F33D-74DC95727A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2103688" y="1379220"/>
            <a:ext cx="2164080" cy="4549140"/>
          </a:xfrm>
          <a:prstGeom prst="roundRect">
            <a:avLst>
              <a:gd name="adj" fmla="val 1314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pic>
        <p:nvPicPr>
          <p:cNvPr id="14" name="Shape">
            <a:extLst>
              <a:ext uri="{FF2B5EF4-FFF2-40B4-BE49-F238E27FC236}">
                <a16:creationId xmlns:a16="http://schemas.microsoft.com/office/drawing/2014/main" id="{880E8645-6288-AE19-6DBF-172F4C2CDE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631848" y="1341438"/>
            <a:ext cx="3096000" cy="4787820"/>
          </a:xfrm>
          <a:prstGeom prst="rect">
            <a:avLst/>
          </a:prstGeom>
        </p:spPr>
      </p:pic>
      <p:sp>
        <p:nvSpPr>
          <p:cNvPr id="16" name="Rechteck: abgerundete Ecken 19">
            <a:extLst>
              <a:ext uri="{FF2B5EF4-FFF2-40B4-BE49-F238E27FC236}">
                <a16:creationId xmlns:a16="http://schemas.microsoft.com/office/drawing/2014/main" id="{DB994C57-CEE0-8540-5583-CD8BBFB852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4983664" y="1379220"/>
            <a:ext cx="2164080" cy="4549140"/>
          </a:xfrm>
          <a:prstGeom prst="roundRect">
            <a:avLst>
              <a:gd name="adj" fmla="val 1314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pic>
        <p:nvPicPr>
          <p:cNvPr id="17" name="Shape">
            <a:extLst>
              <a:ext uri="{FF2B5EF4-FFF2-40B4-BE49-F238E27FC236}">
                <a16:creationId xmlns:a16="http://schemas.microsoft.com/office/drawing/2014/main" id="{29B3C5F7-8DA9-D126-B8E6-0E97A57FDE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511824" y="1341438"/>
            <a:ext cx="3096000" cy="4787820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93171A0-A001-0E72-7460-81AC7DA532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rtl="0">
              <a:defRPr/>
            </a:lvl1pPr>
          </a:lstStyle>
          <a:p>
            <a:fld id="{AE0B6CCC-CA1B-4175-9EF7-C103F54C08DE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9269E69-786B-15A2-0535-F84F8D4E8C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20B9A9-7858-A59F-E2EA-0BB3E873F6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D230F225-9077-C298-1939-2EEB21FE0C3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7982056" y="1432560"/>
            <a:ext cx="2057400" cy="4450080"/>
          </a:xfrm>
          <a:prstGeom prst="roundRect">
            <a:avLst>
              <a:gd name="adj" fmla="val 12964"/>
            </a:avLst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1457C9D4-0CF0-AA7E-E1DE-54A91AD7F96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2149408" y="1432560"/>
            <a:ext cx="2057400" cy="4450080"/>
          </a:xfrm>
          <a:prstGeom prst="roundRect">
            <a:avLst>
              <a:gd name="adj" fmla="val 12964"/>
            </a:avLst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026E3E96-B285-EEA0-BFF4-016AADCB4F25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5029384" y="1432560"/>
            <a:ext cx="2057400" cy="4450080"/>
          </a:xfrm>
          <a:prstGeom prst="roundRect">
            <a:avLst>
              <a:gd name="adj" fmla="val 12964"/>
            </a:avLst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2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81245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BE99F6E-E605-3B44-E238-D24A7FD2AA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9582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E99F6E-E605-3B44-E238-D24A7FD2AA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">
            <a:extLst>
              <a:ext uri="{FF2B5EF4-FFF2-40B4-BE49-F238E27FC236}">
                <a16:creationId xmlns:a16="http://schemas.microsoft.com/office/drawing/2014/main" id="{ED4DEA22-86AB-4055-9D31-EB6A5698AB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0F820368-8441-E4B1-BF67-81B1020CD7D1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6" name="Shape">
            <a:extLst>
              <a:ext uri="{FF2B5EF4-FFF2-40B4-BE49-F238E27FC236}">
                <a16:creationId xmlns:a16="http://schemas.microsoft.com/office/drawing/2014/main" id="{9DA19E0A-630E-4703-A2E3-311F8429CE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335360" y="1484785"/>
            <a:ext cx="5184576" cy="20162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BD8E93B3-990F-934D-BD7B-A37DC1324EE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51672" y="1700784"/>
            <a:ext cx="1368000" cy="1584000"/>
          </a:xfrm>
          <a:prstGeom prst="rect">
            <a:avLst/>
          </a:prstGeo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 sz="1400"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BB3E6D75-1EC4-1B44-B491-E581CC62B05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35673" y="1700784"/>
            <a:ext cx="316824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ountry</a:t>
            </a:r>
            <a:endParaRPr lang="en-US" dirty="0"/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9C0EC6CE-70D2-D940-9547-3F776BCF57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135672" y="206078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Name Surname</a:t>
            </a:r>
            <a:endParaRPr lang="en-US" dirty="0"/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D3260424-7049-BF4D-AA75-2D68FBC04D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135672" y="2276784"/>
            <a:ext cx="316824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Job Position</a:t>
            </a:r>
            <a:endParaRPr lang="en-US" dirty="0"/>
          </a:p>
        </p:txBody>
      </p:sp>
      <p:sp>
        <p:nvSpPr>
          <p:cNvPr id="39" name="Text Placeholder 5">
            <a:extLst>
              <a:ext uri="{FF2B5EF4-FFF2-40B4-BE49-F238E27FC236}">
                <a16:creationId xmlns:a16="http://schemas.microsoft.com/office/drawing/2014/main" id="{F3664B3A-842D-8146-B7A8-6EE203E6050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135672" y="2708920"/>
            <a:ext cx="3168242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Phone number</a:t>
            </a:r>
            <a:endParaRPr lang="en-US" dirty="0"/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B42C9151-00E7-8F44-BDA2-330D9B9791A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2135672" y="2924920"/>
            <a:ext cx="3168242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Email address</a:t>
            </a:r>
            <a:endParaRPr lang="en-US" dirty="0"/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096000" y="1484783"/>
            <a:ext cx="5184576" cy="4608513"/>
          </a:xfrm>
          <a:prstGeom prst="rect">
            <a:avLst/>
          </a:prstGeom>
        </p:spPr>
        <p:txBody>
          <a:bodyPr/>
          <a:lstStyle>
            <a:lvl1pPr rtl="0">
              <a:defRPr sz="1600" baseline="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200"/>
            </a:lvl5pPr>
          </a:lstStyle>
          <a:p>
            <a:pPr lvl="0"/>
            <a:r>
              <a:rPr lang="en-US"/>
              <a:t>Additional information (if needed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13FDAA3-A0DC-2E64-1196-8FF01BE1E6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 rtl="0">
              <a:defRPr/>
            </a:lvl1pPr>
          </a:lstStyle>
          <a:p>
            <a:fld id="{ED1D1678-D66A-4080-8DC2-48AC748C98BA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87AACA9-762A-05ED-5AE4-5EE72266D4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6AD0D2C-3C1F-3238-BF55-233D0EDF2F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50444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8DC8B53-AB3F-BF37-8618-BC30F107D6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4910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DC8B53-AB3F-BF37-8618-BC30F107D6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9" name="Shape">
            <a:extLst>
              <a:ext uri="{FF2B5EF4-FFF2-40B4-BE49-F238E27FC236}">
                <a16:creationId xmlns:a16="http://schemas.microsoft.com/office/drawing/2014/main" id="{A308B59F-C74A-41A0-8B1E-7A5EFCC4D0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335360" y="1484785"/>
            <a:ext cx="5184576" cy="20162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sp>
        <p:nvSpPr>
          <p:cNvPr id="110" name="Shape">
            <a:extLst>
              <a:ext uri="{FF2B5EF4-FFF2-40B4-BE49-F238E27FC236}">
                <a16:creationId xmlns:a16="http://schemas.microsoft.com/office/drawing/2014/main" id="{4BF4C20B-694A-46F7-9866-549844DD6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6096000" y="1484785"/>
            <a:ext cx="5184576" cy="20162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7C9F81EF-6E6B-4C6B-8728-D3ABC0E420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C4BCC443-AB9F-B213-EE37-942C86A0AD63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88" name="Picture Placeholder 3">
            <a:extLst>
              <a:ext uri="{FF2B5EF4-FFF2-40B4-BE49-F238E27FC236}">
                <a16:creationId xmlns:a16="http://schemas.microsoft.com/office/drawing/2014/main" id="{FE641735-A1C5-43D0-BD73-1778301964C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51672" y="1700784"/>
            <a:ext cx="1368000" cy="158400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 sz="1400"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89" name="Text Placeholder 5">
            <a:extLst>
              <a:ext uri="{FF2B5EF4-FFF2-40B4-BE49-F238E27FC236}">
                <a16:creationId xmlns:a16="http://schemas.microsoft.com/office/drawing/2014/main" id="{35F3426A-8179-413F-A089-EDC85F7AE52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35672" y="1700784"/>
            <a:ext cx="316824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ountry</a:t>
            </a:r>
            <a:endParaRPr lang="en-US" dirty="0"/>
          </a:p>
        </p:txBody>
      </p:sp>
      <p:sp>
        <p:nvSpPr>
          <p:cNvPr id="90" name="Text Placeholder 5">
            <a:extLst>
              <a:ext uri="{FF2B5EF4-FFF2-40B4-BE49-F238E27FC236}">
                <a16:creationId xmlns:a16="http://schemas.microsoft.com/office/drawing/2014/main" id="{77DE9175-08EB-4DE9-AF2A-082DE24F91B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135672" y="206078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Name Surname</a:t>
            </a:r>
            <a:endParaRPr lang="en-US" dirty="0"/>
          </a:p>
        </p:txBody>
      </p:sp>
      <p:sp>
        <p:nvSpPr>
          <p:cNvPr id="91" name="Text Placeholder 5">
            <a:extLst>
              <a:ext uri="{FF2B5EF4-FFF2-40B4-BE49-F238E27FC236}">
                <a16:creationId xmlns:a16="http://schemas.microsoft.com/office/drawing/2014/main" id="{D5EF4277-ADF9-4E2E-B2BE-1A7E9852139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135672" y="2276784"/>
            <a:ext cx="316824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Job Position</a:t>
            </a:r>
            <a:endParaRPr lang="en-US" dirty="0"/>
          </a:p>
        </p:txBody>
      </p:sp>
      <p:sp>
        <p:nvSpPr>
          <p:cNvPr id="92" name="Text Placeholder 5">
            <a:extLst>
              <a:ext uri="{FF2B5EF4-FFF2-40B4-BE49-F238E27FC236}">
                <a16:creationId xmlns:a16="http://schemas.microsoft.com/office/drawing/2014/main" id="{7BDBE224-C61A-4B63-ACB4-6021E55B9D3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135671" y="2708920"/>
            <a:ext cx="3168241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Phone number</a:t>
            </a:r>
            <a:endParaRPr lang="en-US" dirty="0"/>
          </a:p>
        </p:txBody>
      </p:sp>
      <p:sp>
        <p:nvSpPr>
          <p:cNvPr id="93" name="Text Placeholder 5">
            <a:extLst>
              <a:ext uri="{FF2B5EF4-FFF2-40B4-BE49-F238E27FC236}">
                <a16:creationId xmlns:a16="http://schemas.microsoft.com/office/drawing/2014/main" id="{12C39AE6-6E95-408F-AB43-27C17926E0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2135671" y="2924920"/>
            <a:ext cx="3168241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Email address</a:t>
            </a:r>
            <a:endParaRPr lang="en-US" dirty="0"/>
          </a:p>
        </p:txBody>
      </p:sp>
      <p:sp>
        <p:nvSpPr>
          <p:cNvPr id="107" name="Text Placeholder 34">
            <a:extLst>
              <a:ext uri="{FF2B5EF4-FFF2-40B4-BE49-F238E27FC236}">
                <a16:creationId xmlns:a16="http://schemas.microsoft.com/office/drawing/2014/main" id="{7A67B2C7-A9D1-420E-A686-D67FE2D6C26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2135560" y="3789040"/>
            <a:ext cx="3384376" cy="2304255"/>
          </a:xfrm>
          <a:prstGeom prst="rect">
            <a:avLst/>
          </a:prstGeom>
        </p:spPr>
        <p:txBody>
          <a:bodyPr/>
          <a:lstStyle>
            <a:lvl1pPr rtl="0">
              <a:defRPr sz="1600" baseline="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200"/>
            </a:lvl5pPr>
          </a:lstStyle>
          <a:p>
            <a:pPr lvl="0"/>
            <a:r>
              <a:rPr lang="en-US"/>
              <a:t>Additional information (if needed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1" name="Picture Placeholder 3">
            <a:extLst>
              <a:ext uri="{FF2B5EF4-FFF2-40B4-BE49-F238E27FC236}">
                <a16:creationId xmlns:a16="http://schemas.microsoft.com/office/drawing/2014/main" id="{2F3F9AB8-A6A9-4914-B176-D5301D8AD889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6312762" y="1700784"/>
            <a:ext cx="1368000" cy="158400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 sz="1400"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02" name="Text Placeholder 5">
            <a:extLst>
              <a:ext uri="{FF2B5EF4-FFF2-40B4-BE49-F238E27FC236}">
                <a16:creationId xmlns:a16="http://schemas.microsoft.com/office/drawing/2014/main" id="{60D53D97-2F4B-4FF3-BB08-6DE88C7D08D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7896762" y="1700784"/>
            <a:ext cx="316824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ountry</a:t>
            </a:r>
            <a:endParaRPr lang="en-US" dirty="0"/>
          </a:p>
        </p:txBody>
      </p:sp>
      <p:sp>
        <p:nvSpPr>
          <p:cNvPr id="103" name="Text Placeholder 5">
            <a:extLst>
              <a:ext uri="{FF2B5EF4-FFF2-40B4-BE49-F238E27FC236}">
                <a16:creationId xmlns:a16="http://schemas.microsoft.com/office/drawing/2014/main" id="{912FAF1E-DB1C-42D7-9953-A4E2639C864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7899821" y="206078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Name Surname</a:t>
            </a:r>
            <a:endParaRPr lang="en-US" dirty="0"/>
          </a:p>
        </p:txBody>
      </p:sp>
      <p:sp>
        <p:nvSpPr>
          <p:cNvPr id="104" name="Text Placeholder 5">
            <a:extLst>
              <a:ext uri="{FF2B5EF4-FFF2-40B4-BE49-F238E27FC236}">
                <a16:creationId xmlns:a16="http://schemas.microsoft.com/office/drawing/2014/main" id="{4BEAEA15-5204-41C5-AEFB-5901E9232BC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7896762" y="2276784"/>
            <a:ext cx="316824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Job Position</a:t>
            </a:r>
            <a:endParaRPr lang="en-US" dirty="0"/>
          </a:p>
        </p:txBody>
      </p:sp>
      <p:sp>
        <p:nvSpPr>
          <p:cNvPr id="105" name="Text Placeholder 5">
            <a:extLst>
              <a:ext uri="{FF2B5EF4-FFF2-40B4-BE49-F238E27FC236}">
                <a16:creationId xmlns:a16="http://schemas.microsoft.com/office/drawing/2014/main" id="{268C1B9F-921F-461C-A9B2-8860F57E26D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7896762" y="2708920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Phone number</a:t>
            </a:r>
            <a:endParaRPr lang="en-US" dirty="0"/>
          </a:p>
        </p:txBody>
      </p:sp>
      <p:sp>
        <p:nvSpPr>
          <p:cNvPr id="106" name="Text Placeholder 5">
            <a:extLst>
              <a:ext uri="{FF2B5EF4-FFF2-40B4-BE49-F238E27FC236}">
                <a16:creationId xmlns:a16="http://schemas.microsoft.com/office/drawing/2014/main" id="{DF6DB13D-A16B-44FD-BBA4-181841B2C8E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7896762" y="2924920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Email address</a:t>
            </a:r>
            <a:endParaRPr lang="en-US" dirty="0"/>
          </a:p>
        </p:txBody>
      </p:sp>
      <p:sp>
        <p:nvSpPr>
          <p:cNvPr id="108" name="Text Placeholder 34">
            <a:extLst>
              <a:ext uri="{FF2B5EF4-FFF2-40B4-BE49-F238E27FC236}">
                <a16:creationId xmlns:a16="http://schemas.microsoft.com/office/drawing/2014/main" id="{0739D20A-6CD2-4EFD-BFD8-AC097164997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7897018" y="3789040"/>
            <a:ext cx="3383558" cy="2304256"/>
          </a:xfrm>
          <a:prstGeom prst="rect">
            <a:avLst/>
          </a:prstGeom>
        </p:spPr>
        <p:txBody>
          <a:bodyPr/>
          <a:lstStyle>
            <a:lvl1pPr rtl="0">
              <a:defRPr sz="1600" baseline="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200"/>
            </a:lvl5pPr>
          </a:lstStyle>
          <a:p>
            <a:pPr lvl="0"/>
            <a:r>
              <a:rPr lang="en-US"/>
              <a:t>Additional information (if needed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FF5EA01-F4CC-F707-3384-355C3A7832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43"/>
          </p:nvPr>
        </p:nvSpPr>
        <p:spPr/>
        <p:txBody>
          <a:bodyPr/>
          <a:lstStyle>
            <a:lvl1pPr rtl="0">
              <a:defRPr/>
            </a:lvl1pPr>
          </a:lstStyle>
          <a:p>
            <a:fld id="{25FF9EFB-C2FA-44CE-8CF8-F62C970FAFB0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ECFB7EC-1DDD-4793-F0F9-FB8F64B7BB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005237-160E-5576-1349-4E58BEABCB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01505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">
            <a:extLst>
              <a:ext uri="{FF2B5EF4-FFF2-40B4-BE49-F238E27FC236}">
                <a16:creationId xmlns:a16="http://schemas.microsoft.com/office/drawing/2014/main" id="{88B08B0E-0F2C-4F39-8C83-40D56780A4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511F11FC-FCA8-FA31-88F5-727DE1C458C7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4963" y="2060574"/>
            <a:ext cx="5761037" cy="403272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672263" y="2060575"/>
            <a:ext cx="5184377" cy="403225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0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8" y="6525000"/>
            <a:ext cx="9144512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5A63D7-562B-C3CB-9A70-CD611C8190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6EFFEB44-7B71-47B6-B10A-930DE5B6EBF7}" type="datetime1">
              <a:rPr lang="en-GB" smtClean="0"/>
              <a:t>12/02/2026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A1B3EF-1533-F6D5-16F8-628C93E34E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0807DB1-E0B6-D636-F949-1B29AAFDE8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5275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2" pos="211">
          <p15:clr>
            <a:srgbClr val="FBAE40"/>
          </p15:clr>
        </p15:guide>
        <p15:guide id="3" pos="3840">
          <p15:clr>
            <a:srgbClr val="FBAE40"/>
          </p15:clr>
        </p15:guide>
        <p15:guide id="4" orient="horz" pos="3838">
          <p15:clr>
            <a:srgbClr val="FBAE40"/>
          </p15:clr>
        </p15:guide>
        <p15:guide id="5" pos="4203">
          <p15:clr>
            <a:srgbClr val="FBAE40"/>
          </p15:clr>
        </p15:guide>
        <p15:guide id="6" pos="7469">
          <p15:clr>
            <a:srgbClr val="FBAE40"/>
          </p15:clr>
        </p15:guide>
        <p15:guide id="7" orient="horz" pos="935">
          <p15:clr>
            <a:srgbClr val="FBAE40"/>
          </p15:clr>
        </p15:guide>
      </p15:sldGuideLst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D522C76-8A71-DC33-0B37-612CFB4BEA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6251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D522C76-8A71-DC33-0B37-612CFB4BEA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">
            <a:extLst>
              <a:ext uri="{FF2B5EF4-FFF2-40B4-BE49-F238E27FC236}">
                <a16:creationId xmlns:a16="http://schemas.microsoft.com/office/drawing/2014/main" id="{03F187D5-78CE-4CB4-97FD-A8472D948E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27" name="Subtitle">
            <a:extLst>
              <a:ext uri="{FF2B5EF4-FFF2-40B4-BE49-F238E27FC236}">
                <a16:creationId xmlns:a16="http://schemas.microsoft.com/office/drawing/2014/main" id="{C79A977C-0417-AA8F-2CD0-72FF316DCAA2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48" name="Shape">
            <a:extLst>
              <a:ext uri="{FF2B5EF4-FFF2-40B4-BE49-F238E27FC236}">
                <a16:creationId xmlns:a16="http://schemas.microsoft.com/office/drawing/2014/main" id="{62E7F382-C6C4-485A-83D1-B2DF463F3B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335360" y="1484784"/>
            <a:ext cx="5184576" cy="201571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sp>
        <p:nvSpPr>
          <p:cNvPr id="94" name="Picture Placeholder 3">
            <a:extLst>
              <a:ext uri="{FF2B5EF4-FFF2-40B4-BE49-F238E27FC236}">
                <a16:creationId xmlns:a16="http://schemas.microsoft.com/office/drawing/2014/main" id="{96D1107F-3E3A-3C4B-8256-95C871BFFA2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51672" y="1700784"/>
            <a:ext cx="1368000" cy="158400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 sz="1400"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95" name="Text Placeholder 5">
            <a:extLst>
              <a:ext uri="{FF2B5EF4-FFF2-40B4-BE49-F238E27FC236}">
                <a16:creationId xmlns:a16="http://schemas.microsoft.com/office/drawing/2014/main" id="{9E6D6A14-7FC7-2E46-8CC2-5CA4E52119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35672" y="1700784"/>
            <a:ext cx="316824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ountry</a:t>
            </a:r>
            <a:endParaRPr lang="en-US" dirty="0"/>
          </a:p>
        </p:txBody>
      </p:sp>
      <p:sp>
        <p:nvSpPr>
          <p:cNvPr id="96" name="Text Placeholder 5">
            <a:extLst>
              <a:ext uri="{FF2B5EF4-FFF2-40B4-BE49-F238E27FC236}">
                <a16:creationId xmlns:a16="http://schemas.microsoft.com/office/drawing/2014/main" id="{F98B3B28-1889-DA4F-A2D1-BD173114DC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135672" y="206078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Name Surname</a:t>
            </a:r>
            <a:endParaRPr lang="en-US" dirty="0"/>
          </a:p>
        </p:txBody>
      </p:sp>
      <p:sp>
        <p:nvSpPr>
          <p:cNvPr id="97" name="Text Placeholder 5">
            <a:extLst>
              <a:ext uri="{FF2B5EF4-FFF2-40B4-BE49-F238E27FC236}">
                <a16:creationId xmlns:a16="http://schemas.microsoft.com/office/drawing/2014/main" id="{8AAA19EE-9DB4-474A-A321-C8153907CCE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135672" y="2276784"/>
            <a:ext cx="316824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Job Position</a:t>
            </a:r>
            <a:endParaRPr lang="en-US" dirty="0"/>
          </a:p>
        </p:txBody>
      </p:sp>
      <p:sp>
        <p:nvSpPr>
          <p:cNvPr id="98" name="Text Placeholder 5">
            <a:extLst>
              <a:ext uri="{FF2B5EF4-FFF2-40B4-BE49-F238E27FC236}">
                <a16:creationId xmlns:a16="http://schemas.microsoft.com/office/drawing/2014/main" id="{B143D523-493C-BC4E-B1AA-5DB95154E3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135672" y="2708920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Phone number</a:t>
            </a:r>
            <a:endParaRPr lang="en-US" dirty="0"/>
          </a:p>
        </p:txBody>
      </p:sp>
      <p:sp>
        <p:nvSpPr>
          <p:cNvPr id="99" name="Text Placeholder 5">
            <a:extLst>
              <a:ext uri="{FF2B5EF4-FFF2-40B4-BE49-F238E27FC236}">
                <a16:creationId xmlns:a16="http://schemas.microsoft.com/office/drawing/2014/main" id="{9D91B60C-53AD-284C-95D2-EDFB9B2E1C5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2135672" y="2924920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Email address</a:t>
            </a:r>
            <a:endParaRPr lang="en-US" dirty="0"/>
          </a:p>
        </p:txBody>
      </p:sp>
      <p:sp>
        <p:nvSpPr>
          <p:cNvPr id="49" name="Shape">
            <a:extLst>
              <a:ext uri="{FF2B5EF4-FFF2-40B4-BE49-F238E27FC236}">
                <a16:creationId xmlns:a16="http://schemas.microsoft.com/office/drawing/2014/main" id="{FA2307D6-B00C-4CF8-B22E-11BF9AF7DE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6096000" y="1485297"/>
            <a:ext cx="5184576" cy="201571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sp>
        <p:nvSpPr>
          <p:cNvPr id="119" name="Picture Placeholder 3">
            <a:extLst>
              <a:ext uri="{FF2B5EF4-FFF2-40B4-BE49-F238E27FC236}">
                <a16:creationId xmlns:a16="http://schemas.microsoft.com/office/drawing/2014/main" id="{B5007B33-0681-7C4B-8C02-A2115D4F5A8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6312762" y="1700784"/>
            <a:ext cx="1368000" cy="158400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 sz="1400"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20" name="Text Placeholder 5">
            <a:extLst>
              <a:ext uri="{FF2B5EF4-FFF2-40B4-BE49-F238E27FC236}">
                <a16:creationId xmlns:a16="http://schemas.microsoft.com/office/drawing/2014/main" id="{7947A278-4541-C145-8A1A-805C82E2BEB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7896762" y="1700784"/>
            <a:ext cx="316824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ountry</a:t>
            </a:r>
            <a:endParaRPr lang="en-US" dirty="0"/>
          </a:p>
        </p:txBody>
      </p:sp>
      <p:sp>
        <p:nvSpPr>
          <p:cNvPr id="121" name="Text Placeholder 5">
            <a:extLst>
              <a:ext uri="{FF2B5EF4-FFF2-40B4-BE49-F238E27FC236}">
                <a16:creationId xmlns:a16="http://schemas.microsoft.com/office/drawing/2014/main" id="{AB572493-73FB-0646-BCF6-467CE0D18D0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7896762" y="206078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Name Surname</a:t>
            </a:r>
            <a:endParaRPr lang="en-US" dirty="0"/>
          </a:p>
        </p:txBody>
      </p:sp>
      <p:sp>
        <p:nvSpPr>
          <p:cNvPr id="122" name="Text Placeholder 5">
            <a:extLst>
              <a:ext uri="{FF2B5EF4-FFF2-40B4-BE49-F238E27FC236}">
                <a16:creationId xmlns:a16="http://schemas.microsoft.com/office/drawing/2014/main" id="{160A0CE4-A4A1-664B-B2A5-3BEEF22E242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7896762" y="2276784"/>
            <a:ext cx="316824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Job Position</a:t>
            </a:r>
            <a:endParaRPr lang="en-US" dirty="0"/>
          </a:p>
        </p:txBody>
      </p:sp>
      <p:sp>
        <p:nvSpPr>
          <p:cNvPr id="123" name="Text Placeholder 5">
            <a:extLst>
              <a:ext uri="{FF2B5EF4-FFF2-40B4-BE49-F238E27FC236}">
                <a16:creationId xmlns:a16="http://schemas.microsoft.com/office/drawing/2014/main" id="{595B26DC-2F0F-0741-AD06-D75BE5AE795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7896762" y="2708920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Phone number</a:t>
            </a:r>
            <a:endParaRPr lang="en-US" dirty="0"/>
          </a:p>
        </p:txBody>
      </p:sp>
      <p:sp>
        <p:nvSpPr>
          <p:cNvPr id="124" name="Text Placeholder 5">
            <a:extLst>
              <a:ext uri="{FF2B5EF4-FFF2-40B4-BE49-F238E27FC236}">
                <a16:creationId xmlns:a16="http://schemas.microsoft.com/office/drawing/2014/main" id="{727EE54C-753A-284A-8B4F-9C5FDDC2D63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7896762" y="2924920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Email address</a:t>
            </a:r>
            <a:endParaRPr lang="en-US" dirty="0"/>
          </a:p>
        </p:txBody>
      </p:sp>
      <p:sp>
        <p:nvSpPr>
          <p:cNvPr id="51" name="Shape">
            <a:extLst>
              <a:ext uri="{FF2B5EF4-FFF2-40B4-BE49-F238E27FC236}">
                <a16:creationId xmlns:a16="http://schemas.microsoft.com/office/drawing/2014/main" id="{09F29F29-FEC9-4927-AB9A-F17180449E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335360" y="4077585"/>
            <a:ext cx="5184576" cy="201571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sp>
        <p:nvSpPr>
          <p:cNvPr id="106" name="Picture Placeholder 3">
            <a:extLst>
              <a:ext uri="{FF2B5EF4-FFF2-40B4-BE49-F238E27FC236}">
                <a16:creationId xmlns:a16="http://schemas.microsoft.com/office/drawing/2014/main" id="{B6FE670F-20AA-EF43-93FE-D8EBD89F9D8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551672" y="4293147"/>
            <a:ext cx="1368000" cy="158400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 sz="1400"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07" name="Text Placeholder 5">
            <a:extLst>
              <a:ext uri="{FF2B5EF4-FFF2-40B4-BE49-F238E27FC236}">
                <a16:creationId xmlns:a16="http://schemas.microsoft.com/office/drawing/2014/main" id="{62E04480-8830-0F40-AE67-E9D2BB0BFD4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135672" y="4293147"/>
            <a:ext cx="316824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ountry</a:t>
            </a:r>
            <a:endParaRPr lang="en-US" dirty="0"/>
          </a:p>
        </p:txBody>
      </p:sp>
      <p:sp>
        <p:nvSpPr>
          <p:cNvPr id="108" name="Text Placeholder 5">
            <a:extLst>
              <a:ext uri="{FF2B5EF4-FFF2-40B4-BE49-F238E27FC236}">
                <a16:creationId xmlns:a16="http://schemas.microsoft.com/office/drawing/2014/main" id="{8E37D29D-067C-6F40-8722-813FC5CCB6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135672" y="4653147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Name Surname</a:t>
            </a:r>
            <a:endParaRPr lang="en-US" dirty="0"/>
          </a:p>
        </p:txBody>
      </p:sp>
      <p:sp>
        <p:nvSpPr>
          <p:cNvPr id="109" name="Text Placeholder 5">
            <a:extLst>
              <a:ext uri="{FF2B5EF4-FFF2-40B4-BE49-F238E27FC236}">
                <a16:creationId xmlns:a16="http://schemas.microsoft.com/office/drawing/2014/main" id="{9F2507A6-1822-8441-AF42-6F32CAD5309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2135672" y="4869147"/>
            <a:ext cx="316824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Job Position</a:t>
            </a:r>
            <a:endParaRPr lang="en-US" dirty="0"/>
          </a:p>
        </p:txBody>
      </p:sp>
      <p:sp>
        <p:nvSpPr>
          <p:cNvPr id="110" name="Text Placeholder 5">
            <a:extLst>
              <a:ext uri="{FF2B5EF4-FFF2-40B4-BE49-F238E27FC236}">
                <a16:creationId xmlns:a16="http://schemas.microsoft.com/office/drawing/2014/main" id="{B1FAFD4D-A617-1D4B-A22B-92EA6E00239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2135672" y="5301283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Phone number</a:t>
            </a:r>
            <a:endParaRPr lang="en-US" dirty="0"/>
          </a:p>
        </p:txBody>
      </p:sp>
      <p:sp>
        <p:nvSpPr>
          <p:cNvPr id="111" name="Text Placeholder 5">
            <a:extLst>
              <a:ext uri="{FF2B5EF4-FFF2-40B4-BE49-F238E27FC236}">
                <a16:creationId xmlns:a16="http://schemas.microsoft.com/office/drawing/2014/main" id="{1758521F-192E-8E46-9355-9EA0AC42A50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5672" y="5517283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Email address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D930B00-6481-308D-18F9-2A16F9C17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812D12BD-E3BD-4E08-85DF-B0CF4DED85DB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BA96A78-722B-ACDB-C9FE-CD7ECF57E5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D504CF-5A52-F637-4E14-CA8D7E371B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9277641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76E113F-C604-1488-64D4-3B6B60C3C6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9236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6E113F-C604-1488-64D4-3B6B60C3C6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">
            <a:extLst>
              <a:ext uri="{FF2B5EF4-FFF2-40B4-BE49-F238E27FC236}">
                <a16:creationId xmlns:a16="http://schemas.microsoft.com/office/drawing/2014/main" id="{CA5E4281-7DAB-4B66-B128-B1580F2596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34" name="Subtitle">
            <a:extLst>
              <a:ext uri="{FF2B5EF4-FFF2-40B4-BE49-F238E27FC236}">
                <a16:creationId xmlns:a16="http://schemas.microsoft.com/office/drawing/2014/main" id="{1A79FB49-A60C-33E7-ADE0-835E4B954805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62" name="Shape">
            <a:extLst>
              <a:ext uri="{FF2B5EF4-FFF2-40B4-BE49-F238E27FC236}">
                <a16:creationId xmlns:a16="http://schemas.microsoft.com/office/drawing/2014/main" id="{16825BDD-BB1B-4D1C-B52B-7933359BD6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335360" y="1484784"/>
            <a:ext cx="5184576" cy="201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sp>
        <p:nvSpPr>
          <p:cNvPr id="94" name="Picture Placeholder 3">
            <a:extLst>
              <a:ext uri="{FF2B5EF4-FFF2-40B4-BE49-F238E27FC236}">
                <a16:creationId xmlns:a16="http://schemas.microsoft.com/office/drawing/2014/main" id="{96D1107F-3E3A-3C4B-8256-95C871BFFA2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51672" y="1700784"/>
            <a:ext cx="1368000" cy="158400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 sz="1400"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95" name="Text Placeholder 5">
            <a:extLst>
              <a:ext uri="{FF2B5EF4-FFF2-40B4-BE49-F238E27FC236}">
                <a16:creationId xmlns:a16="http://schemas.microsoft.com/office/drawing/2014/main" id="{9E6D6A14-7FC7-2E46-8CC2-5CA4E52119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35672" y="1700784"/>
            <a:ext cx="316824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ountry</a:t>
            </a:r>
            <a:endParaRPr lang="en-US" dirty="0"/>
          </a:p>
        </p:txBody>
      </p:sp>
      <p:sp>
        <p:nvSpPr>
          <p:cNvPr id="96" name="Text Placeholder 5">
            <a:extLst>
              <a:ext uri="{FF2B5EF4-FFF2-40B4-BE49-F238E27FC236}">
                <a16:creationId xmlns:a16="http://schemas.microsoft.com/office/drawing/2014/main" id="{F98B3B28-1889-DA4F-A2D1-BD173114DC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135672" y="206078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Name Surname</a:t>
            </a:r>
            <a:endParaRPr lang="en-US" dirty="0"/>
          </a:p>
        </p:txBody>
      </p:sp>
      <p:sp>
        <p:nvSpPr>
          <p:cNvPr id="97" name="Text Placeholder 5">
            <a:extLst>
              <a:ext uri="{FF2B5EF4-FFF2-40B4-BE49-F238E27FC236}">
                <a16:creationId xmlns:a16="http://schemas.microsoft.com/office/drawing/2014/main" id="{8AAA19EE-9DB4-474A-A321-C8153907CCE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135672" y="2276784"/>
            <a:ext cx="316824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Job Position</a:t>
            </a:r>
            <a:endParaRPr lang="en-US" dirty="0"/>
          </a:p>
        </p:txBody>
      </p:sp>
      <p:sp>
        <p:nvSpPr>
          <p:cNvPr id="98" name="Text Placeholder 5">
            <a:extLst>
              <a:ext uri="{FF2B5EF4-FFF2-40B4-BE49-F238E27FC236}">
                <a16:creationId xmlns:a16="http://schemas.microsoft.com/office/drawing/2014/main" id="{B143D523-493C-BC4E-B1AA-5DB95154E3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135672" y="2708920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Phone number</a:t>
            </a:r>
            <a:endParaRPr lang="en-US" dirty="0"/>
          </a:p>
        </p:txBody>
      </p:sp>
      <p:sp>
        <p:nvSpPr>
          <p:cNvPr id="99" name="Text Placeholder 5">
            <a:extLst>
              <a:ext uri="{FF2B5EF4-FFF2-40B4-BE49-F238E27FC236}">
                <a16:creationId xmlns:a16="http://schemas.microsoft.com/office/drawing/2014/main" id="{9D91B60C-53AD-284C-95D2-EDFB9B2E1C5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2135672" y="2924920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Email address</a:t>
            </a:r>
            <a:endParaRPr lang="en-US" dirty="0"/>
          </a:p>
        </p:txBody>
      </p:sp>
      <p:sp>
        <p:nvSpPr>
          <p:cNvPr id="63" name="Shape">
            <a:extLst>
              <a:ext uri="{FF2B5EF4-FFF2-40B4-BE49-F238E27FC236}">
                <a16:creationId xmlns:a16="http://schemas.microsoft.com/office/drawing/2014/main" id="{B3761F59-E702-400C-BB3D-7C2F7DFAF9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6096000" y="1485297"/>
            <a:ext cx="5184576" cy="201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sp>
        <p:nvSpPr>
          <p:cNvPr id="119" name="Picture Placeholder 3">
            <a:extLst>
              <a:ext uri="{FF2B5EF4-FFF2-40B4-BE49-F238E27FC236}">
                <a16:creationId xmlns:a16="http://schemas.microsoft.com/office/drawing/2014/main" id="{B5007B33-0681-7C4B-8C02-A2115D4F5A8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6312762" y="1700784"/>
            <a:ext cx="1368000" cy="158400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 sz="1400"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20" name="Text Placeholder 5">
            <a:extLst>
              <a:ext uri="{FF2B5EF4-FFF2-40B4-BE49-F238E27FC236}">
                <a16:creationId xmlns:a16="http://schemas.microsoft.com/office/drawing/2014/main" id="{7947A278-4541-C145-8A1A-805C82E2BEB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7896762" y="1700784"/>
            <a:ext cx="316824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ountry</a:t>
            </a:r>
            <a:endParaRPr lang="en-US" dirty="0"/>
          </a:p>
        </p:txBody>
      </p:sp>
      <p:sp>
        <p:nvSpPr>
          <p:cNvPr id="121" name="Text Placeholder 5">
            <a:extLst>
              <a:ext uri="{FF2B5EF4-FFF2-40B4-BE49-F238E27FC236}">
                <a16:creationId xmlns:a16="http://schemas.microsoft.com/office/drawing/2014/main" id="{AB572493-73FB-0646-BCF6-467CE0D18D0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7896762" y="206078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Name Surname</a:t>
            </a:r>
            <a:endParaRPr lang="en-US" dirty="0"/>
          </a:p>
        </p:txBody>
      </p:sp>
      <p:sp>
        <p:nvSpPr>
          <p:cNvPr id="122" name="Text Placeholder 5">
            <a:extLst>
              <a:ext uri="{FF2B5EF4-FFF2-40B4-BE49-F238E27FC236}">
                <a16:creationId xmlns:a16="http://schemas.microsoft.com/office/drawing/2014/main" id="{160A0CE4-A4A1-664B-B2A5-3BEEF22E242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7896762" y="2276784"/>
            <a:ext cx="316824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Job Position</a:t>
            </a:r>
            <a:endParaRPr lang="en-US" dirty="0"/>
          </a:p>
        </p:txBody>
      </p:sp>
      <p:sp>
        <p:nvSpPr>
          <p:cNvPr id="123" name="Text Placeholder 5">
            <a:extLst>
              <a:ext uri="{FF2B5EF4-FFF2-40B4-BE49-F238E27FC236}">
                <a16:creationId xmlns:a16="http://schemas.microsoft.com/office/drawing/2014/main" id="{595B26DC-2F0F-0741-AD06-D75BE5AE795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7896762" y="2708920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Phone number</a:t>
            </a:r>
            <a:endParaRPr lang="en-US" dirty="0"/>
          </a:p>
        </p:txBody>
      </p:sp>
      <p:sp>
        <p:nvSpPr>
          <p:cNvPr id="124" name="Text Placeholder 5">
            <a:extLst>
              <a:ext uri="{FF2B5EF4-FFF2-40B4-BE49-F238E27FC236}">
                <a16:creationId xmlns:a16="http://schemas.microsoft.com/office/drawing/2014/main" id="{727EE54C-753A-284A-8B4F-9C5FDDC2D63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7896762" y="2924920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Email address</a:t>
            </a:r>
            <a:endParaRPr lang="en-US" dirty="0"/>
          </a:p>
        </p:txBody>
      </p:sp>
      <p:sp>
        <p:nvSpPr>
          <p:cNvPr id="61" name="Shape">
            <a:extLst>
              <a:ext uri="{FF2B5EF4-FFF2-40B4-BE49-F238E27FC236}">
                <a16:creationId xmlns:a16="http://schemas.microsoft.com/office/drawing/2014/main" id="{6902CA4F-7D42-4F6B-8E46-F2707F4EA0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335360" y="4077296"/>
            <a:ext cx="5184576" cy="201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sp>
        <p:nvSpPr>
          <p:cNvPr id="106" name="Picture Placeholder 3">
            <a:extLst>
              <a:ext uri="{FF2B5EF4-FFF2-40B4-BE49-F238E27FC236}">
                <a16:creationId xmlns:a16="http://schemas.microsoft.com/office/drawing/2014/main" id="{B6FE670F-20AA-EF43-93FE-D8EBD89F9D8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551672" y="4292858"/>
            <a:ext cx="1368000" cy="158400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 sz="1400"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07" name="Text Placeholder 5">
            <a:extLst>
              <a:ext uri="{FF2B5EF4-FFF2-40B4-BE49-F238E27FC236}">
                <a16:creationId xmlns:a16="http://schemas.microsoft.com/office/drawing/2014/main" id="{62E04480-8830-0F40-AE67-E9D2BB0BFD4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135672" y="4292858"/>
            <a:ext cx="316824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ountry</a:t>
            </a:r>
            <a:endParaRPr lang="en-US" dirty="0"/>
          </a:p>
        </p:txBody>
      </p:sp>
      <p:sp>
        <p:nvSpPr>
          <p:cNvPr id="108" name="Text Placeholder 5">
            <a:extLst>
              <a:ext uri="{FF2B5EF4-FFF2-40B4-BE49-F238E27FC236}">
                <a16:creationId xmlns:a16="http://schemas.microsoft.com/office/drawing/2014/main" id="{8E37D29D-067C-6F40-8722-813FC5CCB6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135672" y="4652858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Name Surname</a:t>
            </a:r>
            <a:endParaRPr lang="en-US" dirty="0"/>
          </a:p>
        </p:txBody>
      </p:sp>
      <p:sp>
        <p:nvSpPr>
          <p:cNvPr id="109" name="Text Placeholder 5">
            <a:extLst>
              <a:ext uri="{FF2B5EF4-FFF2-40B4-BE49-F238E27FC236}">
                <a16:creationId xmlns:a16="http://schemas.microsoft.com/office/drawing/2014/main" id="{9F2507A6-1822-8441-AF42-6F32CAD5309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2135672" y="4868858"/>
            <a:ext cx="316824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Job Position</a:t>
            </a:r>
            <a:endParaRPr lang="en-US" dirty="0"/>
          </a:p>
        </p:txBody>
      </p:sp>
      <p:sp>
        <p:nvSpPr>
          <p:cNvPr id="110" name="Text Placeholder 5">
            <a:extLst>
              <a:ext uri="{FF2B5EF4-FFF2-40B4-BE49-F238E27FC236}">
                <a16:creationId xmlns:a16="http://schemas.microsoft.com/office/drawing/2014/main" id="{B1FAFD4D-A617-1D4B-A22B-92EA6E00239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2135672" y="530099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Phone number</a:t>
            </a:r>
            <a:endParaRPr lang="en-US" dirty="0"/>
          </a:p>
        </p:txBody>
      </p:sp>
      <p:sp>
        <p:nvSpPr>
          <p:cNvPr id="111" name="Text Placeholder 5">
            <a:extLst>
              <a:ext uri="{FF2B5EF4-FFF2-40B4-BE49-F238E27FC236}">
                <a16:creationId xmlns:a16="http://schemas.microsoft.com/office/drawing/2014/main" id="{1758521F-192E-8E46-9355-9EA0AC42A50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5672" y="551699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Email address</a:t>
            </a:r>
            <a:endParaRPr lang="en-US" dirty="0"/>
          </a:p>
        </p:txBody>
      </p:sp>
      <p:sp>
        <p:nvSpPr>
          <p:cNvPr id="65" name="Shape">
            <a:extLst>
              <a:ext uri="{FF2B5EF4-FFF2-40B4-BE49-F238E27FC236}">
                <a16:creationId xmlns:a16="http://schemas.microsoft.com/office/drawing/2014/main" id="{B4AE5ACA-7F4B-4818-955D-31E8DD6155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6096000" y="4077296"/>
            <a:ext cx="5184576" cy="201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sp>
        <p:nvSpPr>
          <p:cNvPr id="131" name="Picture Placeholder 3">
            <a:extLst>
              <a:ext uri="{FF2B5EF4-FFF2-40B4-BE49-F238E27FC236}">
                <a16:creationId xmlns:a16="http://schemas.microsoft.com/office/drawing/2014/main" id="{805973E7-6E2A-9147-9EEF-11EA3705FB9B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312762" y="4275958"/>
            <a:ext cx="1368000" cy="158400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 sz="1400"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32" name="Text Placeholder 5">
            <a:extLst>
              <a:ext uri="{FF2B5EF4-FFF2-40B4-BE49-F238E27FC236}">
                <a16:creationId xmlns:a16="http://schemas.microsoft.com/office/drawing/2014/main" id="{8962C3D4-A44F-C143-8800-C613E37B77C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7896762" y="4275958"/>
            <a:ext cx="316824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ountry</a:t>
            </a:r>
            <a:endParaRPr lang="en-US" dirty="0"/>
          </a:p>
        </p:txBody>
      </p:sp>
      <p:sp>
        <p:nvSpPr>
          <p:cNvPr id="133" name="Text Placeholder 5">
            <a:extLst>
              <a:ext uri="{FF2B5EF4-FFF2-40B4-BE49-F238E27FC236}">
                <a16:creationId xmlns:a16="http://schemas.microsoft.com/office/drawing/2014/main" id="{A8F8F8A4-0708-D740-9016-1F49549FDC6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7896762" y="4635958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Name Surname</a:t>
            </a:r>
            <a:endParaRPr lang="en-US" dirty="0"/>
          </a:p>
        </p:txBody>
      </p:sp>
      <p:sp>
        <p:nvSpPr>
          <p:cNvPr id="134" name="Text Placeholder 5">
            <a:extLst>
              <a:ext uri="{FF2B5EF4-FFF2-40B4-BE49-F238E27FC236}">
                <a16:creationId xmlns:a16="http://schemas.microsoft.com/office/drawing/2014/main" id="{57164E9F-FD59-6846-BB9E-D6BE603E2F6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7896762" y="4851958"/>
            <a:ext cx="316824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Job Position</a:t>
            </a:r>
            <a:endParaRPr lang="en-US" dirty="0"/>
          </a:p>
        </p:txBody>
      </p:sp>
      <p:sp>
        <p:nvSpPr>
          <p:cNvPr id="135" name="Text Placeholder 5">
            <a:extLst>
              <a:ext uri="{FF2B5EF4-FFF2-40B4-BE49-F238E27FC236}">
                <a16:creationId xmlns:a16="http://schemas.microsoft.com/office/drawing/2014/main" id="{BFAABD29-99A4-AF4F-847D-F82B682D01B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7896762" y="528409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Phone number</a:t>
            </a:r>
            <a:endParaRPr lang="en-US" dirty="0"/>
          </a:p>
        </p:txBody>
      </p:sp>
      <p:sp>
        <p:nvSpPr>
          <p:cNvPr id="136" name="Text Placeholder 5">
            <a:extLst>
              <a:ext uri="{FF2B5EF4-FFF2-40B4-BE49-F238E27FC236}">
                <a16:creationId xmlns:a16="http://schemas.microsoft.com/office/drawing/2014/main" id="{74BE0303-949F-8445-84A6-96A0C8234482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7896762" y="550009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Email address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3204550-A5A5-31DB-6ABA-065941F96D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48"/>
          </p:nvPr>
        </p:nvSpPr>
        <p:spPr/>
        <p:txBody>
          <a:bodyPr/>
          <a:lstStyle>
            <a:lvl1pPr rtl="0">
              <a:defRPr/>
            </a:lvl1pPr>
          </a:lstStyle>
          <a:p>
            <a:fld id="{7EB77560-7136-49BF-9CB3-BCBF36E48D9A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9058617-3B9B-BD7A-9507-958E503010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970689-15E1-925D-0040-16C71D9791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50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080278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3483465-7BA6-7954-F269-6656A18C28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7184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483465-7BA6-7954-F269-6656A18C28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ource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87488" y="6525000"/>
            <a:ext cx="9144512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8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8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8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8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7C340BC-16A9-6649-EF34-AAFDE214B5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2D2EDB60-1969-4DE2-AAF0-E6DA15C12389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8322D16-4DE7-822A-3574-99885BF60D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3711EB7-4C93-989A-FCC9-51FE93C0AC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42432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orient="horz" pos="3838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</p15:sldGuideLst>
    </p:ext>
  </p:extLs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CFC84009-BE2D-8B03-8C21-30A98648F1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0346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C84009-BE2D-8B03-8C21-30A98648F1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121A9A89-4485-5FDC-5E66-B5022C061C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B923FD47-75B6-A0F9-D10E-86C13339C3D4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89E4FD3F-8DB4-4216-C88E-CAAC5AFC00A8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A6239ABC-1C52-8EA3-0D3B-15D5674DDF64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DD97EA18-CB4C-8627-D4D6-590689644983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D46046C1-71C1-1AF3-14DA-DE103770C248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8ACD466-99F9-F4AD-5064-B3A0FC8E9BE6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6004BDC6-E95E-5858-738F-5074E6AB1A17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8882A681-B345-36F9-E838-3DCEB2CC4878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F69F9536-F95C-05B2-3D4B-7C750609F961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52B55680-59C5-1E4C-6E0C-515CDCBEB9C3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88EA9CAE-0F34-33F0-81A5-C88D9A5DDF92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1170CCA2-0188-F16C-5913-F83727B492CF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E1FB8C33-74B1-FF44-B12E-7845C91C4AE4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F46EEB80-75AD-99E7-0A92-D9EF8D6D93EE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57CFEAFD-1B92-8B2A-73CA-03990C64353D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3C23417D-2BC6-3B8B-C321-F55C3AE71E59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CBC09072-6D6E-6F70-4043-A6D22B8CE19A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A81978AC-A67E-6D25-FD25-6C8E9DA26497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78206771-9BDB-6C9C-D21F-B5B0088A3A19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9F7AF162-0DC8-07EE-6863-FD7310FA2D84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17C55752-8D8F-D9C5-8442-916953E9E222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A8A63583-14BB-BA3A-E84F-18BCCD925641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FA33261E-30F6-FBF0-1C22-5BDEB9EE4AD9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0" name="Rechteck 269">
              <a:extLst>
                <a:ext uri="{FF2B5EF4-FFF2-40B4-BE49-F238E27FC236}">
                  <a16:creationId xmlns:a16="http://schemas.microsoft.com/office/drawing/2014/main" id="{FF14B0D9-A903-787B-5D07-97C7FEAA940A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00DFF390-C437-32E7-6B9D-7AC6B0CF952D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62C84F2D-57BE-133A-B0C3-AB573883627A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8333C9F6-428A-3DC8-CC6C-86787D252C83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2366E17C-C46E-B58B-7624-A12DA4C7BF82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015C0C1C-4525-700F-50E7-8A1EE91490B5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B72DCBEF-0F2E-F266-8CB2-97075857124A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21EF83C0-BAE4-5437-A93C-F8A1CA39BD4E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152822FB-D591-A563-8626-223558CF7BE9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A40109E7-0622-067F-B326-D3DC65782826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A80B18BF-19DD-0315-0B57-32C18A87E988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21590603-99B4-B03A-DF64-896351996A2C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3" name="Rechteck 282">
              <a:extLst>
                <a:ext uri="{FF2B5EF4-FFF2-40B4-BE49-F238E27FC236}">
                  <a16:creationId xmlns:a16="http://schemas.microsoft.com/office/drawing/2014/main" id="{65EAB206-BED6-5C70-04F4-D2739626A016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D99C9E5D-FF77-823F-401F-0EC5638F0A33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8F720B2C-C675-7F4F-7998-07289EC2721A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C40D91AA-D1D0-8BF8-9113-26D0CFDC8205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F699B8C2-2FD0-F9CB-DA77-68BF124D8F52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0D3978D4-5BA0-BC31-1604-E388A2AD1202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368DF30E-D803-8B27-DF5D-E7EDB88F9769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21701AF5-951A-6522-BA2D-FF77B02E9C1E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94CF6D30-F006-AD27-3090-25FF3B1984A8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DEA0E544-F6E9-08A8-16E9-87B13128574D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6FFC0C97-3042-1646-21CC-2B015B2A1BAC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6084D666-FF9C-3525-45F4-51AA26482C07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55BB078B-AA78-9212-26BB-D1945D1E11D4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11E502A6-B8BD-4853-32D2-A6C39A0FEB18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A956D66F-FF35-3C4C-9586-26455FC12952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315ADA8A-1F40-43E0-1DAB-F38E2A735CDD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49CF7ED2-7C31-95A0-6B9F-D571BDAE9C71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E6057369-F83D-2258-0BF0-DCDB91928F34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DEA62CBF-5637-42F1-E803-1D1F58CDA03D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3DC33345-7084-0841-331F-94023FFC92C0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C45A7607-FE9A-FE8D-D976-FD4CEE51EB31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1260596F-109C-2484-AF96-092A4EB1BA69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3BF9E739-7588-0BC1-0D83-1A4158AD18C4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241F28FE-5F1A-5472-FA50-55D899C93B6F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D0A19E0D-42C9-391E-C7A2-1DBA1AD420B3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C391576D-8CE8-92E8-E9EC-DEB94E832825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9703B0D4-5E83-7E49-CA97-B53DC490FAAA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EBBE80AD-39CE-2297-9345-D517B6228FCA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2446D2A4-A2D8-7CB9-8D2D-424D6BFB5B86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4A21E4A1-C1D7-A795-CEAA-ACDA7FE8758E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416C810C-9BEB-BDC0-684D-40A4CE9B99B3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A5F24FBE-6702-34AC-0EF7-30CF9133C0A7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208BF697-19FD-0C81-5987-DD4A433E8202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1B632DAC-E841-C085-4545-043CED2BF314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B5215F3D-C00C-3979-37D5-BBAF0807A118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1CC78125-1F22-5AFD-EB20-65E7947D0C6C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89C94B2E-CDB4-B5AE-0F5C-4829D95429CF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6742A516-B16F-E3C8-B213-F5BC1E90AD9E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12B19DA7-FBA8-85D9-73FF-6BAAD0605F8C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CDC669FB-1C10-56A6-E729-61CF50ECA059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6A4EA3AB-3A42-3792-CB80-9098D37D1E72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EC63E718-1C8D-95A1-51A7-A57A66E09A31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11107D52-F765-E596-5925-77004932CFB6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DC4A7A7D-EA6F-3A6C-FBE9-B5E74FE4C530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10DA29F7-E3B4-1232-FD2E-34AF04D129E8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ACDB3704-38F9-0591-446A-BC5750A88987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11E2271F-ACCE-5D27-6FD7-751E0631E0B6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0B991E5C-B210-1ADF-4F1B-7F8AC2CBB876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21660858-2652-6D21-2FA9-A7351A42BA66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49E0ED3F-7B78-FF23-A4C0-A69D55183513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C506ED9D-9710-EB78-F2F4-0C4E6CA08633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BE45CC63-A1DC-36D5-3871-FC254ABC6C2F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EF86E4E8-90A1-6034-1789-FE76AED01B10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82E264E3-8BA0-114A-C3CC-37C73BEF9F7F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D94BB858-4E1C-E4D2-3EB0-70316D7F014E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FD578BD9-55D3-2B49-FCCC-E6510915EF37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1BD78D79-6FA5-D82D-07A1-AE48456B30A1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0A5B14DC-E15E-75BC-5358-820BCCE4F945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2961DAE7-9A51-76D3-A858-C7B8F5B0C892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202A1060-66A0-C58D-AE1C-5C9389D44B6A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4430C740-7255-83B7-A225-4E69E1549C5E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A5011DE3-6DC0-3279-0A72-A46BD4CE40D4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F08D7717-9867-D366-6BC8-90FED66F6484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D482CF92-E4B5-90B9-B24E-F238F53D3BFD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7103853B-6DEB-EDF0-F52E-3E291C260575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DA307EE1-AA34-75D6-F1E8-1E1CF13569E8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8A3942DA-C8A0-F795-1404-8F433FC1ECDF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72C18E86-35C3-A83D-9708-16A74BC24A04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F3C64D41-9C04-DA8A-8157-D209B709AC11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315A915F-1193-F71E-0FD4-794531D5ACC7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9E382C6A-F356-48AE-FC24-86F636DBFD86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DED4A34D-76D9-8901-418E-85C0A67BA8D2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D44D63B9-A92C-56DC-641E-2ECCA72D640F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27922954-8327-3C8A-75C2-7CA8C85740D3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73767A9F-4DE5-0E95-B0AE-2D56A315DEF3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924C9CF8-0896-F9F3-7D6C-497A3C8AB188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DA22004E-F780-5734-DAB9-DBC708E14042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2BB1E1F9-7B24-FF18-8DD8-D6EB7F3A211D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259A3DE5-E1C4-78D5-6F36-4F785DECF442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8E2AC191-CB14-8E70-E67C-A2AFA8434593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A337771F-FE59-CAD8-7008-1A722EA701B5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51A97863-5A09-D8AF-9A11-C098D669975F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EB813768-1689-5153-6393-3AF5421897AA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0" name="Rechteck 389">
              <a:extLst>
                <a:ext uri="{FF2B5EF4-FFF2-40B4-BE49-F238E27FC236}">
                  <a16:creationId xmlns:a16="http://schemas.microsoft.com/office/drawing/2014/main" id="{CA5EB520-C62D-E118-A710-86BEF41A7D64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1" name="Rechteck 390">
              <a:extLst>
                <a:ext uri="{FF2B5EF4-FFF2-40B4-BE49-F238E27FC236}">
                  <a16:creationId xmlns:a16="http://schemas.microsoft.com/office/drawing/2014/main" id="{2CDB9506-2B9D-F678-2EA4-3F15D146FCEE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2" name="Rechteck 391">
              <a:extLst>
                <a:ext uri="{FF2B5EF4-FFF2-40B4-BE49-F238E27FC236}">
                  <a16:creationId xmlns:a16="http://schemas.microsoft.com/office/drawing/2014/main" id="{86D5AF89-1A8B-DB77-72C3-17BE9ABBF773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3" name="Rechteck 392">
              <a:extLst>
                <a:ext uri="{FF2B5EF4-FFF2-40B4-BE49-F238E27FC236}">
                  <a16:creationId xmlns:a16="http://schemas.microsoft.com/office/drawing/2014/main" id="{242C00D5-050B-C6CD-6F0E-D9FA4E45171F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4" name="Rechteck 393">
              <a:extLst>
                <a:ext uri="{FF2B5EF4-FFF2-40B4-BE49-F238E27FC236}">
                  <a16:creationId xmlns:a16="http://schemas.microsoft.com/office/drawing/2014/main" id="{06893B78-98F6-342F-A7E4-53CD2FDE7039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5" name="Rechteck 394">
              <a:extLst>
                <a:ext uri="{FF2B5EF4-FFF2-40B4-BE49-F238E27FC236}">
                  <a16:creationId xmlns:a16="http://schemas.microsoft.com/office/drawing/2014/main" id="{4E461DEA-B867-CC8E-59D1-BC8F5D771F91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6" name="Rechteck 395">
              <a:extLst>
                <a:ext uri="{FF2B5EF4-FFF2-40B4-BE49-F238E27FC236}">
                  <a16:creationId xmlns:a16="http://schemas.microsoft.com/office/drawing/2014/main" id="{B1C8068D-BFAB-22C3-D190-1BBC335DB423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7" name="Rechteck 396">
              <a:extLst>
                <a:ext uri="{FF2B5EF4-FFF2-40B4-BE49-F238E27FC236}">
                  <a16:creationId xmlns:a16="http://schemas.microsoft.com/office/drawing/2014/main" id="{622B1CC8-790F-F7D4-DFE5-A90842E768DC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EA61A97C-0B3B-5C7E-4461-ADDB7FD97AFA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7FFBCE92-82AD-A992-D41F-B0A5F11CD7AB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70813162-0499-12FA-59D8-72D2926000D2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C6522CCD-5DB6-A551-A3A0-C580EF799E72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D65F26A3-906F-DD2F-D9A8-E96F1C2021C1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3" name="Rechteck 402">
              <a:extLst>
                <a:ext uri="{FF2B5EF4-FFF2-40B4-BE49-F238E27FC236}">
                  <a16:creationId xmlns:a16="http://schemas.microsoft.com/office/drawing/2014/main" id="{752092CD-F4BE-57F6-82B9-69B3D9733AFD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FCAC3DF6-8CC9-A1F3-818B-7EDBDBEA6989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5" name="Rechteck 404">
              <a:extLst>
                <a:ext uri="{FF2B5EF4-FFF2-40B4-BE49-F238E27FC236}">
                  <a16:creationId xmlns:a16="http://schemas.microsoft.com/office/drawing/2014/main" id="{C3C8F918-57A3-BC10-74A9-026732945877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6" name="Rechteck 405">
              <a:extLst>
                <a:ext uri="{FF2B5EF4-FFF2-40B4-BE49-F238E27FC236}">
                  <a16:creationId xmlns:a16="http://schemas.microsoft.com/office/drawing/2014/main" id="{46ABB76F-1A90-5FEB-B145-057A252E77CA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DC2B1D3C-E10E-26BA-9942-10621006E334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57DEF8BA-8926-3B13-777B-6D3BA13D46C2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37AD1C6B-847E-0A0C-48BC-66258314D1B1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0" name="Rechteck 409">
              <a:extLst>
                <a:ext uri="{FF2B5EF4-FFF2-40B4-BE49-F238E27FC236}">
                  <a16:creationId xmlns:a16="http://schemas.microsoft.com/office/drawing/2014/main" id="{FD59B179-E5EC-5933-1A1F-28FDE8C05E0B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DBBD3E64-B4D0-D35A-7652-60182BCEA32A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B83A1D92-B937-F0D8-967E-077B9ACCB511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39019A59-83A8-920E-BB48-0A868E20B2F3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AC55F9C4-98C0-C03F-4863-CA7F52850D12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B5D26C08-EEDF-5C70-1800-1BC0DEBC6401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6" name="Rechteck 415">
              <a:extLst>
                <a:ext uri="{FF2B5EF4-FFF2-40B4-BE49-F238E27FC236}">
                  <a16:creationId xmlns:a16="http://schemas.microsoft.com/office/drawing/2014/main" id="{F59402B9-C78A-66D6-6EA3-6E0861FE058B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66422A8A-D2EF-A371-9EA0-D9BE0C88BE03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8" name="Rechteck 417">
              <a:extLst>
                <a:ext uri="{FF2B5EF4-FFF2-40B4-BE49-F238E27FC236}">
                  <a16:creationId xmlns:a16="http://schemas.microsoft.com/office/drawing/2014/main" id="{0E2734D8-7F4E-6AE5-557B-BA7D289D87E5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9" name="Rechteck 418">
              <a:extLst>
                <a:ext uri="{FF2B5EF4-FFF2-40B4-BE49-F238E27FC236}">
                  <a16:creationId xmlns:a16="http://schemas.microsoft.com/office/drawing/2014/main" id="{18979B11-938B-C092-2B29-22C656A45D0A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0" name="Rechteck 419">
              <a:extLst>
                <a:ext uri="{FF2B5EF4-FFF2-40B4-BE49-F238E27FC236}">
                  <a16:creationId xmlns:a16="http://schemas.microsoft.com/office/drawing/2014/main" id="{E3FF60E9-7695-EAB2-ED80-2362FD63ED45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1" name="Rechteck 420">
              <a:extLst>
                <a:ext uri="{FF2B5EF4-FFF2-40B4-BE49-F238E27FC236}">
                  <a16:creationId xmlns:a16="http://schemas.microsoft.com/office/drawing/2014/main" id="{B5967872-C5AE-A67D-D1B2-FCFD00CA9FBC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2" name="Rechteck 421">
              <a:extLst>
                <a:ext uri="{FF2B5EF4-FFF2-40B4-BE49-F238E27FC236}">
                  <a16:creationId xmlns:a16="http://schemas.microsoft.com/office/drawing/2014/main" id="{F37EE8E1-96CA-4F74-50A7-B9AEDC507C00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3" name="Rechteck 422">
              <a:extLst>
                <a:ext uri="{FF2B5EF4-FFF2-40B4-BE49-F238E27FC236}">
                  <a16:creationId xmlns:a16="http://schemas.microsoft.com/office/drawing/2014/main" id="{52F06934-01BF-1224-581C-32BB5231A78D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4" name="Rechteck 423">
              <a:extLst>
                <a:ext uri="{FF2B5EF4-FFF2-40B4-BE49-F238E27FC236}">
                  <a16:creationId xmlns:a16="http://schemas.microsoft.com/office/drawing/2014/main" id="{3DF2E499-1062-E9E4-87C0-A3FB933A13DB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5" name="Rechteck 424">
              <a:extLst>
                <a:ext uri="{FF2B5EF4-FFF2-40B4-BE49-F238E27FC236}">
                  <a16:creationId xmlns:a16="http://schemas.microsoft.com/office/drawing/2014/main" id="{D9002FFA-E88E-6038-8ABD-C39481C01CDD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6" name="Rechteck 425">
              <a:extLst>
                <a:ext uri="{FF2B5EF4-FFF2-40B4-BE49-F238E27FC236}">
                  <a16:creationId xmlns:a16="http://schemas.microsoft.com/office/drawing/2014/main" id="{222A027A-1889-08DF-B08B-DF687E95049B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7" name="Rechteck 426">
              <a:extLst>
                <a:ext uri="{FF2B5EF4-FFF2-40B4-BE49-F238E27FC236}">
                  <a16:creationId xmlns:a16="http://schemas.microsoft.com/office/drawing/2014/main" id="{A527AD7A-BBDA-16D4-8556-6434EA9DF5AE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8" name="Rechteck 427">
              <a:extLst>
                <a:ext uri="{FF2B5EF4-FFF2-40B4-BE49-F238E27FC236}">
                  <a16:creationId xmlns:a16="http://schemas.microsoft.com/office/drawing/2014/main" id="{9C887B67-F8E1-427C-8C71-DCA02BC03F58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9" name="Rechteck 428">
              <a:extLst>
                <a:ext uri="{FF2B5EF4-FFF2-40B4-BE49-F238E27FC236}">
                  <a16:creationId xmlns:a16="http://schemas.microsoft.com/office/drawing/2014/main" id="{56728C68-6573-2BB4-E3BE-578F73074197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0" name="Rechteck 429">
              <a:extLst>
                <a:ext uri="{FF2B5EF4-FFF2-40B4-BE49-F238E27FC236}">
                  <a16:creationId xmlns:a16="http://schemas.microsoft.com/office/drawing/2014/main" id="{CA28ABBE-3F61-CAE6-0A8F-125B53614173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1" name="Rechteck 430">
              <a:extLst>
                <a:ext uri="{FF2B5EF4-FFF2-40B4-BE49-F238E27FC236}">
                  <a16:creationId xmlns:a16="http://schemas.microsoft.com/office/drawing/2014/main" id="{C14BE653-1501-1DED-6E7A-140FE9EC34EF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2" name="Rechteck 431">
              <a:extLst>
                <a:ext uri="{FF2B5EF4-FFF2-40B4-BE49-F238E27FC236}">
                  <a16:creationId xmlns:a16="http://schemas.microsoft.com/office/drawing/2014/main" id="{7CECE5C0-3C19-B27C-5E92-DA94187F6671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3" name="Rechteck 432">
              <a:extLst>
                <a:ext uri="{FF2B5EF4-FFF2-40B4-BE49-F238E27FC236}">
                  <a16:creationId xmlns:a16="http://schemas.microsoft.com/office/drawing/2014/main" id="{699026C4-ADE0-C95B-7731-04878F26D772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4" name="Rechteck 433">
              <a:extLst>
                <a:ext uri="{FF2B5EF4-FFF2-40B4-BE49-F238E27FC236}">
                  <a16:creationId xmlns:a16="http://schemas.microsoft.com/office/drawing/2014/main" id="{47408FD6-B65C-225F-D554-5A85BB4EB902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5" name="Rechteck 434">
              <a:extLst>
                <a:ext uri="{FF2B5EF4-FFF2-40B4-BE49-F238E27FC236}">
                  <a16:creationId xmlns:a16="http://schemas.microsoft.com/office/drawing/2014/main" id="{8D529776-AA74-4F63-9DE8-F045F22B9936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6" name="Rechteck 435">
              <a:extLst>
                <a:ext uri="{FF2B5EF4-FFF2-40B4-BE49-F238E27FC236}">
                  <a16:creationId xmlns:a16="http://schemas.microsoft.com/office/drawing/2014/main" id="{F7C64EA8-998D-23C9-BBB4-EF54BD9C4546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7" name="Rechteck 436">
              <a:extLst>
                <a:ext uri="{FF2B5EF4-FFF2-40B4-BE49-F238E27FC236}">
                  <a16:creationId xmlns:a16="http://schemas.microsoft.com/office/drawing/2014/main" id="{9679AE58-8DF7-7DDE-43E9-9C5CE58E1B8D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8" name="Rechteck 437">
              <a:extLst>
                <a:ext uri="{FF2B5EF4-FFF2-40B4-BE49-F238E27FC236}">
                  <a16:creationId xmlns:a16="http://schemas.microsoft.com/office/drawing/2014/main" id="{7FB540AD-CBA6-2EE3-9FBF-16ABD1BE4A73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9" name="Rechteck 438">
              <a:extLst>
                <a:ext uri="{FF2B5EF4-FFF2-40B4-BE49-F238E27FC236}">
                  <a16:creationId xmlns:a16="http://schemas.microsoft.com/office/drawing/2014/main" id="{516F418C-CAB2-F758-F9E6-47872DF90956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0" name="Rechteck 439">
              <a:extLst>
                <a:ext uri="{FF2B5EF4-FFF2-40B4-BE49-F238E27FC236}">
                  <a16:creationId xmlns:a16="http://schemas.microsoft.com/office/drawing/2014/main" id="{4158DECC-8940-7168-BC46-E6342DA624E9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1" name="Rechteck 440">
              <a:extLst>
                <a:ext uri="{FF2B5EF4-FFF2-40B4-BE49-F238E27FC236}">
                  <a16:creationId xmlns:a16="http://schemas.microsoft.com/office/drawing/2014/main" id="{60979196-FE3D-B00B-9226-9BAB6D3BBB46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2" name="Rechteck 441">
              <a:extLst>
                <a:ext uri="{FF2B5EF4-FFF2-40B4-BE49-F238E27FC236}">
                  <a16:creationId xmlns:a16="http://schemas.microsoft.com/office/drawing/2014/main" id="{37A9D8C3-F88F-6717-09FB-ED0542677BC7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3" name="Rechteck 442">
              <a:extLst>
                <a:ext uri="{FF2B5EF4-FFF2-40B4-BE49-F238E27FC236}">
                  <a16:creationId xmlns:a16="http://schemas.microsoft.com/office/drawing/2014/main" id="{4FDFE6C8-1C9E-2BBC-1B7F-94A9E3F7837D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4" name="Rechteck 443">
              <a:extLst>
                <a:ext uri="{FF2B5EF4-FFF2-40B4-BE49-F238E27FC236}">
                  <a16:creationId xmlns:a16="http://schemas.microsoft.com/office/drawing/2014/main" id="{877693BD-B93B-6249-93AC-52849B18522E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5" name="Rechteck 444">
              <a:extLst>
                <a:ext uri="{FF2B5EF4-FFF2-40B4-BE49-F238E27FC236}">
                  <a16:creationId xmlns:a16="http://schemas.microsoft.com/office/drawing/2014/main" id="{F4E47DB2-B4F9-06C0-F2BE-0506199FD928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6" name="Rechteck 445">
              <a:extLst>
                <a:ext uri="{FF2B5EF4-FFF2-40B4-BE49-F238E27FC236}">
                  <a16:creationId xmlns:a16="http://schemas.microsoft.com/office/drawing/2014/main" id="{71A88E64-4BCF-B40C-68B9-B8E9F93687CF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7" name="Rechteck 446">
              <a:extLst>
                <a:ext uri="{FF2B5EF4-FFF2-40B4-BE49-F238E27FC236}">
                  <a16:creationId xmlns:a16="http://schemas.microsoft.com/office/drawing/2014/main" id="{89267D17-3939-89EE-0444-310C67434B5D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8" name="Rechteck 447">
              <a:extLst>
                <a:ext uri="{FF2B5EF4-FFF2-40B4-BE49-F238E27FC236}">
                  <a16:creationId xmlns:a16="http://schemas.microsoft.com/office/drawing/2014/main" id="{76DE4728-5E92-A77A-073F-B83A4B4C0BA5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9" name="Rechteck 448">
              <a:extLst>
                <a:ext uri="{FF2B5EF4-FFF2-40B4-BE49-F238E27FC236}">
                  <a16:creationId xmlns:a16="http://schemas.microsoft.com/office/drawing/2014/main" id="{0B6EFD28-67E6-EB95-09EA-CB355C461927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0" name="Rechteck 449">
              <a:extLst>
                <a:ext uri="{FF2B5EF4-FFF2-40B4-BE49-F238E27FC236}">
                  <a16:creationId xmlns:a16="http://schemas.microsoft.com/office/drawing/2014/main" id="{8B584D13-9B6E-8266-35C0-CD6D624DCED4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1" name="Rechteck 450">
              <a:extLst>
                <a:ext uri="{FF2B5EF4-FFF2-40B4-BE49-F238E27FC236}">
                  <a16:creationId xmlns:a16="http://schemas.microsoft.com/office/drawing/2014/main" id="{23E74D8E-3AD4-0314-3970-89AA063D4467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2" name="Rechteck 451">
              <a:extLst>
                <a:ext uri="{FF2B5EF4-FFF2-40B4-BE49-F238E27FC236}">
                  <a16:creationId xmlns:a16="http://schemas.microsoft.com/office/drawing/2014/main" id="{20AF288A-B182-C940-45FD-6F6772DB1C0B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3" name="Rechteck 452">
              <a:extLst>
                <a:ext uri="{FF2B5EF4-FFF2-40B4-BE49-F238E27FC236}">
                  <a16:creationId xmlns:a16="http://schemas.microsoft.com/office/drawing/2014/main" id="{96A3B0F1-13F1-D8EB-D3CB-20046F43EBDD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4" name="Rechteck 453">
              <a:extLst>
                <a:ext uri="{FF2B5EF4-FFF2-40B4-BE49-F238E27FC236}">
                  <a16:creationId xmlns:a16="http://schemas.microsoft.com/office/drawing/2014/main" id="{F5D69ADC-ED8F-EFED-AC1A-5FF54F6671D3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5" name="Rechteck 454">
              <a:extLst>
                <a:ext uri="{FF2B5EF4-FFF2-40B4-BE49-F238E27FC236}">
                  <a16:creationId xmlns:a16="http://schemas.microsoft.com/office/drawing/2014/main" id="{9AB7805D-078D-E8C0-21AF-3D2EE29A81AE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6" name="Rechteck 455">
              <a:extLst>
                <a:ext uri="{FF2B5EF4-FFF2-40B4-BE49-F238E27FC236}">
                  <a16:creationId xmlns:a16="http://schemas.microsoft.com/office/drawing/2014/main" id="{B3909E2E-4849-A1E2-C1AE-B13E7C8E9448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7" name="Rechteck 456">
              <a:extLst>
                <a:ext uri="{FF2B5EF4-FFF2-40B4-BE49-F238E27FC236}">
                  <a16:creationId xmlns:a16="http://schemas.microsoft.com/office/drawing/2014/main" id="{C80CE572-1EBB-445E-CAD9-ED8F454C5B85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8" name="Rechteck 457">
              <a:extLst>
                <a:ext uri="{FF2B5EF4-FFF2-40B4-BE49-F238E27FC236}">
                  <a16:creationId xmlns:a16="http://schemas.microsoft.com/office/drawing/2014/main" id="{41B2BDED-31F3-9FF4-11D8-2384A284A410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9" name="Rechteck 458">
              <a:extLst>
                <a:ext uri="{FF2B5EF4-FFF2-40B4-BE49-F238E27FC236}">
                  <a16:creationId xmlns:a16="http://schemas.microsoft.com/office/drawing/2014/main" id="{5098BE76-A245-EE01-1A73-D08BA5291F77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60" name="Rechteck 459">
              <a:extLst>
                <a:ext uri="{FF2B5EF4-FFF2-40B4-BE49-F238E27FC236}">
                  <a16:creationId xmlns:a16="http://schemas.microsoft.com/office/drawing/2014/main" id="{D0EFB9E7-772C-607C-BF9F-4A9EF2F9B29A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cxnSp>
        <p:nvCxnSpPr>
          <p:cNvPr id="254" name="Line">
            <a:extLst>
              <a:ext uri="{FF2B5EF4-FFF2-40B4-BE49-F238E27FC236}">
                <a16:creationId xmlns:a16="http://schemas.microsoft.com/office/drawing/2014/main" id="{3C362275-2F3D-4002-8641-A07536B78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11424" y="908720"/>
            <a:ext cx="2304256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Title">
            <a:extLst>
              <a:ext uri="{FF2B5EF4-FFF2-40B4-BE49-F238E27FC236}">
                <a16:creationId xmlns:a16="http://schemas.microsoft.com/office/drawing/2014/main" id="{9258FB6E-C910-44A9-A44D-172431214D3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695400" y="1355786"/>
            <a:ext cx="2808312" cy="1440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0" rIns="216000" bIns="396000" anchor="b">
            <a:noAutofit/>
          </a:bodyPr>
          <a:lstStyle>
            <a:lvl1pPr algn="l" rtl="0">
              <a:lnSpc>
                <a:spcPct val="90000"/>
              </a:lnSpc>
              <a:defRPr sz="3000" baseline="0"/>
            </a:lvl1pPr>
          </a:lstStyle>
          <a:p>
            <a:r>
              <a:rPr lang="en-US"/>
              <a:t>[Thank You]</a:t>
            </a:r>
            <a:endParaRPr lang="en-US" dirty="0"/>
          </a:p>
        </p:txBody>
      </p:sp>
      <p:sp>
        <p:nvSpPr>
          <p:cNvPr id="271" name="Subtitle">
            <a:extLst>
              <a:ext uri="{FF2B5EF4-FFF2-40B4-BE49-F238E27FC236}">
                <a16:creationId xmlns:a16="http://schemas.microsoft.com/office/drawing/2014/main" id="{9D8B1ACD-0D77-D763-CE04-A05AF5D42782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695400" y="5877304"/>
            <a:ext cx="2808312" cy="288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none" lIns="216000" tIns="0" rIns="216000" bIns="36000" anchor="b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pPr lvl="0"/>
            <a:r>
              <a:rPr lang="en-US"/>
              <a:t>gfk.com</a:t>
            </a:r>
            <a:endParaRPr lang="en-US" dirty="0"/>
          </a:p>
        </p:txBody>
      </p:sp>
      <p:pic>
        <p:nvPicPr>
          <p:cNvPr id="461" name="Logo">
            <a:extLst>
              <a:ext uri="{FF2B5EF4-FFF2-40B4-BE49-F238E27FC236}">
                <a16:creationId xmlns:a16="http://schemas.microsoft.com/office/drawing/2014/main" id="{46B9AD8B-C7E2-67C3-5071-2E42671E29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1883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|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709406E3-E9E0-8D51-7E81-991889593B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2934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9406E3-E9E0-8D51-7E81-991889593B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121A9A89-4485-5FDC-5E66-B5022C061C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B923FD47-75B6-A0F9-D10E-86C13339C3D4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89E4FD3F-8DB4-4216-C88E-CAAC5AFC00A8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A6239ABC-1C52-8EA3-0D3B-15D5674DDF64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DD97EA18-CB4C-8627-D4D6-590689644983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D46046C1-71C1-1AF3-14DA-DE103770C248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8ACD466-99F9-F4AD-5064-B3A0FC8E9BE6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6004BDC6-E95E-5858-738F-5074E6AB1A17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8882A681-B345-36F9-E838-3DCEB2CC4878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F69F9536-F95C-05B2-3D4B-7C750609F961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52B55680-59C5-1E4C-6E0C-515CDCBEB9C3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88EA9CAE-0F34-33F0-81A5-C88D9A5DDF92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1170CCA2-0188-F16C-5913-F83727B492CF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E1FB8C33-74B1-FF44-B12E-7845C91C4AE4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F46EEB80-75AD-99E7-0A92-D9EF8D6D93EE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57CFEAFD-1B92-8B2A-73CA-03990C64353D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3C23417D-2BC6-3B8B-C321-F55C3AE71E59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CBC09072-6D6E-6F70-4043-A6D22B8CE19A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A81978AC-A67E-6D25-FD25-6C8E9DA26497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78206771-9BDB-6C9C-D21F-B5B0088A3A19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9F7AF162-0DC8-07EE-6863-FD7310FA2D84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17C55752-8D8F-D9C5-8442-916953E9E222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A8A63583-14BB-BA3A-E84F-18BCCD925641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FA33261E-30F6-FBF0-1C22-5BDEB9EE4AD9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0" name="Rechteck 269">
              <a:extLst>
                <a:ext uri="{FF2B5EF4-FFF2-40B4-BE49-F238E27FC236}">
                  <a16:creationId xmlns:a16="http://schemas.microsoft.com/office/drawing/2014/main" id="{FF14B0D9-A903-787B-5D07-97C7FEAA940A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00DFF390-C437-32E7-6B9D-7AC6B0CF952D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62C84F2D-57BE-133A-B0C3-AB573883627A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8333C9F6-428A-3DC8-CC6C-86787D252C83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2366E17C-C46E-B58B-7624-A12DA4C7BF82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015C0C1C-4525-700F-50E7-8A1EE91490B5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B72DCBEF-0F2E-F266-8CB2-97075857124A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21EF83C0-BAE4-5437-A93C-F8A1CA39BD4E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152822FB-D591-A563-8626-223558CF7BE9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A40109E7-0622-067F-B326-D3DC65782826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A80B18BF-19DD-0315-0B57-32C18A87E988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21590603-99B4-B03A-DF64-896351996A2C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3" name="Rechteck 282">
              <a:extLst>
                <a:ext uri="{FF2B5EF4-FFF2-40B4-BE49-F238E27FC236}">
                  <a16:creationId xmlns:a16="http://schemas.microsoft.com/office/drawing/2014/main" id="{65EAB206-BED6-5C70-04F4-D2739626A016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D99C9E5D-FF77-823F-401F-0EC5638F0A33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8F720B2C-C675-7F4F-7998-07289EC2721A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C40D91AA-D1D0-8BF8-9113-26D0CFDC8205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F699B8C2-2FD0-F9CB-DA77-68BF124D8F52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0D3978D4-5BA0-BC31-1604-E388A2AD1202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368DF30E-D803-8B27-DF5D-E7EDB88F9769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21701AF5-951A-6522-BA2D-FF77B02E9C1E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94CF6D30-F006-AD27-3090-25FF3B1984A8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DEA0E544-F6E9-08A8-16E9-87B13128574D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6FFC0C97-3042-1646-21CC-2B015B2A1BAC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6084D666-FF9C-3525-45F4-51AA26482C07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55BB078B-AA78-9212-26BB-D1945D1E11D4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11E502A6-B8BD-4853-32D2-A6C39A0FEB18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A956D66F-FF35-3C4C-9586-26455FC12952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315ADA8A-1F40-43E0-1DAB-F38E2A735CDD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49CF7ED2-7C31-95A0-6B9F-D571BDAE9C71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E6057369-F83D-2258-0BF0-DCDB91928F34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DEA62CBF-5637-42F1-E803-1D1F58CDA03D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3DC33345-7084-0841-331F-94023FFC92C0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C45A7607-FE9A-FE8D-D976-FD4CEE51EB31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1260596F-109C-2484-AF96-092A4EB1BA69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3BF9E739-7588-0BC1-0D83-1A4158AD18C4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241F28FE-5F1A-5472-FA50-55D899C93B6F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D0A19E0D-42C9-391E-C7A2-1DBA1AD420B3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C391576D-8CE8-92E8-E9EC-DEB94E832825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9703B0D4-5E83-7E49-CA97-B53DC490FAAA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EBBE80AD-39CE-2297-9345-D517B6228FCA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2446D2A4-A2D8-7CB9-8D2D-424D6BFB5B86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4A21E4A1-C1D7-A795-CEAA-ACDA7FE8758E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416C810C-9BEB-BDC0-684D-40A4CE9B99B3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A5F24FBE-6702-34AC-0EF7-30CF9133C0A7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208BF697-19FD-0C81-5987-DD4A433E8202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1B632DAC-E841-C085-4545-043CED2BF314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B5215F3D-C00C-3979-37D5-BBAF0807A118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1CC78125-1F22-5AFD-EB20-65E7947D0C6C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89C94B2E-CDB4-B5AE-0F5C-4829D95429CF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6742A516-B16F-E3C8-B213-F5BC1E90AD9E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12B19DA7-FBA8-85D9-73FF-6BAAD0605F8C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CDC669FB-1C10-56A6-E729-61CF50ECA059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6A4EA3AB-3A42-3792-CB80-9098D37D1E72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EC63E718-1C8D-95A1-51A7-A57A66E09A31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11107D52-F765-E596-5925-77004932CFB6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DC4A7A7D-EA6F-3A6C-FBE9-B5E74FE4C530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10DA29F7-E3B4-1232-FD2E-34AF04D129E8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ACDB3704-38F9-0591-446A-BC5750A88987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11E2271F-ACCE-5D27-6FD7-751E0631E0B6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0B991E5C-B210-1ADF-4F1B-7F8AC2CBB876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21660858-2652-6D21-2FA9-A7351A42BA66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49E0ED3F-7B78-FF23-A4C0-A69D55183513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C506ED9D-9710-EB78-F2F4-0C4E6CA08633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BE45CC63-A1DC-36D5-3871-FC254ABC6C2F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EF86E4E8-90A1-6034-1789-FE76AED01B10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82E264E3-8BA0-114A-C3CC-37C73BEF9F7F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D94BB858-4E1C-E4D2-3EB0-70316D7F014E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FD578BD9-55D3-2B49-FCCC-E6510915EF37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1BD78D79-6FA5-D82D-07A1-AE48456B30A1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0A5B14DC-E15E-75BC-5358-820BCCE4F945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2961DAE7-9A51-76D3-A858-C7B8F5B0C892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202A1060-66A0-C58D-AE1C-5C9389D44B6A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4430C740-7255-83B7-A225-4E69E1549C5E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A5011DE3-6DC0-3279-0A72-A46BD4CE40D4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F08D7717-9867-D366-6BC8-90FED66F6484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D482CF92-E4B5-90B9-B24E-F238F53D3BFD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7103853B-6DEB-EDF0-F52E-3E291C260575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DA307EE1-AA34-75D6-F1E8-1E1CF13569E8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8A3942DA-C8A0-F795-1404-8F433FC1ECDF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72C18E86-35C3-A83D-9708-16A74BC24A04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F3C64D41-9C04-DA8A-8157-D209B709AC11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315A915F-1193-F71E-0FD4-794531D5ACC7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9E382C6A-F356-48AE-FC24-86F636DBFD86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DED4A34D-76D9-8901-418E-85C0A67BA8D2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D44D63B9-A92C-56DC-641E-2ECCA72D640F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27922954-8327-3C8A-75C2-7CA8C85740D3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73767A9F-4DE5-0E95-B0AE-2D56A315DEF3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924C9CF8-0896-F9F3-7D6C-497A3C8AB188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DA22004E-F780-5734-DAB9-DBC708E14042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2BB1E1F9-7B24-FF18-8DD8-D6EB7F3A211D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259A3DE5-E1C4-78D5-6F36-4F785DECF442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8E2AC191-CB14-8E70-E67C-A2AFA8434593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A337771F-FE59-CAD8-7008-1A722EA701B5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51A97863-5A09-D8AF-9A11-C098D669975F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EB813768-1689-5153-6393-3AF5421897AA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0" name="Rechteck 389">
              <a:extLst>
                <a:ext uri="{FF2B5EF4-FFF2-40B4-BE49-F238E27FC236}">
                  <a16:creationId xmlns:a16="http://schemas.microsoft.com/office/drawing/2014/main" id="{CA5EB520-C62D-E118-A710-86BEF41A7D64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1" name="Rechteck 390">
              <a:extLst>
                <a:ext uri="{FF2B5EF4-FFF2-40B4-BE49-F238E27FC236}">
                  <a16:creationId xmlns:a16="http://schemas.microsoft.com/office/drawing/2014/main" id="{2CDB9506-2B9D-F678-2EA4-3F15D146FCEE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2" name="Rechteck 391">
              <a:extLst>
                <a:ext uri="{FF2B5EF4-FFF2-40B4-BE49-F238E27FC236}">
                  <a16:creationId xmlns:a16="http://schemas.microsoft.com/office/drawing/2014/main" id="{86D5AF89-1A8B-DB77-72C3-17BE9ABBF773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3" name="Rechteck 392">
              <a:extLst>
                <a:ext uri="{FF2B5EF4-FFF2-40B4-BE49-F238E27FC236}">
                  <a16:creationId xmlns:a16="http://schemas.microsoft.com/office/drawing/2014/main" id="{242C00D5-050B-C6CD-6F0E-D9FA4E45171F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4" name="Rechteck 393">
              <a:extLst>
                <a:ext uri="{FF2B5EF4-FFF2-40B4-BE49-F238E27FC236}">
                  <a16:creationId xmlns:a16="http://schemas.microsoft.com/office/drawing/2014/main" id="{06893B78-98F6-342F-A7E4-53CD2FDE7039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5" name="Rechteck 394">
              <a:extLst>
                <a:ext uri="{FF2B5EF4-FFF2-40B4-BE49-F238E27FC236}">
                  <a16:creationId xmlns:a16="http://schemas.microsoft.com/office/drawing/2014/main" id="{4E461DEA-B867-CC8E-59D1-BC8F5D771F91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6" name="Rechteck 395">
              <a:extLst>
                <a:ext uri="{FF2B5EF4-FFF2-40B4-BE49-F238E27FC236}">
                  <a16:creationId xmlns:a16="http://schemas.microsoft.com/office/drawing/2014/main" id="{B1C8068D-BFAB-22C3-D190-1BBC335DB423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7" name="Rechteck 396">
              <a:extLst>
                <a:ext uri="{FF2B5EF4-FFF2-40B4-BE49-F238E27FC236}">
                  <a16:creationId xmlns:a16="http://schemas.microsoft.com/office/drawing/2014/main" id="{622B1CC8-790F-F7D4-DFE5-A90842E768DC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EA61A97C-0B3B-5C7E-4461-ADDB7FD97AFA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7FFBCE92-82AD-A992-D41F-B0A5F11CD7AB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70813162-0499-12FA-59D8-72D2926000D2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C6522CCD-5DB6-A551-A3A0-C580EF799E72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D65F26A3-906F-DD2F-D9A8-E96F1C2021C1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3" name="Rechteck 402">
              <a:extLst>
                <a:ext uri="{FF2B5EF4-FFF2-40B4-BE49-F238E27FC236}">
                  <a16:creationId xmlns:a16="http://schemas.microsoft.com/office/drawing/2014/main" id="{752092CD-F4BE-57F6-82B9-69B3D9733AFD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FCAC3DF6-8CC9-A1F3-818B-7EDBDBEA6989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5" name="Rechteck 404">
              <a:extLst>
                <a:ext uri="{FF2B5EF4-FFF2-40B4-BE49-F238E27FC236}">
                  <a16:creationId xmlns:a16="http://schemas.microsoft.com/office/drawing/2014/main" id="{C3C8F918-57A3-BC10-74A9-026732945877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6" name="Rechteck 405">
              <a:extLst>
                <a:ext uri="{FF2B5EF4-FFF2-40B4-BE49-F238E27FC236}">
                  <a16:creationId xmlns:a16="http://schemas.microsoft.com/office/drawing/2014/main" id="{46ABB76F-1A90-5FEB-B145-057A252E77CA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DC2B1D3C-E10E-26BA-9942-10621006E334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57DEF8BA-8926-3B13-777B-6D3BA13D46C2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37AD1C6B-847E-0A0C-48BC-66258314D1B1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0" name="Rechteck 409">
              <a:extLst>
                <a:ext uri="{FF2B5EF4-FFF2-40B4-BE49-F238E27FC236}">
                  <a16:creationId xmlns:a16="http://schemas.microsoft.com/office/drawing/2014/main" id="{FD59B179-E5EC-5933-1A1F-28FDE8C05E0B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DBBD3E64-B4D0-D35A-7652-60182BCEA32A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B83A1D92-B937-F0D8-967E-077B9ACCB511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39019A59-83A8-920E-BB48-0A868E20B2F3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AC55F9C4-98C0-C03F-4863-CA7F52850D12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B5D26C08-EEDF-5C70-1800-1BC0DEBC6401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6" name="Rechteck 415">
              <a:extLst>
                <a:ext uri="{FF2B5EF4-FFF2-40B4-BE49-F238E27FC236}">
                  <a16:creationId xmlns:a16="http://schemas.microsoft.com/office/drawing/2014/main" id="{F59402B9-C78A-66D6-6EA3-6E0861FE058B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66422A8A-D2EF-A371-9EA0-D9BE0C88BE03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8" name="Rechteck 417">
              <a:extLst>
                <a:ext uri="{FF2B5EF4-FFF2-40B4-BE49-F238E27FC236}">
                  <a16:creationId xmlns:a16="http://schemas.microsoft.com/office/drawing/2014/main" id="{0E2734D8-7F4E-6AE5-557B-BA7D289D87E5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9" name="Rechteck 418">
              <a:extLst>
                <a:ext uri="{FF2B5EF4-FFF2-40B4-BE49-F238E27FC236}">
                  <a16:creationId xmlns:a16="http://schemas.microsoft.com/office/drawing/2014/main" id="{18979B11-938B-C092-2B29-22C656A45D0A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0" name="Rechteck 419">
              <a:extLst>
                <a:ext uri="{FF2B5EF4-FFF2-40B4-BE49-F238E27FC236}">
                  <a16:creationId xmlns:a16="http://schemas.microsoft.com/office/drawing/2014/main" id="{E3FF60E9-7695-EAB2-ED80-2362FD63ED45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1" name="Rechteck 420">
              <a:extLst>
                <a:ext uri="{FF2B5EF4-FFF2-40B4-BE49-F238E27FC236}">
                  <a16:creationId xmlns:a16="http://schemas.microsoft.com/office/drawing/2014/main" id="{B5967872-C5AE-A67D-D1B2-FCFD00CA9FBC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2" name="Rechteck 421">
              <a:extLst>
                <a:ext uri="{FF2B5EF4-FFF2-40B4-BE49-F238E27FC236}">
                  <a16:creationId xmlns:a16="http://schemas.microsoft.com/office/drawing/2014/main" id="{F37EE8E1-96CA-4F74-50A7-B9AEDC507C00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3" name="Rechteck 422">
              <a:extLst>
                <a:ext uri="{FF2B5EF4-FFF2-40B4-BE49-F238E27FC236}">
                  <a16:creationId xmlns:a16="http://schemas.microsoft.com/office/drawing/2014/main" id="{52F06934-01BF-1224-581C-32BB5231A78D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4" name="Rechteck 423">
              <a:extLst>
                <a:ext uri="{FF2B5EF4-FFF2-40B4-BE49-F238E27FC236}">
                  <a16:creationId xmlns:a16="http://schemas.microsoft.com/office/drawing/2014/main" id="{3DF2E499-1062-E9E4-87C0-A3FB933A13DB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5" name="Rechteck 424">
              <a:extLst>
                <a:ext uri="{FF2B5EF4-FFF2-40B4-BE49-F238E27FC236}">
                  <a16:creationId xmlns:a16="http://schemas.microsoft.com/office/drawing/2014/main" id="{D9002FFA-E88E-6038-8ABD-C39481C01CDD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6" name="Rechteck 425">
              <a:extLst>
                <a:ext uri="{FF2B5EF4-FFF2-40B4-BE49-F238E27FC236}">
                  <a16:creationId xmlns:a16="http://schemas.microsoft.com/office/drawing/2014/main" id="{222A027A-1889-08DF-B08B-DF687E95049B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7" name="Rechteck 426">
              <a:extLst>
                <a:ext uri="{FF2B5EF4-FFF2-40B4-BE49-F238E27FC236}">
                  <a16:creationId xmlns:a16="http://schemas.microsoft.com/office/drawing/2014/main" id="{A527AD7A-BBDA-16D4-8556-6434EA9DF5AE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8" name="Rechteck 427">
              <a:extLst>
                <a:ext uri="{FF2B5EF4-FFF2-40B4-BE49-F238E27FC236}">
                  <a16:creationId xmlns:a16="http://schemas.microsoft.com/office/drawing/2014/main" id="{9C887B67-F8E1-427C-8C71-DCA02BC03F58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9" name="Rechteck 428">
              <a:extLst>
                <a:ext uri="{FF2B5EF4-FFF2-40B4-BE49-F238E27FC236}">
                  <a16:creationId xmlns:a16="http://schemas.microsoft.com/office/drawing/2014/main" id="{56728C68-6573-2BB4-E3BE-578F73074197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0" name="Rechteck 429">
              <a:extLst>
                <a:ext uri="{FF2B5EF4-FFF2-40B4-BE49-F238E27FC236}">
                  <a16:creationId xmlns:a16="http://schemas.microsoft.com/office/drawing/2014/main" id="{CA28ABBE-3F61-CAE6-0A8F-125B53614173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1" name="Rechteck 430">
              <a:extLst>
                <a:ext uri="{FF2B5EF4-FFF2-40B4-BE49-F238E27FC236}">
                  <a16:creationId xmlns:a16="http://schemas.microsoft.com/office/drawing/2014/main" id="{C14BE653-1501-1DED-6E7A-140FE9EC34EF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2" name="Rechteck 431">
              <a:extLst>
                <a:ext uri="{FF2B5EF4-FFF2-40B4-BE49-F238E27FC236}">
                  <a16:creationId xmlns:a16="http://schemas.microsoft.com/office/drawing/2014/main" id="{7CECE5C0-3C19-B27C-5E92-DA94187F6671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3" name="Rechteck 432">
              <a:extLst>
                <a:ext uri="{FF2B5EF4-FFF2-40B4-BE49-F238E27FC236}">
                  <a16:creationId xmlns:a16="http://schemas.microsoft.com/office/drawing/2014/main" id="{699026C4-ADE0-C95B-7731-04878F26D772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4" name="Rechteck 433">
              <a:extLst>
                <a:ext uri="{FF2B5EF4-FFF2-40B4-BE49-F238E27FC236}">
                  <a16:creationId xmlns:a16="http://schemas.microsoft.com/office/drawing/2014/main" id="{47408FD6-B65C-225F-D554-5A85BB4EB902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5" name="Rechteck 434">
              <a:extLst>
                <a:ext uri="{FF2B5EF4-FFF2-40B4-BE49-F238E27FC236}">
                  <a16:creationId xmlns:a16="http://schemas.microsoft.com/office/drawing/2014/main" id="{8D529776-AA74-4F63-9DE8-F045F22B9936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6" name="Rechteck 435">
              <a:extLst>
                <a:ext uri="{FF2B5EF4-FFF2-40B4-BE49-F238E27FC236}">
                  <a16:creationId xmlns:a16="http://schemas.microsoft.com/office/drawing/2014/main" id="{F7C64EA8-998D-23C9-BBB4-EF54BD9C4546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7" name="Rechteck 436">
              <a:extLst>
                <a:ext uri="{FF2B5EF4-FFF2-40B4-BE49-F238E27FC236}">
                  <a16:creationId xmlns:a16="http://schemas.microsoft.com/office/drawing/2014/main" id="{9679AE58-8DF7-7DDE-43E9-9C5CE58E1B8D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8" name="Rechteck 437">
              <a:extLst>
                <a:ext uri="{FF2B5EF4-FFF2-40B4-BE49-F238E27FC236}">
                  <a16:creationId xmlns:a16="http://schemas.microsoft.com/office/drawing/2014/main" id="{7FB540AD-CBA6-2EE3-9FBF-16ABD1BE4A73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9" name="Rechteck 438">
              <a:extLst>
                <a:ext uri="{FF2B5EF4-FFF2-40B4-BE49-F238E27FC236}">
                  <a16:creationId xmlns:a16="http://schemas.microsoft.com/office/drawing/2014/main" id="{516F418C-CAB2-F758-F9E6-47872DF90956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0" name="Rechteck 439">
              <a:extLst>
                <a:ext uri="{FF2B5EF4-FFF2-40B4-BE49-F238E27FC236}">
                  <a16:creationId xmlns:a16="http://schemas.microsoft.com/office/drawing/2014/main" id="{4158DECC-8940-7168-BC46-E6342DA624E9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1" name="Rechteck 440">
              <a:extLst>
                <a:ext uri="{FF2B5EF4-FFF2-40B4-BE49-F238E27FC236}">
                  <a16:creationId xmlns:a16="http://schemas.microsoft.com/office/drawing/2014/main" id="{60979196-FE3D-B00B-9226-9BAB6D3BBB46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2" name="Rechteck 441">
              <a:extLst>
                <a:ext uri="{FF2B5EF4-FFF2-40B4-BE49-F238E27FC236}">
                  <a16:creationId xmlns:a16="http://schemas.microsoft.com/office/drawing/2014/main" id="{37A9D8C3-F88F-6717-09FB-ED0542677BC7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3" name="Rechteck 442">
              <a:extLst>
                <a:ext uri="{FF2B5EF4-FFF2-40B4-BE49-F238E27FC236}">
                  <a16:creationId xmlns:a16="http://schemas.microsoft.com/office/drawing/2014/main" id="{4FDFE6C8-1C9E-2BBC-1B7F-94A9E3F7837D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4" name="Rechteck 443">
              <a:extLst>
                <a:ext uri="{FF2B5EF4-FFF2-40B4-BE49-F238E27FC236}">
                  <a16:creationId xmlns:a16="http://schemas.microsoft.com/office/drawing/2014/main" id="{877693BD-B93B-6249-93AC-52849B18522E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5" name="Rechteck 444">
              <a:extLst>
                <a:ext uri="{FF2B5EF4-FFF2-40B4-BE49-F238E27FC236}">
                  <a16:creationId xmlns:a16="http://schemas.microsoft.com/office/drawing/2014/main" id="{F4E47DB2-B4F9-06C0-F2BE-0506199FD928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6" name="Rechteck 445">
              <a:extLst>
                <a:ext uri="{FF2B5EF4-FFF2-40B4-BE49-F238E27FC236}">
                  <a16:creationId xmlns:a16="http://schemas.microsoft.com/office/drawing/2014/main" id="{71A88E64-4BCF-B40C-68B9-B8E9F93687CF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7" name="Rechteck 446">
              <a:extLst>
                <a:ext uri="{FF2B5EF4-FFF2-40B4-BE49-F238E27FC236}">
                  <a16:creationId xmlns:a16="http://schemas.microsoft.com/office/drawing/2014/main" id="{89267D17-3939-89EE-0444-310C67434B5D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8" name="Rechteck 447">
              <a:extLst>
                <a:ext uri="{FF2B5EF4-FFF2-40B4-BE49-F238E27FC236}">
                  <a16:creationId xmlns:a16="http://schemas.microsoft.com/office/drawing/2014/main" id="{76DE4728-5E92-A77A-073F-B83A4B4C0BA5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9" name="Rechteck 448">
              <a:extLst>
                <a:ext uri="{FF2B5EF4-FFF2-40B4-BE49-F238E27FC236}">
                  <a16:creationId xmlns:a16="http://schemas.microsoft.com/office/drawing/2014/main" id="{0B6EFD28-67E6-EB95-09EA-CB355C461927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0" name="Rechteck 449">
              <a:extLst>
                <a:ext uri="{FF2B5EF4-FFF2-40B4-BE49-F238E27FC236}">
                  <a16:creationId xmlns:a16="http://schemas.microsoft.com/office/drawing/2014/main" id="{8B584D13-9B6E-8266-35C0-CD6D624DCED4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1" name="Rechteck 450">
              <a:extLst>
                <a:ext uri="{FF2B5EF4-FFF2-40B4-BE49-F238E27FC236}">
                  <a16:creationId xmlns:a16="http://schemas.microsoft.com/office/drawing/2014/main" id="{23E74D8E-3AD4-0314-3970-89AA063D4467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2" name="Rechteck 451">
              <a:extLst>
                <a:ext uri="{FF2B5EF4-FFF2-40B4-BE49-F238E27FC236}">
                  <a16:creationId xmlns:a16="http://schemas.microsoft.com/office/drawing/2014/main" id="{20AF288A-B182-C940-45FD-6F6772DB1C0B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3" name="Rechteck 452">
              <a:extLst>
                <a:ext uri="{FF2B5EF4-FFF2-40B4-BE49-F238E27FC236}">
                  <a16:creationId xmlns:a16="http://schemas.microsoft.com/office/drawing/2014/main" id="{96A3B0F1-13F1-D8EB-D3CB-20046F43EBDD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4" name="Rechteck 453">
              <a:extLst>
                <a:ext uri="{FF2B5EF4-FFF2-40B4-BE49-F238E27FC236}">
                  <a16:creationId xmlns:a16="http://schemas.microsoft.com/office/drawing/2014/main" id="{F5D69ADC-ED8F-EFED-AC1A-5FF54F6671D3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5" name="Rechteck 454">
              <a:extLst>
                <a:ext uri="{FF2B5EF4-FFF2-40B4-BE49-F238E27FC236}">
                  <a16:creationId xmlns:a16="http://schemas.microsoft.com/office/drawing/2014/main" id="{9AB7805D-078D-E8C0-21AF-3D2EE29A81AE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6" name="Rechteck 455">
              <a:extLst>
                <a:ext uri="{FF2B5EF4-FFF2-40B4-BE49-F238E27FC236}">
                  <a16:creationId xmlns:a16="http://schemas.microsoft.com/office/drawing/2014/main" id="{B3909E2E-4849-A1E2-C1AE-B13E7C8E9448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7" name="Rechteck 456">
              <a:extLst>
                <a:ext uri="{FF2B5EF4-FFF2-40B4-BE49-F238E27FC236}">
                  <a16:creationId xmlns:a16="http://schemas.microsoft.com/office/drawing/2014/main" id="{C80CE572-1EBB-445E-CAD9-ED8F454C5B85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8" name="Rechteck 457">
              <a:extLst>
                <a:ext uri="{FF2B5EF4-FFF2-40B4-BE49-F238E27FC236}">
                  <a16:creationId xmlns:a16="http://schemas.microsoft.com/office/drawing/2014/main" id="{41B2BDED-31F3-9FF4-11D8-2384A284A410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9" name="Rechteck 458">
              <a:extLst>
                <a:ext uri="{FF2B5EF4-FFF2-40B4-BE49-F238E27FC236}">
                  <a16:creationId xmlns:a16="http://schemas.microsoft.com/office/drawing/2014/main" id="{5098BE76-A245-EE01-1A73-D08BA5291F77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60" name="Rechteck 459">
              <a:extLst>
                <a:ext uri="{FF2B5EF4-FFF2-40B4-BE49-F238E27FC236}">
                  <a16:creationId xmlns:a16="http://schemas.microsoft.com/office/drawing/2014/main" id="{D0EFB9E7-772C-607C-BF9F-4A9EF2F9B29A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cxnSp>
        <p:nvCxnSpPr>
          <p:cNvPr id="254" name="Line">
            <a:extLst>
              <a:ext uri="{FF2B5EF4-FFF2-40B4-BE49-F238E27FC236}">
                <a16:creationId xmlns:a16="http://schemas.microsoft.com/office/drawing/2014/main" id="{3C362275-2F3D-4002-8641-A07536B78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11424" y="908720"/>
            <a:ext cx="2304256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Title">
            <a:extLst>
              <a:ext uri="{FF2B5EF4-FFF2-40B4-BE49-F238E27FC236}">
                <a16:creationId xmlns:a16="http://schemas.microsoft.com/office/drawing/2014/main" id="{9258FB6E-C910-44A9-A44D-172431214D3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695400" y="1355786"/>
            <a:ext cx="2808312" cy="1440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0" rIns="216000" bIns="396000" anchor="b">
            <a:noAutofit/>
          </a:bodyPr>
          <a:lstStyle>
            <a:lvl1pPr algn="l" rtl="0">
              <a:lnSpc>
                <a:spcPct val="90000"/>
              </a:lnSpc>
              <a:defRPr sz="3000" baseline="0"/>
            </a:lvl1pPr>
          </a:lstStyle>
          <a:p>
            <a:r>
              <a:rPr lang="en-US"/>
              <a:t>[Thank You]</a:t>
            </a:r>
            <a:endParaRPr lang="en-US" dirty="0"/>
          </a:p>
        </p:txBody>
      </p:sp>
      <p:sp>
        <p:nvSpPr>
          <p:cNvPr id="271" name="Subtitle">
            <a:extLst>
              <a:ext uri="{FF2B5EF4-FFF2-40B4-BE49-F238E27FC236}">
                <a16:creationId xmlns:a16="http://schemas.microsoft.com/office/drawing/2014/main" id="{9D8B1ACD-0D77-D763-CE04-A05AF5D42782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695400" y="5877304"/>
            <a:ext cx="2808312" cy="288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none" lIns="216000" tIns="0" rIns="216000" bIns="36000" anchor="b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pPr lvl="0"/>
            <a:r>
              <a:rPr lang="en-US"/>
              <a:t>gfk.com</a:t>
            </a:r>
            <a:endParaRPr lang="en-US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CC7BB515-6E5D-A92F-C208-751DF02C747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28448" y="335757"/>
            <a:ext cx="1357200" cy="575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175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6F855C1D-41EC-F785-B789-651CD4FE99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9522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855C1D-41EC-F785-B789-651CD4FE99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BA3D5077-9B7E-7724-D9D3-945B7856EF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FC8F0747-D2B9-9C69-7610-E2BD2EFC8B25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B0AA2A1E-23FE-92FE-C7C4-29929312C782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1847C1AF-7CA7-5A4D-0AF8-C4BFC0CF08A3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6D5360A6-957F-5917-F189-1C9F1011CEE3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E43B47E5-2148-A509-2746-0CF482C264C3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962D4F53-A18B-00D3-4670-21E6DFD18054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23A62B33-E5FC-8E76-5668-C55163DB5FF0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595BC0B5-5F66-B937-AEEC-323520D55CDB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9C1106C1-B34E-A692-10C1-4F00FEFC644E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9705481E-68D1-068D-B5F2-7F1FE6545F30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59285C40-B342-7821-6FAB-DB1D7B2352CF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4544A6DF-78A6-07C7-59CD-41D0FC1E883D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8E567715-24D2-262E-1A34-40CBB5D02310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1894A824-9907-6513-A8E8-1B14387A1874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80245634-1E65-633F-19D0-FAFF5EAFF13E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B3DC6ABE-2824-B073-56CB-CE22FBE2AEB5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25451F4C-B902-0706-9879-07B6EE90E134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30B63979-959C-8449-22FB-F23A5A24F161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00A7106E-3DF6-E40A-DA3C-67670B598B6F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B0FBFB94-C965-55E6-63D8-12556665668A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DD3D1E7D-CE82-9FBE-923C-734E7DCB3DDB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FCC158CB-9187-3038-C37A-E7CA8A5F266F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9C55774F-5D9E-9D9E-F618-3A7AC531E950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1" name="Rechteck 270">
              <a:extLst>
                <a:ext uri="{FF2B5EF4-FFF2-40B4-BE49-F238E27FC236}">
                  <a16:creationId xmlns:a16="http://schemas.microsoft.com/office/drawing/2014/main" id="{42358AE8-14F1-7A8D-88BE-29F98A821D74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0A759728-80FE-5B0D-C3A9-E6BF3767DB19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4D282FD7-AF74-0DBD-208F-1F85DC964A98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5316D914-E49E-41DA-478B-4670F30D8152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3F910A23-1D66-AC30-2341-F8C281D890A5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FE414133-D4B6-F3FE-FE68-9E9114EAC361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4CB83CA7-F9F2-D71F-E9A5-622F2349921F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9FE16A68-DC09-9857-2758-3F26BAADF38C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25240E12-3A07-F85F-996B-4E7E007FA930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BA7AC4A8-9289-896E-F3AB-690B66203797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047447A1-9AAD-802E-70AA-DC819CD9BF9D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D6166C1E-F14B-C238-F6DD-BDBC91736CCE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86769C67-46D4-3D7D-C274-51A2E51DAE0E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2590EB2F-6C23-E1E2-3EA1-CAA4079D6EF3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1A0660A1-8826-DD73-B0A2-EBE50E54323B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6D62FF2A-8899-DF96-E5D4-26C7591A265F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E0A6A6F7-B24F-0BC8-4F7A-291E226BB054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87BE13AC-7CC3-7DF1-B358-2155FBA3BD41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A15C4238-BA9C-79F0-EC53-1D55DBEF4A85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D984FD10-52FB-1339-196A-9C1073313056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CBD7BC47-5891-AA86-4907-6BF0BB1949F6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E154F46B-0BA3-5260-F7BE-99885D7E0C66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6B09909E-5B82-2459-A244-F0C58EDF44BF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9C253E74-C542-58E5-4721-4A2873BA7D49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42A8FC51-5D2C-419C-9520-DBBFB1A4E80E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4BDFB5B8-381A-D69B-CCC3-512E0D88FB4D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81590F6A-1B2E-227F-DA18-1FDD43819191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7CA7D60B-9F1F-FFD2-23DB-77F7936CC4AF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6D73F32B-F262-5900-ED15-0BC41A151548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67C70F0D-FBBF-3E3C-C019-2CE2E0073716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3C8BECFF-E490-52A2-FB23-6EC90532C8CD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2C9128F4-FEBD-275A-E98A-E72BEF9A619D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2E71DC1C-6AAA-9334-1E2A-E47BCEB42AB4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59B0A64E-527F-EA0D-E8FD-55D5FF53415D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A0898DFA-CE4E-83C3-6E53-03E927DB04BD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E9B2874E-8D89-CE1D-15EE-B6D85945D0BE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31FA3C88-34F5-45C0-37B7-4981B29133FC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B354F436-1DE7-171E-A759-86A3F69C706E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B339F93C-2CDC-7A82-E210-864B95AC1261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72529F09-18F5-EF39-90BF-15C18657B663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013FD637-C28D-62A3-2248-BE230DC55FF9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430F1B93-5417-DF24-FB3D-8E2D8997941B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E39AF9DC-E56C-E7A2-397C-224FE8F05743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4C112AAE-6F8B-D9D4-8667-A073D7736008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AAEE3EE4-9BAB-46D8-594B-AC3EAD6BA564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B0294A61-6714-D75A-DBB1-3999B38CFBE1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0486BBB5-619D-C832-596F-D02221C356A8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ECD2E5E7-01DF-25DF-322F-C6FDEE0BD854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569C8203-6CAD-C32A-23E4-4AE79492D324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9ECAB31D-53F2-045C-2F9B-E5FC2F90B66E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EEBA4ED0-5442-EA89-CE43-50696E43E676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AFF95A04-D85E-8E47-0B60-AAF9C52B8255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83BA628C-E254-A8AE-F5A3-83625E013402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25D8CAF8-D16C-DA5C-7554-586FFD819E3A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39B29F7F-8957-BD46-235E-DFC22A6EE911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ACA4501F-7FE1-6D9D-DE2E-4DF9E6F50D4F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E5DAF2ED-B13D-FE08-B127-EBABB6F7C76F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DB57D708-EC37-6BE8-0E5A-921318FFC26D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5FF445C3-01C9-E40D-D98C-7E2839A9389D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8E1C7914-250B-D446-2803-F29678050365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642F4276-661B-823D-19A9-01272BFBF804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EC3FD384-41F1-EDCE-381D-429D276F2FE7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6A41DF58-F91E-5493-9BE8-654228E8F5BF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BFE8D6FA-2509-114A-C470-CDBB331367DD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861E8CD7-DCF4-53D8-C49D-14FC93490138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587499ED-0024-90C6-8721-125AA23AFAC7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318A548B-6102-2C54-3F4E-8472C84E2239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109C93C8-E72D-9EC4-E6DF-C7D27998E516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B41741AE-6624-ED91-E2B7-828F4EE7513E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ADE529B1-5C5A-2795-05A7-31288DCB92A7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DF29DA3B-DBD8-E6AB-3ED1-072E28231797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F8D92DC5-F259-1548-0EAE-81F3153EEEBA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CE089345-6A95-CF5B-839B-73FA84B651A8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D7086AA2-BA69-C633-9C61-FB91BB7D5874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4AD1A7D0-C020-D51E-41AB-27569BBC60FA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4B039648-0108-945C-8D53-385A2EF16498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D6A806CA-D947-AFD5-B555-B104E51A8485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FFCDC0FE-A72B-18FC-13F9-AAB2F4676E91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2FCB8E76-DFFC-7F87-032D-1F8EB923C880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31195F61-ECA5-C05C-C3EF-8FE01D3C3279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503D6F12-4C4E-4CE4-53BA-6C9A31AD750F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0BB393E3-4F4A-391D-485E-0E212F294C7E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72BF92C2-0E22-BCC0-620E-CCED5EC89F34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52A35E6F-4455-DBE6-F454-993165828BDE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BBB1F32D-2F15-C25F-9611-EB9C38393167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718BC064-D6EA-0EBC-0429-53CB650BA188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C0ED62B2-5739-63E1-5DEC-491B27A4C5D5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9F9F173F-34C8-8DBE-671D-B88CF52B6D6D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46A3FFDE-C9C8-92BE-F3B7-A97B2287588C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85268304-F7BD-22ED-761D-3876CB8551AE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44FE5DF3-18F8-6E24-AA5B-3BD2AFDBFF37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6E7C09D4-FECD-B01C-302D-1016F8DE3269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8ADACFBA-63EE-E791-E554-DE1D1FF7451A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81DCE88F-162D-693E-F64B-9AB383BC70E7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3235150F-39AD-FB02-40D2-645E909F4CEE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0" name="Rechteck 389">
              <a:extLst>
                <a:ext uri="{FF2B5EF4-FFF2-40B4-BE49-F238E27FC236}">
                  <a16:creationId xmlns:a16="http://schemas.microsoft.com/office/drawing/2014/main" id="{57937080-9CE2-6BBE-68CF-97D05F110042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1" name="Rechteck 390">
              <a:extLst>
                <a:ext uri="{FF2B5EF4-FFF2-40B4-BE49-F238E27FC236}">
                  <a16:creationId xmlns:a16="http://schemas.microsoft.com/office/drawing/2014/main" id="{9D228213-E963-8FAD-4817-3ECD7EB59FB6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2" name="Rechteck 391">
              <a:extLst>
                <a:ext uri="{FF2B5EF4-FFF2-40B4-BE49-F238E27FC236}">
                  <a16:creationId xmlns:a16="http://schemas.microsoft.com/office/drawing/2014/main" id="{37488C3E-8894-9855-8865-BF3FCB7F53A1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3" name="Rechteck 392">
              <a:extLst>
                <a:ext uri="{FF2B5EF4-FFF2-40B4-BE49-F238E27FC236}">
                  <a16:creationId xmlns:a16="http://schemas.microsoft.com/office/drawing/2014/main" id="{846EF00B-54AE-DD8E-6147-65485E3DBDDC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4" name="Rechteck 393">
              <a:extLst>
                <a:ext uri="{FF2B5EF4-FFF2-40B4-BE49-F238E27FC236}">
                  <a16:creationId xmlns:a16="http://schemas.microsoft.com/office/drawing/2014/main" id="{1D6EEA66-4056-CDD4-151A-27ECC4C0AD5E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5" name="Rechteck 394">
              <a:extLst>
                <a:ext uri="{FF2B5EF4-FFF2-40B4-BE49-F238E27FC236}">
                  <a16:creationId xmlns:a16="http://schemas.microsoft.com/office/drawing/2014/main" id="{8FE40CC4-4D39-9F84-BF3D-BC22B905EC49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6" name="Rechteck 395">
              <a:extLst>
                <a:ext uri="{FF2B5EF4-FFF2-40B4-BE49-F238E27FC236}">
                  <a16:creationId xmlns:a16="http://schemas.microsoft.com/office/drawing/2014/main" id="{FAC6F4AC-F67C-3833-0085-62826E98548F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7" name="Rechteck 396">
              <a:extLst>
                <a:ext uri="{FF2B5EF4-FFF2-40B4-BE49-F238E27FC236}">
                  <a16:creationId xmlns:a16="http://schemas.microsoft.com/office/drawing/2014/main" id="{69BAC108-6A5C-355C-C4EE-2E12681C7C16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842B057F-BADB-97EC-630C-A3541B3A24BF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5F7097FD-3FA4-0CB4-21AD-15EB2CC1DBBA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FA8100F1-6FF7-4CE8-0890-8878A23C4804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4B77B7C2-1998-484A-935B-1DCDAB52FDF2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670399C8-16B1-D414-A107-75FB21BB3DE3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3" name="Rechteck 402">
              <a:extLst>
                <a:ext uri="{FF2B5EF4-FFF2-40B4-BE49-F238E27FC236}">
                  <a16:creationId xmlns:a16="http://schemas.microsoft.com/office/drawing/2014/main" id="{33EC8804-7998-A79A-48A7-9DC995D49A48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4C031839-72C9-1FF9-9644-70B99BEC3DCF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5" name="Rechteck 404">
              <a:extLst>
                <a:ext uri="{FF2B5EF4-FFF2-40B4-BE49-F238E27FC236}">
                  <a16:creationId xmlns:a16="http://schemas.microsoft.com/office/drawing/2014/main" id="{E767DF6B-38A1-CB8B-72E2-9B2328992B99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6" name="Rechteck 405">
              <a:extLst>
                <a:ext uri="{FF2B5EF4-FFF2-40B4-BE49-F238E27FC236}">
                  <a16:creationId xmlns:a16="http://schemas.microsoft.com/office/drawing/2014/main" id="{BEADDA1E-42A5-5481-0122-BCB2CE5C13A9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47D0A313-9B00-F4DD-4420-8E9AECEA673F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D43EFCFD-A271-7B49-659B-93AB1C9D534A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1829E42D-22A7-1E32-BFB9-B7877A660D81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0" name="Rechteck 409">
              <a:extLst>
                <a:ext uri="{FF2B5EF4-FFF2-40B4-BE49-F238E27FC236}">
                  <a16:creationId xmlns:a16="http://schemas.microsoft.com/office/drawing/2014/main" id="{8B645E84-B81B-1C4A-265F-76DB2195BDEE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76B3D571-C237-27E2-83DC-1EEA9DC99530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BD4660CC-452E-B7CC-03F3-E85576BBECEE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A82E1845-F6CF-E15F-8203-E0450F5D7FAA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74D3AAF8-6DB4-8E4B-C6DB-3DB3B64580AA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4DBACD04-0A56-335E-0F31-0CFC263BE8BF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6" name="Rechteck 415">
              <a:extLst>
                <a:ext uri="{FF2B5EF4-FFF2-40B4-BE49-F238E27FC236}">
                  <a16:creationId xmlns:a16="http://schemas.microsoft.com/office/drawing/2014/main" id="{B8FB6948-9DCC-8785-D8DA-49CBB305EFE6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4EF6F17D-B537-76E5-2491-A055D8E47B2D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8" name="Rechteck 417">
              <a:extLst>
                <a:ext uri="{FF2B5EF4-FFF2-40B4-BE49-F238E27FC236}">
                  <a16:creationId xmlns:a16="http://schemas.microsoft.com/office/drawing/2014/main" id="{57AA3B61-79A9-6660-B0B9-480DBD178B25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9" name="Rechteck 418">
              <a:extLst>
                <a:ext uri="{FF2B5EF4-FFF2-40B4-BE49-F238E27FC236}">
                  <a16:creationId xmlns:a16="http://schemas.microsoft.com/office/drawing/2014/main" id="{ECE33E73-D0F9-3EC9-5BCA-8FD481BBEDE2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0" name="Rechteck 419">
              <a:extLst>
                <a:ext uri="{FF2B5EF4-FFF2-40B4-BE49-F238E27FC236}">
                  <a16:creationId xmlns:a16="http://schemas.microsoft.com/office/drawing/2014/main" id="{DDEFA436-AF55-9425-03BF-0C5A0B56DAD0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1" name="Rechteck 420">
              <a:extLst>
                <a:ext uri="{FF2B5EF4-FFF2-40B4-BE49-F238E27FC236}">
                  <a16:creationId xmlns:a16="http://schemas.microsoft.com/office/drawing/2014/main" id="{63C60DD6-3B15-A3CC-63F6-BCC4543C0A03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2" name="Rechteck 421">
              <a:extLst>
                <a:ext uri="{FF2B5EF4-FFF2-40B4-BE49-F238E27FC236}">
                  <a16:creationId xmlns:a16="http://schemas.microsoft.com/office/drawing/2014/main" id="{872DC567-2399-A307-66CB-FDE90E37D16F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3" name="Rechteck 422">
              <a:extLst>
                <a:ext uri="{FF2B5EF4-FFF2-40B4-BE49-F238E27FC236}">
                  <a16:creationId xmlns:a16="http://schemas.microsoft.com/office/drawing/2014/main" id="{666240B3-67F8-1A19-2DA0-47F1A8870FFB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4" name="Rechteck 423">
              <a:extLst>
                <a:ext uri="{FF2B5EF4-FFF2-40B4-BE49-F238E27FC236}">
                  <a16:creationId xmlns:a16="http://schemas.microsoft.com/office/drawing/2014/main" id="{F8080C7A-555E-1556-192F-ED4CBFDC1B46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5" name="Rechteck 424">
              <a:extLst>
                <a:ext uri="{FF2B5EF4-FFF2-40B4-BE49-F238E27FC236}">
                  <a16:creationId xmlns:a16="http://schemas.microsoft.com/office/drawing/2014/main" id="{BFF435F6-1630-F507-5618-5556E4C6D297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6" name="Rechteck 425">
              <a:extLst>
                <a:ext uri="{FF2B5EF4-FFF2-40B4-BE49-F238E27FC236}">
                  <a16:creationId xmlns:a16="http://schemas.microsoft.com/office/drawing/2014/main" id="{C14E9C37-066A-82E2-34C1-9DCE35A79486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7" name="Rechteck 426">
              <a:extLst>
                <a:ext uri="{FF2B5EF4-FFF2-40B4-BE49-F238E27FC236}">
                  <a16:creationId xmlns:a16="http://schemas.microsoft.com/office/drawing/2014/main" id="{227F8298-23FF-6C55-F992-FB019084155F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8" name="Rechteck 427">
              <a:extLst>
                <a:ext uri="{FF2B5EF4-FFF2-40B4-BE49-F238E27FC236}">
                  <a16:creationId xmlns:a16="http://schemas.microsoft.com/office/drawing/2014/main" id="{7733A452-129C-0695-4E6E-66F886C29981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9" name="Rechteck 428">
              <a:extLst>
                <a:ext uri="{FF2B5EF4-FFF2-40B4-BE49-F238E27FC236}">
                  <a16:creationId xmlns:a16="http://schemas.microsoft.com/office/drawing/2014/main" id="{E16C8A4A-D03D-7135-A658-0C4A4CCE0D28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0" name="Rechteck 429">
              <a:extLst>
                <a:ext uri="{FF2B5EF4-FFF2-40B4-BE49-F238E27FC236}">
                  <a16:creationId xmlns:a16="http://schemas.microsoft.com/office/drawing/2014/main" id="{05BA0F73-AB60-ED81-A08B-3536E5957A9A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1" name="Rechteck 430">
              <a:extLst>
                <a:ext uri="{FF2B5EF4-FFF2-40B4-BE49-F238E27FC236}">
                  <a16:creationId xmlns:a16="http://schemas.microsoft.com/office/drawing/2014/main" id="{8908C174-94CA-CCD5-D7EA-947B6E6F335B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2" name="Rechteck 431">
              <a:extLst>
                <a:ext uri="{FF2B5EF4-FFF2-40B4-BE49-F238E27FC236}">
                  <a16:creationId xmlns:a16="http://schemas.microsoft.com/office/drawing/2014/main" id="{084B9745-05DA-0673-A866-19CA50B48F97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3" name="Rechteck 432">
              <a:extLst>
                <a:ext uri="{FF2B5EF4-FFF2-40B4-BE49-F238E27FC236}">
                  <a16:creationId xmlns:a16="http://schemas.microsoft.com/office/drawing/2014/main" id="{ADE21F54-526A-7DB6-2E06-A782D1426EBD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4" name="Rechteck 433">
              <a:extLst>
                <a:ext uri="{FF2B5EF4-FFF2-40B4-BE49-F238E27FC236}">
                  <a16:creationId xmlns:a16="http://schemas.microsoft.com/office/drawing/2014/main" id="{5FE53ED2-9C4B-B9EE-BC27-7388C183203B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5" name="Rechteck 434">
              <a:extLst>
                <a:ext uri="{FF2B5EF4-FFF2-40B4-BE49-F238E27FC236}">
                  <a16:creationId xmlns:a16="http://schemas.microsoft.com/office/drawing/2014/main" id="{FA028A4E-1E95-7517-3994-187DCF42CA53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6" name="Rechteck 435">
              <a:extLst>
                <a:ext uri="{FF2B5EF4-FFF2-40B4-BE49-F238E27FC236}">
                  <a16:creationId xmlns:a16="http://schemas.microsoft.com/office/drawing/2014/main" id="{3177DDE8-9180-38F3-0604-AC2F17AAF29E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7" name="Rechteck 436">
              <a:extLst>
                <a:ext uri="{FF2B5EF4-FFF2-40B4-BE49-F238E27FC236}">
                  <a16:creationId xmlns:a16="http://schemas.microsoft.com/office/drawing/2014/main" id="{D3229F96-ED67-422E-C4ED-C5178C4763AB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8" name="Rechteck 437">
              <a:extLst>
                <a:ext uri="{FF2B5EF4-FFF2-40B4-BE49-F238E27FC236}">
                  <a16:creationId xmlns:a16="http://schemas.microsoft.com/office/drawing/2014/main" id="{300AE594-11FE-B59E-9404-133A1B062799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9" name="Rechteck 438">
              <a:extLst>
                <a:ext uri="{FF2B5EF4-FFF2-40B4-BE49-F238E27FC236}">
                  <a16:creationId xmlns:a16="http://schemas.microsoft.com/office/drawing/2014/main" id="{FF35C556-83C2-7B88-EA33-4CD364815344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0" name="Rechteck 439">
              <a:extLst>
                <a:ext uri="{FF2B5EF4-FFF2-40B4-BE49-F238E27FC236}">
                  <a16:creationId xmlns:a16="http://schemas.microsoft.com/office/drawing/2014/main" id="{68F1D457-B543-20DD-A6CE-90F53EB31E55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1" name="Rechteck 440">
              <a:extLst>
                <a:ext uri="{FF2B5EF4-FFF2-40B4-BE49-F238E27FC236}">
                  <a16:creationId xmlns:a16="http://schemas.microsoft.com/office/drawing/2014/main" id="{C57B9369-3D57-9645-6E31-528F2CA3D6AD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2" name="Rechteck 441">
              <a:extLst>
                <a:ext uri="{FF2B5EF4-FFF2-40B4-BE49-F238E27FC236}">
                  <a16:creationId xmlns:a16="http://schemas.microsoft.com/office/drawing/2014/main" id="{7CD95588-C9CE-D212-C495-73968B8D0543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3" name="Rechteck 442">
              <a:extLst>
                <a:ext uri="{FF2B5EF4-FFF2-40B4-BE49-F238E27FC236}">
                  <a16:creationId xmlns:a16="http://schemas.microsoft.com/office/drawing/2014/main" id="{A3EAFE36-1896-1A79-F47D-576C40DBC064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4" name="Rechteck 443">
              <a:extLst>
                <a:ext uri="{FF2B5EF4-FFF2-40B4-BE49-F238E27FC236}">
                  <a16:creationId xmlns:a16="http://schemas.microsoft.com/office/drawing/2014/main" id="{8C4711C3-0D43-4309-1FAA-B2FEDCAF90A4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5" name="Rechteck 444">
              <a:extLst>
                <a:ext uri="{FF2B5EF4-FFF2-40B4-BE49-F238E27FC236}">
                  <a16:creationId xmlns:a16="http://schemas.microsoft.com/office/drawing/2014/main" id="{3FE8F66D-F324-494C-0677-0683B165C0E1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6" name="Rechteck 445">
              <a:extLst>
                <a:ext uri="{FF2B5EF4-FFF2-40B4-BE49-F238E27FC236}">
                  <a16:creationId xmlns:a16="http://schemas.microsoft.com/office/drawing/2014/main" id="{80FF9229-26ED-2391-CDF1-891696E01EE6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7" name="Rechteck 446">
              <a:extLst>
                <a:ext uri="{FF2B5EF4-FFF2-40B4-BE49-F238E27FC236}">
                  <a16:creationId xmlns:a16="http://schemas.microsoft.com/office/drawing/2014/main" id="{6317ACAE-FA99-AA67-B40A-D4D77E8FD875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8" name="Rechteck 447">
              <a:extLst>
                <a:ext uri="{FF2B5EF4-FFF2-40B4-BE49-F238E27FC236}">
                  <a16:creationId xmlns:a16="http://schemas.microsoft.com/office/drawing/2014/main" id="{622A7063-1D74-03D6-EF38-30660F676858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9" name="Rechteck 448">
              <a:extLst>
                <a:ext uri="{FF2B5EF4-FFF2-40B4-BE49-F238E27FC236}">
                  <a16:creationId xmlns:a16="http://schemas.microsoft.com/office/drawing/2014/main" id="{14A59C85-37FB-E396-D871-9CB18EBA2964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0" name="Rechteck 449">
              <a:extLst>
                <a:ext uri="{FF2B5EF4-FFF2-40B4-BE49-F238E27FC236}">
                  <a16:creationId xmlns:a16="http://schemas.microsoft.com/office/drawing/2014/main" id="{5F3377ED-0E9D-7149-7471-C6E736F1CC56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1" name="Rechteck 450">
              <a:extLst>
                <a:ext uri="{FF2B5EF4-FFF2-40B4-BE49-F238E27FC236}">
                  <a16:creationId xmlns:a16="http://schemas.microsoft.com/office/drawing/2014/main" id="{50ECEC52-C0BA-98B5-28CF-8A05F70755A6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2" name="Rechteck 451">
              <a:extLst>
                <a:ext uri="{FF2B5EF4-FFF2-40B4-BE49-F238E27FC236}">
                  <a16:creationId xmlns:a16="http://schemas.microsoft.com/office/drawing/2014/main" id="{972982EE-D079-A950-2CE9-8145FB560208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3" name="Rechteck 452">
              <a:extLst>
                <a:ext uri="{FF2B5EF4-FFF2-40B4-BE49-F238E27FC236}">
                  <a16:creationId xmlns:a16="http://schemas.microsoft.com/office/drawing/2014/main" id="{FC9A1FE0-F34E-195C-72B8-5D8328F37874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4" name="Rechteck 453">
              <a:extLst>
                <a:ext uri="{FF2B5EF4-FFF2-40B4-BE49-F238E27FC236}">
                  <a16:creationId xmlns:a16="http://schemas.microsoft.com/office/drawing/2014/main" id="{450737BA-77E0-F144-FB42-E2961358BF33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5" name="Rechteck 454">
              <a:extLst>
                <a:ext uri="{FF2B5EF4-FFF2-40B4-BE49-F238E27FC236}">
                  <a16:creationId xmlns:a16="http://schemas.microsoft.com/office/drawing/2014/main" id="{B53A59C7-7F09-D504-F816-FC7FCA34FB66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6" name="Rechteck 455">
              <a:extLst>
                <a:ext uri="{FF2B5EF4-FFF2-40B4-BE49-F238E27FC236}">
                  <a16:creationId xmlns:a16="http://schemas.microsoft.com/office/drawing/2014/main" id="{3799A264-B361-6685-6985-6BFD1C46376A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7" name="Rechteck 456">
              <a:extLst>
                <a:ext uri="{FF2B5EF4-FFF2-40B4-BE49-F238E27FC236}">
                  <a16:creationId xmlns:a16="http://schemas.microsoft.com/office/drawing/2014/main" id="{9CA62DC5-74F3-0722-462A-E8CF7ADFD85C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8" name="Rechteck 457">
              <a:extLst>
                <a:ext uri="{FF2B5EF4-FFF2-40B4-BE49-F238E27FC236}">
                  <a16:creationId xmlns:a16="http://schemas.microsoft.com/office/drawing/2014/main" id="{0EBDF8F3-82B8-59AF-B86D-F63C0135EAFF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9" name="Rechteck 458">
              <a:extLst>
                <a:ext uri="{FF2B5EF4-FFF2-40B4-BE49-F238E27FC236}">
                  <a16:creationId xmlns:a16="http://schemas.microsoft.com/office/drawing/2014/main" id="{51A74D5C-2434-250A-35DD-BAE618AA6BA9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60" name="Rechteck 459">
              <a:extLst>
                <a:ext uri="{FF2B5EF4-FFF2-40B4-BE49-F238E27FC236}">
                  <a16:creationId xmlns:a16="http://schemas.microsoft.com/office/drawing/2014/main" id="{33C9AE2C-AE30-0068-1C7E-3CDACB6A3905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cxnSp>
        <p:nvCxnSpPr>
          <p:cNvPr id="254" name="Line">
            <a:extLst>
              <a:ext uri="{FF2B5EF4-FFF2-40B4-BE49-F238E27FC236}">
                <a16:creationId xmlns:a16="http://schemas.microsoft.com/office/drawing/2014/main" id="{3C362275-2F3D-4002-8641-A07536B78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11424" y="908720"/>
            <a:ext cx="2304256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Title">
            <a:extLst>
              <a:ext uri="{FF2B5EF4-FFF2-40B4-BE49-F238E27FC236}">
                <a16:creationId xmlns:a16="http://schemas.microsoft.com/office/drawing/2014/main" id="{9258FB6E-C910-44A9-A44D-172431214D3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695400" y="1772816"/>
            <a:ext cx="5112568" cy="1440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36000" rIns="216000" bIns="396000" anchor="b">
            <a:noAutofit/>
          </a:bodyPr>
          <a:lstStyle>
            <a:lvl1pPr algn="l" rtl="0">
              <a:lnSpc>
                <a:spcPct val="90000"/>
              </a:lnSpc>
              <a:defRPr sz="3000" baseline="0"/>
            </a:lvl1pPr>
          </a:lstStyle>
          <a:p>
            <a:r>
              <a:rPr lang="en-US"/>
              <a:t>[Thank You and Call to action]</a:t>
            </a:r>
            <a:endParaRPr lang="en-US" dirty="0"/>
          </a:p>
        </p:txBody>
      </p:sp>
      <p:sp>
        <p:nvSpPr>
          <p:cNvPr id="270" name="Subtitle">
            <a:extLst>
              <a:ext uri="{FF2B5EF4-FFF2-40B4-BE49-F238E27FC236}">
                <a16:creationId xmlns:a16="http://schemas.microsoft.com/office/drawing/2014/main" id="{5DAA3EBD-B768-872B-90F6-2AC1D1A8C782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695400" y="2996952"/>
            <a:ext cx="5112568" cy="864096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none" lIns="216000" tIns="0" rIns="216000" bIns="36000" anchor="b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pPr lvl="0"/>
            <a:r>
              <a:rPr lang="en-US"/>
              <a:t>gfk.com</a:t>
            </a:r>
            <a:endParaRPr lang="en-US" dirty="0"/>
          </a:p>
        </p:txBody>
      </p:sp>
      <p:pic>
        <p:nvPicPr>
          <p:cNvPr id="461" name="Logo">
            <a:extLst>
              <a:ext uri="{FF2B5EF4-FFF2-40B4-BE49-F238E27FC236}">
                <a16:creationId xmlns:a16="http://schemas.microsoft.com/office/drawing/2014/main" id="{BC71DB4D-5230-9046-DE3C-00F4FEF000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88808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A3568926-9D91-43D4-5762-AA2BBAD7B9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3982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568926-9D91-43D4-5762-AA2BBAD7B9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685CB47E-0D87-FCC4-3820-6D644C18DC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099298DE-E06A-9FA2-7AEA-6A250F303CCF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8B381971-309E-2E9A-A96D-037EC4E5CF8D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16E1DD3E-4521-00D5-D380-BFC5AEBB5E46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87E48DE2-796D-FBC9-F0BC-86C5F27E7238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A8F85A94-767C-44A5-FED9-D9D206D1CB35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FC0F09F5-1AC0-40E5-A01E-3A80E3EB4363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1A1E0839-633B-50EE-B501-EFC4CB5105F2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E36BD96D-BDAC-B5BC-4BE4-8AC1FB0CC9B7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89F65E21-EC3E-C13A-286C-0054A5FDA021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4" name="Rechteck 253">
              <a:extLst>
                <a:ext uri="{FF2B5EF4-FFF2-40B4-BE49-F238E27FC236}">
                  <a16:creationId xmlns:a16="http://schemas.microsoft.com/office/drawing/2014/main" id="{D1A664F7-90BA-DD40-8607-58B72FE337FB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A159685F-534C-DB45-E57F-337AF14CD226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18C9DB83-871D-B859-F8A9-1A8ABEC0833E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1C8F521F-D69C-418D-9F7B-1FA9FB7FCBAD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2A3E32CC-8B53-9A78-4FA6-30DA1175BC76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3365733C-47F3-5C37-3767-DC5E98381805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2FAC8B6D-9D9D-A6A5-F486-0EA98EDBDD18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988442DE-9290-E29D-B143-6096AA1691C0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036F0499-5A4C-6AE7-3426-A0629E0451F4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9EDE2596-F826-912A-68B5-753B8D66C208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BBDE65CF-3FAC-186C-639A-471487ECA306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34DC858E-0602-4528-E8B1-BBF73092538A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A2944826-C2A4-C81A-9C08-43CBC5CD1461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38370F80-2004-4084-AE05-95087B34556F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E0EF814A-B7DB-D765-5742-4F206BB98E60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F64384CE-4E9F-20FD-15FC-A1185B0AC2D0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74CFA62C-9CA5-8D64-138D-6811DF5C73F3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2DEFA520-E3B8-9CC9-676B-8558D99F2F2E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52181960-F8DD-5DB1-D989-5B2604F54772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D0869A8A-D397-CBA6-2D68-8BA69318E079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8A8EC649-05B2-E1D6-4515-3539678647C7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4189D382-0910-ACB4-5C5D-1D6C1E662EEB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4FA594FC-C073-6A44-963E-F5727E43F223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B71A43A9-1591-7F46-5362-3E3EC4ABCF8D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2DC07CE8-9B82-E662-3424-6984B03D126A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E1F0D3C6-F900-2852-FCD9-6AE9CCCF7BB9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EC240967-5967-D338-5C5F-03719260AE24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2D6CDAEF-52F6-A940-5F11-185F2B948855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33C107FB-BA41-403D-2E52-90CC8ECE32CB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6EFAB287-CBBD-568B-2FCF-0E25AC73AD99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94749BE4-C8DD-12B8-9887-4ED663A9C86F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AC8A3420-AEB2-4444-8A82-8E67F7942E56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5F70EEE9-AD52-D124-458F-0F480AD9CBDE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76ABFFED-FD8E-EFEF-185D-F9791112F3BE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C6DF02EF-E239-9E57-BAA0-A3BA5A267936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6A93C050-C45B-655C-A8D5-81F45821F34F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DC127C89-E28B-FAFC-8EE6-8E51F10D3FC8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A18E2BA5-14CF-D4F1-331D-F17E88D9B0B9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5E2FE3C3-21CA-59CE-2C34-2622F9789687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F0C15979-FD42-25B2-9CFC-F1FD9AD46962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83D946BB-D316-222C-9688-31A7A0B36395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7EA09956-0411-3B44-0A6B-6E241AB12DDC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F5DC14F5-5FFD-8EB7-89C9-4BB5DC43F472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B1D5773B-6559-586A-37D8-F90F57CBE0D1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4F227C1D-F80A-E643-4F39-0E2806F65013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5565DB25-8540-FFE4-A0BF-A71133CCB316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E02D689C-4780-ACB7-D642-52262C76435C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08BBB852-C8FC-2974-23B1-A4703B376F84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60801002-4132-18D6-0CBD-EA3EE7FF77F6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D199CD04-F934-92F9-4FFC-F1F33884D9CE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B72DD046-0996-7D3F-2100-27478398B2CA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64D22EE3-6F98-BCC9-A392-80FC0EFA0DB8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A52A93B3-8FF4-167D-A9F4-B615F21F22D7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AFB9022E-CC5A-7D6E-0A43-880FCBD82793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4C1D5AC9-B747-BC0C-5038-004FD4D6E6E8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66BFDCB2-8771-8FCF-973C-2C38F3E8DDC3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964664A4-87DE-30F1-39CA-FBD1D9248CEF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107EF777-D452-5B27-AF58-CF67A945F5F2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5E0D9F7F-6B18-DF38-8F66-4D7586450301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8380F170-918F-8986-E7BD-1A80744248D5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8D1A9220-9D54-3DE9-1D1B-015A86E4798B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3876692B-C643-0442-1458-74C4446CA193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E1B79577-22BF-B4B2-64CA-4DA7492C2F33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B425E532-7DC5-3251-CC7D-BF4DCA4A63DD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D6F10C20-D90D-B010-F50D-97F1B36B4620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CD31FF1E-865A-1119-73F2-44AEB25F7E52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057378CC-5274-8417-6D56-E4DD72BC208D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DE01402A-1FE7-CD51-30B0-A7171C94EC49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EFE22E48-89D4-115F-2E01-750DF93ACA8F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C4BAD0D0-1DDE-D17F-A16E-FF43C7BA10CD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392781EE-9301-CD5C-07D3-923F7B683170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85DC5C1F-D7DB-6DCC-AEDA-8DFB4821F08D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0203E018-4C6C-A093-B794-7C63F27A7E77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D82CB250-6D11-A7C9-4A06-D1BB9D5D2BC9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85052836-228F-2F50-6403-A9DE748FD050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FD4C91E5-B971-38E4-D5D4-454B3B438361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B403208E-F3F0-4772-1E1D-BDC601AC2B44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76F1259A-219E-17D7-9F39-19C498FE59ED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0FF04C38-F9DD-B4E2-048C-B562C7EC03A1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6FE7AEEC-0F8F-8AFC-2076-D0AB39241B52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2F0819F7-FD0F-1965-142E-CED1666B2319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2B5CDF8A-F0B3-39B9-396F-2D55C9389CCF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15C4021A-98AF-2D21-149D-B27E0A20C8D3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C59BAF24-5E55-9B50-4C7D-83F4AD70BA4F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D450E0CD-0B6C-8C25-E487-CECA079C7E43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93121278-BD5F-C47C-48DC-297DCF113898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450092FF-0126-1FFB-372B-702ACD766B09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32AA5E24-B2E9-8F23-7A47-6FD8F24FE2B8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148FEAE9-5136-341D-2F61-1CE8B8E85789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4678B00D-CB83-F894-667F-AEE7D15D10F3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E4754A47-CFF1-16D2-E1F8-76A74E82C16F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ED4BB81D-9D49-F2FE-6EB2-41DBFF770B5D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911A7501-2C78-D74A-EE66-A4ADBA409FCD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2DAAEAFF-CA3B-4EF3-AC37-A33F389FDCCA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DBE24CA9-D7E8-128D-528E-27233F60FB9D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C80A07B7-7355-C947-953E-E9437F1197F8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33115933-5E0B-4810-3805-F6D8161F6A0A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8D6630F7-35BF-6009-FCED-CF3A7ECF60C8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28C7C701-0654-CAD4-53AC-BAAF68133B35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E09EF78C-2995-8026-B63F-12C6899F7753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27C62D65-3C42-2C1A-92B8-0A923E1CC81E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2117E66D-2EFF-1CB1-ADDE-21246D772E1B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F1B210AF-9AF3-EAB8-A497-FD845FE4AC9D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D0DB514A-09CB-EF03-F284-4C12282FB13B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28C74EE3-A63C-93F0-DA93-ACFACA9DAE4A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537D5C00-BF0F-0CA8-4596-750A1F5513B0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E997D750-8A32-0C54-46F2-70322B3CC145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B95D2E6D-5F62-7FD5-5323-45EA9AF3D419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0" name="Rechteck 389">
              <a:extLst>
                <a:ext uri="{FF2B5EF4-FFF2-40B4-BE49-F238E27FC236}">
                  <a16:creationId xmlns:a16="http://schemas.microsoft.com/office/drawing/2014/main" id="{372BF1A7-2D7F-D910-986F-5F490C0CAE5A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1" name="Rechteck 390">
              <a:extLst>
                <a:ext uri="{FF2B5EF4-FFF2-40B4-BE49-F238E27FC236}">
                  <a16:creationId xmlns:a16="http://schemas.microsoft.com/office/drawing/2014/main" id="{6153FC05-D790-68B9-E8AE-698A3257CEDA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2" name="Rechteck 391">
              <a:extLst>
                <a:ext uri="{FF2B5EF4-FFF2-40B4-BE49-F238E27FC236}">
                  <a16:creationId xmlns:a16="http://schemas.microsoft.com/office/drawing/2014/main" id="{EF1D21D2-F709-539D-DA9C-86780745C9ED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3" name="Rechteck 392">
              <a:extLst>
                <a:ext uri="{FF2B5EF4-FFF2-40B4-BE49-F238E27FC236}">
                  <a16:creationId xmlns:a16="http://schemas.microsoft.com/office/drawing/2014/main" id="{8F440F3F-9257-4024-170E-680474037D1C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4" name="Rechteck 393">
              <a:extLst>
                <a:ext uri="{FF2B5EF4-FFF2-40B4-BE49-F238E27FC236}">
                  <a16:creationId xmlns:a16="http://schemas.microsoft.com/office/drawing/2014/main" id="{6D339624-B7AE-1A58-6337-06597DD87CDA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5" name="Rechteck 394">
              <a:extLst>
                <a:ext uri="{FF2B5EF4-FFF2-40B4-BE49-F238E27FC236}">
                  <a16:creationId xmlns:a16="http://schemas.microsoft.com/office/drawing/2014/main" id="{6CB6E661-82D1-9965-2589-37F5DDFC9B7E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6" name="Rechteck 395">
              <a:extLst>
                <a:ext uri="{FF2B5EF4-FFF2-40B4-BE49-F238E27FC236}">
                  <a16:creationId xmlns:a16="http://schemas.microsoft.com/office/drawing/2014/main" id="{DAC38F8A-B4C4-4026-E353-E78C55225263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7" name="Rechteck 396">
              <a:extLst>
                <a:ext uri="{FF2B5EF4-FFF2-40B4-BE49-F238E27FC236}">
                  <a16:creationId xmlns:a16="http://schemas.microsoft.com/office/drawing/2014/main" id="{A340BA25-FAB6-834C-03FB-365D14D4252B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104BAA3F-85E1-4B0F-FE9E-59AAB946A9DE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DC6B7B5D-41A6-5226-8CFC-82705029BA98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426BCE23-BC42-FBED-00AF-57C9C65A03F6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B754AEF0-F4DB-E7BD-F6C4-B8C92D9D61BD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946DFB1C-70A9-31C5-DD51-7732DF3F3889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3" name="Rechteck 402">
              <a:extLst>
                <a:ext uri="{FF2B5EF4-FFF2-40B4-BE49-F238E27FC236}">
                  <a16:creationId xmlns:a16="http://schemas.microsoft.com/office/drawing/2014/main" id="{1C57CA21-A4A5-A06E-3553-16CA5DEB388B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5FECACD6-76A9-3953-BB43-714BA90932D8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5" name="Rechteck 404">
              <a:extLst>
                <a:ext uri="{FF2B5EF4-FFF2-40B4-BE49-F238E27FC236}">
                  <a16:creationId xmlns:a16="http://schemas.microsoft.com/office/drawing/2014/main" id="{948A9B39-BD7F-F3FD-61C3-040867624D78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6" name="Rechteck 405">
              <a:extLst>
                <a:ext uri="{FF2B5EF4-FFF2-40B4-BE49-F238E27FC236}">
                  <a16:creationId xmlns:a16="http://schemas.microsoft.com/office/drawing/2014/main" id="{6E6F791F-7BC6-9651-1B60-F72E0C784D0E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7980FF63-EFD0-56F9-97FA-3AD6E64BF8CD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07E145DD-7A3A-F22A-4BF7-0CEC1D029FDE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475178B4-7479-FA63-D991-0492C9E2C2F9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0" name="Rechteck 409">
              <a:extLst>
                <a:ext uri="{FF2B5EF4-FFF2-40B4-BE49-F238E27FC236}">
                  <a16:creationId xmlns:a16="http://schemas.microsoft.com/office/drawing/2014/main" id="{3D12DD6C-1E78-4D89-1F39-EBCFF0F939E7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A979C06A-567A-5BFF-831A-B7F899EFB9B8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4B9A181A-59D2-A741-F8A3-20DB7B2B7968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521CB164-C9A7-B6DA-14BF-03A994311B11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FBC73E5F-D3BB-45BC-5851-0BA3127DB570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1D49D96C-4FAF-F776-4D2D-F658D8D3FC91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6" name="Rechteck 415">
              <a:extLst>
                <a:ext uri="{FF2B5EF4-FFF2-40B4-BE49-F238E27FC236}">
                  <a16:creationId xmlns:a16="http://schemas.microsoft.com/office/drawing/2014/main" id="{74C0308F-506E-0C78-D2AE-80D122497785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3D6D0BA2-8FF9-1C7D-003D-96CAAA5B4899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8" name="Rechteck 417">
              <a:extLst>
                <a:ext uri="{FF2B5EF4-FFF2-40B4-BE49-F238E27FC236}">
                  <a16:creationId xmlns:a16="http://schemas.microsoft.com/office/drawing/2014/main" id="{DE998B6F-6977-A648-9588-4F72BC1800BB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9" name="Rechteck 418">
              <a:extLst>
                <a:ext uri="{FF2B5EF4-FFF2-40B4-BE49-F238E27FC236}">
                  <a16:creationId xmlns:a16="http://schemas.microsoft.com/office/drawing/2014/main" id="{4F0A0D47-E396-1710-F46C-EE812C03445F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0" name="Rechteck 419">
              <a:extLst>
                <a:ext uri="{FF2B5EF4-FFF2-40B4-BE49-F238E27FC236}">
                  <a16:creationId xmlns:a16="http://schemas.microsoft.com/office/drawing/2014/main" id="{269B6367-1EE3-5B7D-0C56-C4284833DF6F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1" name="Rechteck 420">
              <a:extLst>
                <a:ext uri="{FF2B5EF4-FFF2-40B4-BE49-F238E27FC236}">
                  <a16:creationId xmlns:a16="http://schemas.microsoft.com/office/drawing/2014/main" id="{FF2E12B5-3A72-5462-4BEB-39297C98FA76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2" name="Rechteck 421">
              <a:extLst>
                <a:ext uri="{FF2B5EF4-FFF2-40B4-BE49-F238E27FC236}">
                  <a16:creationId xmlns:a16="http://schemas.microsoft.com/office/drawing/2014/main" id="{C207C1EA-2BF4-555F-2192-60782FA4D05A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3" name="Rechteck 422">
              <a:extLst>
                <a:ext uri="{FF2B5EF4-FFF2-40B4-BE49-F238E27FC236}">
                  <a16:creationId xmlns:a16="http://schemas.microsoft.com/office/drawing/2014/main" id="{75E56738-90C9-5A16-DD6E-BD92AE91A322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4" name="Rechteck 423">
              <a:extLst>
                <a:ext uri="{FF2B5EF4-FFF2-40B4-BE49-F238E27FC236}">
                  <a16:creationId xmlns:a16="http://schemas.microsoft.com/office/drawing/2014/main" id="{21227CEA-AA7A-2FB8-158F-0CD4E052B2CA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5" name="Rechteck 424">
              <a:extLst>
                <a:ext uri="{FF2B5EF4-FFF2-40B4-BE49-F238E27FC236}">
                  <a16:creationId xmlns:a16="http://schemas.microsoft.com/office/drawing/2014/main" id="{488180DC-CCCD-EAFF-5CC6-7D9AC3A7E714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6" name="Rechteck 425">
              <a:extLst>
                <a:ext uri="{FF2B5EF4-FFF2-40B4-BE49-F238E27FC236}">
                  <a16:creationId xmlns:a16="http://schemas.microsoft.com/office/drawing/2014/main" id="{4E5C0D5F-2681-D06E-9003-3435750F580B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7" name="Rechteck 426">
              <a:extLst>
                <a:ext uri="{FF2B5EF4-FFF2-40B4-BE49-F238E27FC236}">
                  <a16:creationId xmlns:a16="http://schemas.microsoft.com/office/drawing/2014/main" id="{78068C1E-9DEE-07FC-4D70-76708CB1BB78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8" name="Rechteck 427">
              <a:extLst>
                <a:ext uri="{FF2B5EF4-FFF2-40B4-BE49-F238E27FC236}">
                  <a16:creationId xmlns:a16="http://schemas.microsoft.com/office/drawing/2014/main" id="{25580309-E091-5DEF-6198-F9B43BB5901A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9" name="Rechteck 428">
              <a:extLst>
                <a:ext uri="{FF2B5EF4-FFF2-40B4-BE49-F238E27FC236}">
                  <a16:creationId xmlns:a16="http://schemas.microsoft.com/office/drawing/2014/main" id="{771A18D3-D213-016F-7140-79767BDAB3CA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0" name="Rechteck 429">
              <a:extLst>
                <a:ext uri="{FF2B5EF4-FFF2-40B4-BE49-F238E27FC236}">
                  <a16:creationId xmlns:a16="http://schemas.microsoft.com/office/drawing/2014/main" id="{3B0C3EBE-50E3-4E0A-45F5-3F744AE224F7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1" name="Rechteck 430">
              <a:extLst>
                <a:ext uri="{FF2B5EF4-FFF2-40B4-BE49-F238E27FC236}">
                  <a16:creationId xmlns:a16="http://schemas.microsoft.com/office/drawing/2014/main" id="{3753699C-C521-B0F0-9AC4-511A81DA9E83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2" name="Rechteck 431">
              <a:extLst>
                <a:ext uri="{FF2B5EF4-FFF2-40B4-BE49-F238E27FC236}">
                  <a16:creationId xmlns:a16="http://schemas.microsoft.com/office/drawing/2014/main" id="{3735E678-D9A7-CAE0-5FE7-B6EDD7EA2513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3" name="Rechteck 432">
              <a:extLst>
                <a:ext uri="{FF2B5EF4-FFF2-40B4-BE49-F238E27FC236}">
                  <a16:creationId xmlns:a16="http://schemas.microsoft.com/office/drawing/2014/main" id="{A0935690-F6B6-77C9-4627-54DF11198AEB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4" name="Rechteck 433">
              <a:extLst>
                <a:ext uri="{FF2B5EF4-FFF2-40B4-BE49-F238E27FC236}">
                  <a16:creationId xmlns:a16="http://schemas.microsoft.com/office/drawing/2014/main" id="{8C56C90D-CF2E-F1DB-73A8-78FCE07E3FFF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5" name="Rechteck 434">
              <a:extLst>
                <a:ext uri="{FF2B5EF4-FFF2-40B4-BE49-F238E27FC236}">
                  <a16:creationId xmlns:a16="http://schemas.microsoft.com/office/drawing/2014/main" id="{7E55CCAA-E29B-9813-55E4-BFDE63F58B62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6" name="Rechteck 435">
              <a:extLst>
                <a:ext uri="{FF2B5EF4-FFF2-40B4-BE49-F238E27FC236}">
                  <a16:creationId xmlns:a16="http://schemas.microsoft.com/office/drawing/2014/main" id="{00F1A35D-CCD7-0C39-FF05-D218B35E9F38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7" name="Rechteck 436">
              <a:extLst>
                <a:ext uri="{FF2B5EF4-FFF2-40B4-BE49-F238E27FC236}">
                  <a16:creationId xmlns:a16="http://schemas.microsoft.com/office/drawing/2014/main" id="{0DD7BBAD-50DE-8F8D-BBD3-C852127B64A5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8" name="Rechteck 437">
              <a:extLst>
                <a:ext uri="{FF2B5EF4-FFF2-40B4-BE49-F238E27FC236}">
                  <a16:creationId xmlns:a16="http://schemas.microsoft.com/office/drawing/2014/main" id="{54061CAC-67B3-0D76-F67A-CC5D9E55EAD9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9" name="Rechteck 438">
              <a:extLst>
                <a:ext uri="{FF2B5EF4-FFF2-40B4-BE49-F238E27FC236}">
                  <a16:creationId xmlns:a16="http://schemas.microsoft.com/office/drawing/2014/main" id="{1052BFCA-58E7-9854-3F4A-41366E30712A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0" name="Rechteck 439">
              <a:extLst>
                <a:ext uri="{FF2B5EF4-FFF2-40B4-BE49-F238E27FC236}">
                  <a16:creationId xmlns:a16="http://schemas.microsoft.com/office/drawing/2014/main" id="{4F6F27FC-8C04-EAFC-28B4-7EF11A4592A0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1" name="Rechteck 440">
              <a:extLst>
                <a:ext uri="{FF2B5EF4-FFF2-40B4-BE49-F238E27FC236}">
                  <a16:creationId xmlns:a16="http://schemas.microsoft.com/office/drawing/2014/main" id="{F2FE5B29-2E9E-8C87-5E29-84ACEAF8A60B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2" name="Rechteck 441">
              <a:extLst>
                <a:ext uri="{FF2B5EF4-FFF2-40B4-BE49-F238E27FC236}">
                  <a16:creationId xmlns:a16="http://schemas.microsoft.com/office/drawing/2014/main" id="{82B273B4-2EB4-C6B5-26B2-592F02348F17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3" name="Rechteck 442">
              <a:extLst>
                <a:ext uri="{FF2B5EF4-FFF2-40B4-BE49-F238E27FC236}">
                  <a16:creationId xmlns:a16="http://schemas.microsoft.com/office/drawing/2014/main" id="{BEAB903B-B0B2-0842-8FDA-2CDE2574B796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4" name="Rechteck 443">
              <a:extLst>
                <a:ext uri="{FF2B5EF4-FFF2-40B4-BE49-F238E27FC236}">
                  <a16:creationId xmlns:a16="http://schemas.microsoft.com/office/drawing/2014/main" id="{5F31BAD2-55AC-1546-F9EE-311BCC0FF561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5" name="Rechteck 444">
              <a:extLst>
                <a:ext uri="{FF2B5EF4-FFF2-40B4-BE49-F238E27FC236}">
                  <a16:creationId xmlns:a16="http://schemas.microsoft.com/office/drawing/2014/main" id="{310D3E2B-0F7F-29D8-8A3D-2428CECCD084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6" name="Rechteck 445">
              <a:extLst>
                <a:ext uri="{FF2B5EF4-FFF2-40B4-BE49-F238E27FC236}">
                  <a16:creationId xmlns:a16="http://schemas.microsoft.com/office/drawing/2014/main" id="{6EBD042D-0ADD-C157-03E5-98982E0516A4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7" name="Rechteck 446">
              <a:extLst>
                <a:ext uri="{FF2B5EF4-FFF2-40B4-BE49-F238E27FC236}">
                  <a16:creationId xmlns:a16="http://schemas.microsoft.com/office/drawing/2014/main" id="{2010A626-BCF8-C159-80B5-68E849F01D16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8" name="Rechteck 447">
              <a:extLst>
                <a:ext uri="{FF2B5EF4-FFF2-40B4-BE49-F238E27FC236}">
                  <a16:creationId xmlns:a16="http://schemas.microsoft.com/office/drawing/2014/main" id="{4D5FD3D6-B8FA-516A-4F1D-2EA6D99DFF70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9" name="Rechteck 448">
              <a:extLst>
                <a:ext uri="{FF2B5EF4-FFF2-40B4-BE49-F238E27FC236}">
                  <a16:creationId xmlns:a16="http://schemas.microsoft.com/office/drawing/2014/main" id="{4D806E1A-63F3-9494-62B4-0958EFA17C86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0" name="Rechteck 449">
              <a:extLst>
                <a:ext uri="{FF2B5EF4-FFF2-40B4-BE49-F238E27FC236}">
                  <a16:creationId xmlns:a16="http://schemas.microsoft.com/office/drawing/2014/main" id="{1142A6DF-AB07-BCE1-83DC-DE56C9EF3EE0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1" name="Rechteck 450">
              <a:extLst>
                <a:ext uri="{FF2B5EF4-FFF2-40B4-BE49-F238E27FC236}">
                  <a16:creationId xmlns:a16="http://schemas.microsoft.com/office/drawing/2014/main" id="{552C3958-3A32-89A3-8190-0D723A7A8AB4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2" name="Rechteck 451">
              <a:extLst>
                <a:ext uri="{FF2B5EF4-FFF2-40B4-BE49-F238E27FC236}">
                  <a16:creationId xmlns:a16="http://schemas.microsoft.com/office/drawing/2014/main" id="{40A3CBAC-2625-2568-F3AF-9523DEC7A348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3" name="Rechteck 452">
              <a:extLst>
                <a:ext uri="{FF2B5EF4-FFF2-40B4-BE49-F238E27FC236}">
                  <a16:creationId xmlns:a16="http://schemas.microsoft.com/office/drawing/2014/main" id="{933B9B03-6FE6-F602-FB77-61E370821A6D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4" name="Rechteck 453">
              <a:extLst>
                <a:ext uri="{FF2B5EF4-FFF2-40B4-BE49-F238E27FC236}">
                  <a16:creationId xmlns:a16="http://schemas.microsoft.com/office/drawing/2014/main" id="{7BD01AD6-9503-9EDA-08B4-2469A090EF31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5" name="Rechteck 454">
              <a:extLst>
                <a:ext uri="{FF2B5EF4-FFF2-40B4-BE49-F238E27FC236}">
                  <a16:creationId xmlns:a16="http://schemas.microsoft.com/office/drawing/2014/main" id="{3627B657-15A6-F424-3E5E-DA213B3FB346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6" name="Rechteck 455">
              <a:extLst>
                <a:ext uri="{FF2B5EF4-FFF2-40B4-BE49-F238E27FC236}">
                  <a16:creationId xmlns:a16="http://schemas.microsoft.com/office/drawing/2014/main" id="{25A94974-A378-6CE9-0829-3646BB7521F3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7" name="Rechteck 456">
              <a:extLst>
                <a:ext uri="{FF2B5EF4-FFF2-40B4-BE49-F238E27FC236}">
                  <a16:creationId xmlns:a16="http://schemas.microsoft.com/office/drawing/2014/main" id="{FDE4239B-6AED-82DE-6BC0-377D4AA55262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8" name="Rechteck 457">
              <a:extLst>
                <a:ext uri="{FF2B5EF4-FFF2-40B4-BE49-F238E27FC236}">
                  <a16:creationId xmlns:a16="http://schemas.microsoft.com/office/drawing/2014/main" id="{66D6B586-C2ED-EA78-C3A7-D44949D57410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9" name="Rechteck 458">
              <a:extLst>
                <a:ext uri="{FF2B5EF4-FFF2-40B4-BE49-F238E27FC236}">
                  <a16:creationId xmlns:a16="http://schemas.microsoft.com/office/drawing/2014/main" id="{F21DD981-C90D-D10D-48EE-F39AA0315F9A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60" name="Rechteck 459">
              <a:extLst>
                <a:ext uri="{FF2B5EF4-FFF2-40B4-BE49-F238E27FC236}">
                  <a16:creationId xmlns:a16="http://schemas.microsoft.com/office/drawing/2014/main" id="{084F56CA-1232-A3EC-9DF0-A5A2E0F937CC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61" name="Rechteck 460">
              <a:extLst>
                <a:ext uri="{FF2B5EF4-FFF2-40B4-BE49-F238E27FC236}">
                  <a16:creationId xmlns:a16="http://schemas.microsoft.com/office/drawing/2014/main" id="{DCA994C7-F089-6336-D801-D5E32338D88E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sp>
        <p:nvSpPr>
          <p:cNvPr id="271" name="Shape">
            <a:extLst>
              <a:ext uri="{FF2B5EF4-FFF2-40B4-BE49-F238E27FC236}">
                <a16:creationId xmlns:a16="http://schemas.microsoft.com/office/drawing/2014/main" id="{EDC70E87-D333-4843-894B-F7329E01C1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839416" y="1988840"/>
            <a:ext cx="6480720" cy="4156745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7288205 w 8604028"/>
              <a:gd name="connsiteY2" fmla="*/ 427647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7288205 w 8604028"/>
              <a:gd name="connsiteY2" fmla="*/ 4306956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84708 w 8604028"/>
              <a:gd name="connsiteY2" fmla="*/ 4136122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984708" y="4136122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270" name="Shape">
            <a:extLst>
              <a:ext uri="{FF2B5EF4-FFF2-40B4-BE49-F238E27FC236}">
                <a16:creationId xmlns:a16="http://schemas.microsoft.com/office/drawing/2014/main" id="{CA04DA29-1BDE-4E17-8832-0715948621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911415" y="2060841"/>
            <a:ext cx="6336713" cy="4032000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7288205 w 8604028"/>
              <a:gd name="connsiteY2" fmla="*/ 427647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7288205 w 8604028"/>
              <a:gd name="connsiteY2" fmla="*/ 4306956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7003677 w 8604028"/>
              <a:gd name="connsiteY2" fmla="*/ 4117289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7003677" y="4117289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255" name="Title">
            <a:extLst>
              <a:ext uri="{FF2B5EF4-FFF2-40B4-BE49-F238E27FC236}">
                <a16:creationId xmlns:a16="http://schemas.microsoft.com/office/drawing/2014/main" id="{9258FB6E-C910-44A9-A44D-172431214D3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1199456" y="2349032"/>
            <a:ext cx="4823960" cy="1008000"/>
          </a:xfrm>
          <a:prstGeom prst="rect">
            <a:avLst/>
          </a:prstGeom>
          <a:noFill/>
          <a:ln w="127">
            <a:noFill/>
          </a:ln>
        </p:spPr>
        <p:txBody>
          <a:bodyPr vert="horz" lIns="0" tIns="0" rIns="0" bIns="0" anchor="t">
            <a:noAutofit/>
          </a:bodyPr>
          <a:lstStyle>
            <a:lvl1pPr algn="l" rtl="0">
              <a:lnSpc>
                <a:spcPct val="90000"/>
              </a:lnSpc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[Thank You and Call to action]</a:t>
            </a:r>
            <a:endParaRPr lang="en-US" dirty="0"/>
          </a:p>
        </p:txBody>
      </p:sp>
      <p:sp>
        <p:nvSpPr>
          <p:cNvPr id="274" name="Subtitle">
            <a:extLst>
              <a:ext uri="{FF2B5EF4-FFF2-40B4-BE49-F238E27FC236}">
                <a16:creationId xmlns:a16="http://schemas.microsoft.com/office/drawing/2014/main" id="{A8B8056C-BBE6-D8A0-F11F-1492BA40AB9A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1199456" y="3501040"/>
            <a:ext cx="4823968" cy="288000"/>
          </a:xfrm>
          <a:prstGeom prst="rect">
            <a:avLst/>
          </a:prstGeom>
          <a:noFill/>
          <a:ln w="127">
            <a:noFill/>
          </a:ln>
        </p:spPr>
        <p:txBody>
          <a:bodyPr wrap="none" lIns="0" tIns="0" rIns="0" anchor="t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pPr lvl="0"/>
            <a:r>
              <a:rPr lang="en-US"/>
              <a:t>gfk.com</a:t>
            </a:r>
            <a:endParaRPr lang="en-US" dirty="0"/>
          </a:p>
        </p:txBody>
      </p:sp>
      <p:pic>
        <p:nvPicPr>
          <p:cNvPr id="462" name="Logo">
            <a:extLst>
              <a:ext uri="{FF2B5EF4-FFF2-40B4-BE49-F238E27FC236}">
                <a16:creationId xmlns:a16="http://schemas.microsoft.com/office/drawing/2014/main" id="{1299D722-9302-8F05-AD61-D26D0C59BF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8012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AC392D03-D80A-2C27-88B2-F963A92321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8189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392D03-D80A-2C27-88B2-F963A92321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13467F1-BE30-FD72-7DD6-AE7ADF5042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E7423DED-F77B-5587-E0A4-6BBED86BC8C9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2060B532-D43E-D5D3-C445-1E3E67C3EC0D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66472FC1-A984-A4DA-CE20-6C4052E59D5F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C0C2DBEA-D492-21F2-6EB6-AD2A2993D1F3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D48B2931-B59E-D74A-0382-4A9635427A80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91BB8759-DD0A-A19F-5DE5-E15934772F2E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C49D43D0-A61D-E89C-96B4-1CC3B797BF14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901E8FFB-AC2E-21BE-52C4-7D3A86D69A75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D2146B3C-D9F9-E241-02E4-CB108C5EB781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4" name="Rechteck 253">
              <a:extLst>
                <a:ext uri="{FF2B5EF4-FFF2-40B4-BE49-F238E27FC236}">
                  <a16:creationId xmlns:a16="http://schemas.microsoft.com/office/drawing/2014/main" id="{DF6ACB3C-E092-63F5-0B2D-A0F7CEB0DD41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4963E757-6917-CDCE-3E3C-6FFC0D9AE149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3A47800C-5742-1DAF-0B8A-F3F72701AB96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A6BB1644-8BC2-875D-C041-E73FE1E6124A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95BE4E2E-6A98-C6E8-6B8A-BF5056DE6ACC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701FAB0E-1D91-6B3F-DCDB-DAD89DC30318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1BBA7413-7067-D9CB-5209-637E7652EB31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73E03A6E-0C53-9CBA-E72A-4D323DDD3E83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04D474B5-CC6E-9B25-C93D-76668D8989BE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91A4C33F-5DF6-C1D0-BEDF-DFFBDE1A2FA3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E3CA1DC6-3090-9CE7-9FAB-FD07F6F6AE49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48848D33-41C0-18C4-0129-FAED00CDDB9F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FA30762F-350F-E567-CDF0-683E6801635F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926DA330-1A53-78F8-BD99-B3EC8BEAE4C7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451DF817-1010-DAAF-40CC-E000D40EA314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0" name="Rechteck 269">
              <a:extLst>
                <a:ext uri="{FF2B5EF4-FFF2-40B4-BE49-F238E27FC236}">
                  <a16:creationId xmlns:a16="http://schemas.microsoft.com/office/drawing/2014/main" id="{ED3448D2-075D-A1A5-0CC2-FAE9C0B3B847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88FBD3D2-2A91-C554-0C94-7FF8DF2C8366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41004D7A-5BF2-4178-0CB7-B0462D26F4C7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1573AC0F-2DAB-9495-2842-A8E91151CE8E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C3647F7F-E68F-E878-6BC0-211E3441FE0B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1C1BB745-15C6-9EF8-398F-2083404681DB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6E516459-E671-7385-A7B8-E69DDDE36591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0772D9AC-42AF-23DC-7672-096FE5FBD020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32448726-04AE-D527-D4BA-DE7C1678B972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DED17F50-D917-EE19-E81A-F6246EAEBC3B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93DB758B-A89C-82E8-148A-9AEC4332158F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F743F08D-81E2-E824-1D29-23AC898B280B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242065BD-14E1-08AD-7D0E-0BCEC4CF7E57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A5B137C1-EF0C-8A28-DD4C-267116AC4EF0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135DA7A6-5E86-A86F-606E-7DDDF9A65287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99982506-A775-2599-57EF-9578179D2F1E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7F6B88A1-E3D5-1D6A-834C-FAF6D78BA99D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5D84D400-269D-ADFA-4041-0901C08EFC68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75DC0CD8-1D7E-FE10-9FF5-60F4FE01E04C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294EBB81-5C48-B480-8259-13AD2410AD56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2C9ABC6D-FC4E-1EE9-2460-A4572083B651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22940873-566B-2B28-BDD0-3036E8B1F4AA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A166E38C-C20D-525C-2533-A6DAD530C073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18E67A5E-842D-1789-AEA7-6BA4D2BB6FB3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AA5CF0B4-42AE-D1B4-652F-9130A901EBAB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1920040C-F7BE-34EC-D136-88E87298EC37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16983F46-985D-77AC-64DC-C94DC800A7D7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C9C8E4F4-3530-5062-BA11-A7AD23C40E88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B0466958-9B10-80A4-EA88-CC9A13607532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3A60FDFB-DD66-2FE9-4D6F-A98026EEBA85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E61045B2-A0FC-B5DF-60EE-C998E25E5F0D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51741F11-AD4F-E759-76AF-4E06010DAF6F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99DE6A5A-0063-D00F-5F4F-FF7F6CD13812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93173961-9777-73DE-50AA-981E4B67F4DB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65D090A3-5F80-4184-6127-30B7DC979F6E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3EEEFC00-B4C1-50C2-0E91-A282E5EA6778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CB5946F5-540C-7D70-2FE9-F4EDF6056F6A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0789032A-B87A-9D6D-A8F1-A8488F627E1A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A2068A85-FDA3-156F-F8AF-63DCFD4808E5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1CBD2FA3-0587-9BB3-E48A-2B164F8497E9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8310D755-7204-5835-281C-37DCB5942A29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B11A1E2F-BD65-4541-D39A-972904518742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A5BD8D93-559F-D802-7647-D53B820F1675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966ABFF6-70B6-6E4A-E667-47EC1A32812D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54E57B5A-3956-4785-FC91-7D473D94DE67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F428F29E-3FF5-FE09-44AB-F594C87679BB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1DC23505-A3B9-C928-3E37-05F5D045EBE0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375303D8-D737-7526-5BE2-D615495B96CA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702745FC-D77E-1A28-3083-026ECAEB441D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70CDF4BA-F613-E431-3CD8-D235929E1D35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270E4007-780E-DEA4-BC46-0A5AD0541B97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83FD5ADC-954B-B5D9-EEBE-C08A802D8598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5FD77969-F7B4-2748-B2AE-8311EE6EF2CD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9A6F7713-E774-E331-E646-95E0C41DEA06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2AF238E8-AED8-5B9F-0E9D-32A5744D34DB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FB815BA1-0829-6BF7-23C0-1F75701C5350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9F273434-48FF-328C-54E1-AAC8ABFB91A9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BFA83060-D893-68FF-740B-2CACDC0AC04B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10F185B2-AE63-D92A-95DC-97757789F10F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48F2640F-E09C-4EEA-26E9-530C3BAAD24E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C772412B-1524-ACF8-CC3E-7421D87DF787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37F8D13B-CD16-CD37-D0B9-300C31268589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DD2CFC35-4052-7B0D-A409-A607FFB1D41E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504B2F9F-8720-0FA2-4D5A-17632B6BDBA3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5F120347-3EA9-74C6-B7EC-F47FB116576D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D5803117-F54E-6D04-8986-3AE82A99839E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E2F73A8B-24BE-C14F-4CBF-E7E97F983245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AE2BCCDE-DC41-2832-15FA-ED90FCC89289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F0FCDFD5-8C02-472A-6C59-2D3FA1D02DF2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21849AE7-5CA6-5732-436C-6FBC47369A51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3E93462A-0E30-3F29-62CA-141BBE14ACCE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B787E128-6E91-FCD9-065B-8217A8DA70BF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4941A868-7D1C-FFD9-5A19-BF20DD312402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EADBEDB9-849A-6949-24AC-3537733FDD63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67205EDB-0C75-77C5-4234-F9A3F88DD602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4792A158-8530-C9D8-CAAF-A6495AE0CF62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5B0E8EC8-C1D0-07A9-7156-B10389ECDF83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88B0034C-535E-A243-8C6B-33A43560B578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4454193D-737A-3A15-C7CE-1B6AF6E396D8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967FA7F2-5207-1DDB-E6C9-54105B4C50AF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58B342C3-BD5D-F5BD-C55F-06AF437B9503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E8A1B713-2C8C-A75F-53EF-D6908AA04F50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E0BD645E-2114-0AA9-182C-9B2B1B12EFDA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D3288DA2-929C-0E13-9576-20BBD1FFA4F1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CB06518C-A092-7935-5BF4-44673BFF57F5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6ED7F1EA-F493-EFB9-E708-63403564F167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7650424E-808F-CE28-D08C-0C053905EB48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8DA2DF58-05DA-DE11-ABB2-7C7157779DBB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C23FC7C7-14B5-0393-6C83-A9CB957E94DF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9C1C0ED2-923A-5132-A1DA-1EE28FC335E8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1E07D847-CB35-44D7-DA99-2005167CBF44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AE83271C-0DB8-F19F-6649-0A6F52F70985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2D8BAF9E-E87C-04B4-0CED-1168F3B14878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0" name="Rechteck 389">
              <a:extLst>
                <a:ext uri="{FF2B5EF4-FFF2-40B4-BE49-F238E27FC236}">
                  <a16:creationId xmlns:a16="http://schemas.microsoft.com/office/drawing/2014/main" id="{717DF1DC-EABB-CD2B-8DC3-E77B5F4B8746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1" name="Rechteck 390">
              <a:extLst>
                <a:ext uri="{FF2B5EF4-FFF2-40B4-BE49-F238E27FC236}">
                  <a16:creationId xmlns:a16="http://schemas.microsoft.com/office/drawing/2014/main" id="{FEB9697A-A2DD-EB7C-4820-F11EF7AEDBAF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2" name="Rechteck 391">
              <a:extLst>
                <a:ext uri="{FF2B5EF4-FFF2-40B4-BE49-F238E27FC236}">
                  <a16:creationId xmlns:a16="http://schemas.microsoft.com/office/drawing/2014/main" id="{6C77E67F-71A3-2778-99C5-782E779B86C3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3" name="Rechteck 392">
              <a:extLst>
                <a:ext uri="{FF2B5EF4-FFF2-40B4-BE49-F238E27FC236}">
                  <a16:creationId xmlns:a16="http://schemas.microsoft.com/office/drawing/2014/main" id="{2CFA2DE6-FC0C-86C2-4AF5-18A53BBD5D56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4" name="Rechteck 393">
              <a:extLst>
                <a:ext uri="{FF2B5EF4-FFF2-40B4-BE49-F238E27FC236}">
                  <a16:creationId xmlns:a16="http://schemas.microsoft.com/office/drawing/2014/main" id="{3054A794-A875-F1A7-B441-F930DCFAD3B4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5" name="Rechteck 394">
              <a:extLst>
                <a:ext uri="{FF2B5EF4-FFF2-40B4-BE49-F238E27FC236}">
                  <a16:creationId xmlns:a16="http://schemas.microsoft.com/office/drawing/2014/main" id="{3A0B63BD-B348-FFF4-0E71-7A55ED8FABBC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6" name="Rechteck 395">
              <a:extLst>
                <a:ext uri="{FF2B5EF4-FFF2-40B4-BE49-F238E27FC236}">
                  <a16:creationId xmlns:a16="http://schemas.microsoft.com/office/drawing/2014/main" id="{6CD12FB2-1FCB-6F86-9468-20E803B999C9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7" name="Rechteck 396">
              <a:extLst>
                <a:ext uri="{FF2B5EF4-FFF2-40B4-BE49-F238E27FC236}">
                  <a16:creationId xmlns:a16="http://schemas.microsoft.com/office/drawing/2014/main" id="{8EE1D0B4-034D-8DF7-86B7-4DEA4C774770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5622053B-17A7-F1EC-7C82-D454F6FE337F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5284C8C2-1823-C1AF-91B9-9DEF66F175AE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2A309D02-91C1-344B-1943-1122020E404C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37C9A05F-AD5B-9FE7-FE9C-8955CDED97B8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6AFBC0FE-2C80-DCC6-7390-007E4C804F31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3" name="Rechteck 402">
              <a:extLst>
                <a:ext uri="{FF2B5EF4-FFF2-40B4-BE49-F238E27FC236}">
                  <a16:creationId xmlns:a16="http://schemas.microsoft.com/office/drawing/2014/main" id="{77684F37-FA49-1915-46A3-87526FA554E4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D24C95A2-ABDD-8193-93BC-BE1FAE13A80D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5" name="Rechteck 404">
              <a:extLst>
                <a:ext uri="{FF2B5EF4-FFF2-40B4-BE49-F238E27FC236}">
                  <a16:creationId xmlns:a16="http://schemas.microsoft.com/office/drawing/2014/main" id="{753BD046-3765-801D-0454-E2430E8A4C9D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6" name="Rechteck 405">
              <a:extLst>
                <a:ext uri="{FF2B5EF4-FFF2-40B4-BE49-F238E27FC236}">
                  <a16:creationId xmlns:a16="http://schemas.microsoft.com/office/drawing/2014/main" id="{AAD3E089-5A59-F388-05A2-B2DCADE795C3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3025646E-9355-E0D7-E52B-11B02E0B453A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9E66D3BC-3D05-1C9F-0176-51E9CB1D81FD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8FD4FD3C-56DB-9458-CA49-8EE6B89D3F9F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0" name="Rechteck 409">
              <a:extLst>
                <a:ext uri="{FF2B5EF4-FFF2-40B4-BE49-F238E27FC236}">
                  <a16:creationId xmlns:a16="http://schemas.microsoft.com/office/drawing/2014/main" id="{A5463FF5-BB97-749D-952A-4D4CCD9348C7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40D07749-038B-0D51-CD6F-03A6111B36FC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ACBD5972-7FD1-850A-0838-BE3378B2956B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12603CB2-4EE1-DC54-E279-F7D74447DE95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23E4A52C-A98F-B108-046E-FFC950B2EAFD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939C80ED-3B6E-5C02-9691-77910AF97143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6" name="Rechteck 415">
              <a:extLst>
                <a:ext uri="{FF2B5EF4-FFF2-40B4-BE49-F238E27FC236}">
                  <a16:creationId xmlns:a16="http://schemas.microsoft.com/office/drawing/2014/main" id="{49A1C6E8-DEDB-D184-F8AF-3B31B70CDDCF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D32A219D-8F4A-EA98-0954-EE826A95F539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8" name="Rechteck 417">
              <a:extLst>
                <a:ext uri="{FF2B5EF4-FFF2-40B4-BE49-F238E27FC236}">
                  <a16:creationId xmlns:a16="http://schemas.microsoft.com/office/drawing/2014/main" id="{E6A96948-DE53-C251-D167-1F2B73D174C1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9" name="Rechteck 418">
              <a:extLst>
                <a:ext uri="{FF2B5EF4-FFF2-40B4-BE49-F238E27FC236}">
                  <a16:creationId xmlns:a16="http://schemas.microsoft.com/office/drawing/2014/main" id="{BD745677-2FD0-DEF3-280A-4E793189982D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0" name="Rechteck 419">
              <a:extLst>
                <a:ext uri="{FF2B5EF4-FFF2-40B4-BE49-F238E27FC236}">
                  <a16:creationId xmlns:a16="http://schemas.microsoft.com/office/drawing/2014/main" id="{491A5F00-45A6-7488-5392-16348DC40A22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1" name="Rechteck 420">
              <a:extLst>
                <a:ext uri="{FF2B5EF4-FFF2-40B4-BE49-F238E27FC236}">
                  <a16:creationId xmlns:a16="http://schemas.microsoft.com/office/drawing/2014/main" id="{A1AE0E94-619A-F192-98EF-EDF9F505495D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2" name="Rechteck 421">
              <a:extLst>
                <a:ext uri="{FF2B5EF4-FFF2-40B4-BE49-F238E27FC236}">
                  <a16:creationId xmlns:a16="http://schemas.microsoft.com/office/drawing/2014/main" id="{59062921-96A7-EFDA-82FA-A6DF4D1D4F8D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3" name="Rechteck 422">
              <a:extLst>
                <a:ext uri="{FF2B5EF4-FFF2-40B4-BE49-F238E27FC236}">
                  <a16:creationId xmlns:a16="http://schemas.microsoft.com/office/drawing/2014/main" id="{665D7D14-049B-C526-BEB9-B6B36B42A8E0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4" name="Rechteck 423">
              <a:extLst>
                <a:ext uri="{FF2B5EF4-FFF2-40B4-BE49-F238E27FC236}">
                  <a16:creationId xmlns:a16="http://schemas.microsoft.com/office/drawing/2014/main" id="{8E8A048A-6697-C616-49CA-26AA164D1EB0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5" name="Rechteck 424">
              <a:extLst>
                <a:ext uri="{FF2B5EF4-FFF2-40B4-BE49-F238E27FC236}">
                  <a16:creationId xmlns:a16="http://schemas.microsoft.com/office/drawing/2014/main" id="{8000DCA7-04ED-9592-2999-13ECCAA5D05F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6" name="Rechteck 425">
              <a:extLst>
                <a:ext uri="{FF2B5EF4-FFF2-40B4-BE49-F238E27FC236}">
                  <a16:creationId xmlns:a16="http://schemas.microsoft.com/office/drawing/2014/main" id="{D3C6F6C5-9A1D-B210-9D3D-4275EFD94DEA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7" name="Rechteck 426">
              <a:extLst>
                <a:ext uri="{FF2B5EF4-FFF2-40B4-BE49-F238E27FC236}">
                  <a16:creationId xmlns:a16="http://schemas.microsoft.com/office/drawing/2014/main" id="{0906C8A7-2C31-F684-B82B-47E312B4D5F3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8" name="Rechteck 427">
              <a:extLst>
                <a:ext uri="{FF2B5EF4-FFF2-40B4-BE49-F238E27FC236}">
                  <a16:creationId xmlns:a16="http://schemas.microsoft.com/office/drawing/2014/main" id="{109CED36-448B-FD83-92BE-C67F9E4E83C1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9" name="Rechteck 428">
              <a:extLst>
                <a:ext uri="{FF2B5EF4-FFF2-40B4-BE49-F238E27FC236}">
                  <a16:creationId xmlns:a16="http://schemas.microsoft.com/office/drawing/2014/main" id="{5740C2A5-C601-6FB3-9BBD-E955CF72A898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0" name="Rechteck 429">
              <a:extLst>
                <a:ext uri="{FF2B5EF4-FFF2-40B4-BE49-F238E27FC236}">
                  <a16:creationId xmlns:a16="http://schemas.microsoft.com/office/drawing/2014/main" id="{7DA783E9-7B5A-581A-B883-D6A945AE59CA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1" name="Rechteck 430">
              <a:extLst>
                <a:ext uri="{FF2B5EF4-FFF2-40B4-BE49-F238E27FC236}">
                  <a16:creationId xmlns:a16="http://schemas.microsoft.com/office/drawing/2014/main" id="{A9E6376B-B750-82E4-B230-730BBA14CF36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2" name="Rechteck 431">
              <a:extLst>
                <a:ext uri="{FF2B5EF4-FFF2-40B4-BE49-F238E27FC236}">
                  <a16:creationId xmlns:a16="http://schemas.microsoft.com/office/drawing/2014/main" id="{4DCAB17B-692E-002D-68D8-ED50B2CDC83F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3" name="Rechteck 432">
              <a:extLst>
                <a:ext uri="{FF2B5EF4-FFF2-40B4-BE49-F238E27FC236}">
                  <a16:creationId xmlns:a16="http://schemas.microsoft.com/office/drawing/2014/main" id="{0445DFA1-EB1D-9845-74A4-CA6F42A01372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4" name="Rechteck 433">
              <a:extLst>
                <a:ext uri="{FF2B5EF4-FFF2-40B4-BE49-F238E27FC236}">
                  <a16:creationId xmlns:a16="http://schemas.microsoft.com/office/drawing/2014/main" id="{54256315-C447-9FF7-D6D1-7D04F989DDEE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5" name="Rechteck 434">
              <a:extLst>
                <a:ext uri="{FF2B5EF4-FFF2-40B4-BE49-F238E27FC236}">
                  <a16:creationId xmlns:a16="http://schemas.microsoft.com/office/drawing/2014/main" id="{DD5A3098-8BD9-BB54-3FDA-6818AE5629DB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6" name="Rechteck 435">
              <a:extLst>
                <a:ext uri="{FF2B5EF4-FFF2-40B4-BE49-F238E27FC236}">
                  <a16:creationId xmlns:a16="http://schemas.microsoft.com/office/drawing/2014/main" id="{F3388114-849B-7105-CEB6-63E0C63E4039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7" name="Rechteck 436">
              <a:extLst>
                <a:ext uri="{FF2B5EF4-FFF2-40B4-BE49-F238E27FC236}">
                  <a16:creationId xmlns:a16="http://schemas.microsoft.com/office/drawing/2014/main" id="{0773F36D-4DD7-F453-8C9E-06D9DCB8444B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8" name="Rechteck 437">
              <a:extLst>
                <a:ext uri="{FF2B5EF4-FFF2-40B4-BE49-F238E27FC236}">
                  <a16:creationId xmlns:a16="http://schemas.microsoft.com/office/drawing/2014/main" id="{5CC7F65E-0F73-4C4F-7E30-D45B46C80D28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9" name="Rechteck 438">
              <a:extLst>
                <a:ext uri="{FF2B5EF4-FFF2-40B4-BE49-F238E27FC236}">
                  <a16:creationId xmlns:a16="http://schemas.microsoft.com/office/drawing/2014/main" id="{A7DDA776-1E0C-3223-5641-5A65E87C81E4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0" name="Rechteck 439">
              <a:extLst>
                <a:ext uri="{FF2B5EF4-FFF2-40B4-BE49-F238E27FC236}">
                  <a16:creationId xmlns:a16="http://schemas.microsoft.com/office/drawing/2014/main" id="{FD025CEA-A2A9-7F19-091E-DAAAE9639D80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1" name="Rechteck 440">
              <a:extLst>
                <a:ext uri="{FF2B5EF4-FFF2-40B4-BE49-F238E27FC236}">
                  <a16:creationId xmlns:a16="http://schemas.microsoft.com/office/drawing/2014/main" id="{78CE09F1-191C-56CE-E067-B3DE32A7E726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2" name="Rechteck 441">
              <a:extLst>
                <a:ext uri="{FF2B5EF4-FFF2-40B4-BE49-F238E27FC236}">
                  <a16:creationId xmlns:a16="http://schemas.microsoft.com/office/drawing/2014/main" id="{DC78922B-50F8-FAFF-6590-35F60BA2F9B0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3" name="Rechteck 442">
              <a:extLst>
                <a:ext uri="{FF2B5EF4-FFF2-40B4-BE49-F238E27FC236}">
                  <a16:creationId xmlns:a16="http://schemas.microsoft.com/office/drawing/2014/main" id="{0F02CEAD-27F9-76E6-65F1-F5C28941D2E2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4" name="Rechteck 443">
              <a:extLst>
                <a:ext uri="{FF2B5EF4-FFF2-40B4-BE49-F238E27FC236}">
                  <a16:creationId xmlns:a16="http://schemas.microsoft.com/office/drawing/2014/main" id="{2C27E6F0-2835-0935-1AB2-981297EF32E3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5" name="Rechteck 444">
              <a:extLst>
                <a:ext uri="{FF2B5EF4-FFF2-40B4-BE49-F238E27FC236}">
                  <a16:creationId xmlns:a16="http://schemas.microsoft.com/office/drawing/2014/main" id="{92553365-5D46-8BD5-3542-3C406EBB16B9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6" name="Rechteck 445">
              <a:extLst>
                <a:ext uri="{FF2B5EF4-FFF2-40B4-BE49-F238E27FC236}">
                  <a16:creationId xmlns:a16="http://schemas.microsoft.com/office/drawing/2014/main" id="{B46DE53C-EBC9-500D-F566-42A642A3994C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7" name="Rechteck 446">
              <a:extLst>
                <a:ext uri="{FF2B5EF4-FFF2-40B4-BE49-F238E27FC236}">
                  <a16:creationId xmlns:a16="http://schemas.microsoft.com/office/drawing/2014/main" id="{73AE972C-B0D1-E1EF-9231-F75A714B4963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8" name="Rechteck 447">
              <a:extLst>
                <a:ext uri="{FF2B5EF4-FFF2-40B4-BE49-F238E27FC236}">
                  <a16:creationId xmlns:a16="http://schemas.microsoft.com/office/drawing/2014/main" id="{77C561AA-DE93-AB88-62EC-F091B1675AB7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9" name="Rechteck 448">
              <a:extLst>
                <a:ext uri="{FF2B5EF4-FFF2-40B4-BE49-F238E27FC236}">
                  <a16:creationId xmlns:a16="http://schemas.microsoft.com/office/drawing/2014/main" id="{1FEA5B8E-4718-E53C-DC33-71206A4B5733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0" name="Rechteck 449">
              <a:extLst>
                <a:ext uri="{FF2B5EF4-FFF2-40B4-BE49-F238E27FC236}">
                  <a16:creationId xmlns:a16="http://schemas.microsoft.com/office/drawing/2014/main" id="{F810EA55-028E-A191-5051-AAD6BD2916A8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1" name="Rechteck 450">
              <a:extLst>
                <a:ext uri="{FF2B5EF4-FFF2-40B4-BE49-F238E27FC236}">
                  <a16:creationId xmlns:a16="http://schemas.microsoft.com/office/drawing/2014/main" id="{8C6D6F39-9FB2-AD4B-FFB4-C73EBAC0E6B9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2" name="Rechteck 451">
              <a:extLst>
                <a:ext uri="{FF2B5EF4-FFF2-40B4-BE49-F238E27FC236}">
                  <a16:creationId xmlns:a16="http://schemas.microsoft.com/office/drawing/2014/main" id="{F7A70FFA-EE19-2A3E-B40F-46107B95D633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3" name="Rechteck 452">
              <a:extLst>
                <a:ext uri="{FF2B5EF4-FFF2-40B4-BE49-F238E27FC236}">
                  <a16:creationId xmlns:a16="http://schemas.microsoft.com/office/drawing/2014/main" id="{FAF5E6AE-4C2E-C254-0526-099EE8498D45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4" name="Rechteck 453">
              <a:extLst>
                <a:ext uri="{FF2B5EF4-FFF2-40B4-BE49-F238E27FC236}">
                  <a16:creationId xmlns:a16="http://schemas.microsoft.com/office/drawing/2014/main" id="{4636C050-94CF-3DEA-DC37-7BFC71F3ECCC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5" name="Rechteck 454">
              <a:extLst>
                <a:ext uri="{FF2B5EF4-FFF2-40B4-BE49-F238E27FC236}">
                  <a16:creationId xmlns:a16="http://schemas.microsoft.com/office/drawing/2014/main" id="{FE3CFBAC-AE76-9731-CBF2-9F892F210DBC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6" name="Rechteck 455">
              <a:extLst>
                <a:ext uri="{FF2B5EF4-FFF2-40B4-BE49-F238E27FC236}">
                  <a16:creationId xmlns:a16="http://schemas.microsoft.com/office/drawing/2014/main" id="{8E8D8792-562E-B2F0-FAF3-132D00689DAB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7" name="Rechteck 456">
              <a:extLst>
                <a:ext uri="{FF2B5EF4-FFF2-40B4-BE49-F238E27FC236}">
                  <a16:creationId xmlns:a16="http://schemas.microsoft.com/office/drawing/2014/main" id="{46418CED-FD4C-B9FE-F95D-175F44D1080D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8" name="Rechteck 457">
              <a:extLst>
                <a:ext uri="{FF2B5EF4-FFF2-40B4-BE49-F238E27FC236}">
                  <a16:creationId xmlns:a16="http://schemas.microsoft.com/office/drawing/2014/main" id="{15755616-948D-9B30-4DB2-0590086C7F8E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9" name="Rechteck 458">
              <a:extLst>
                <a:ext uri="{FF2B5EF4-FFF2-40B4-BE49-F238E27FC236}">
                  <a16:creationId xmlns:a16="http://schemas.microsoft.com/office/drawing/2014/main" id="{7D096609-7436-972B-AFC7-EDB1A658882E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60" name="Rechteck 459">
              <a:extLst>
                <a:ext uri="{FF2B5EF4-FFF2-40B4-BE49-F238E27FC236}">
                  <a16:creationId xmlns:a16="http://schemas.microsoft.com/office/drawing/2014/main" id="{4C21D753-C1A0-557F-5434-695B4B801F6C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61" name="Rechteck 460">
              <a:extLst>
                <a:ext uri="{FF2B5EF4-FFF2-40B4-BE49-F238E27FC236}">
                  <a16:creationId xmlns:a16="http://schemas.microsoft.com/office/drawing/2014/main" id="{AC33DA15-B0CA-2461-11FB-671B20EBB9EA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sp>
        <p:nvSpPr>
          <p:cNvPr id="275" name="Shape">
            <a:extLst>
              <a:ext uri="{FF2B5EF4-FFF2-40B4-BE49-F238E27FC236}">
                <a16:creationId xmlns:a16="http://schemas.microsoft.com/office/drawing/2014/main" id="{C0816E57-F737-4DE9-B1EF-B6C527A347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839417" y="1988840"/>
            <a:ext cx="3024336" cy="3096344"/>
          </a:xfrm>
          <a:custGeom>
            <a:avLst/>
            <a:gdLst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517775 w 3022600"/>
              <a:gd name="connsiteY2" fmla="*/ 2520950 h 3024187"/>
              <a:gd name="connsiteX3" fmla="*/ 0 w 3022600"/>
              <a:gd name="connsiteY3" fmla="*/ 3024187 h 302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22600" h="3024187">
                <a:moveTo>
                  <a:pt x="0" y="0"/>
                </a:moveTo>
                <a:lnTo>
                  <a:pt x="3022600" y="0"/>
                </a:lnTo>
                <a:lnTo>
                  <a:pt x="2517775" y="2520950"/>
                </a:lnTo>
                <a:lnTo>
                  <a:pt x="0" y="3024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sp>
        <p:nvSpPr>
          <p:cNvPr id="274" name="Shape">
            <a:extLst>
              <a:ext uri="{FF2B5EF4-FFF2-40B4-BE49-F238E27FC236}">
                <a16:creationId xmlns:a16="http://schemas.microsoft.com/office/drawing/2014/main" id="{2EF2035B-25E2-4574-8A4A-D1A83A6485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909753" y="2059253"/>
            <a:ext cx="2881991" cy="2953923"/>
          </a:xfrm>
          <a:custGeom>
            <a:avLst/>
            <a:gdLst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517775 w 3022600"/>
              <a:gd name="connsiteY2" fmla="*/ 2520950 h 3024187"/>
              <a:gd name="connsiteX3" fmla="*/ 0 w 3022600"/>
              <a:gd name="connsiteY3" fmla="*/ 3024187 h 302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22600" h="3024187">
                <a:moveTo>
                  <a:pt x="0" y="0"/>
                </a:moveTo>
                <a:lnTo>
                  <a:pt x="3022600" y="0"/>
                </a:lnTo>
                <a:lnTo>
                  <a:pt x="2517775" y="2520950"/>
                </a:lnTo>
                <a:lnTo>
                  <a:pt x="0" y="302418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sp>
        <p:nvSpPr>
          <p:cNvPr id="255" name="Title">
            <a:extLst>
              <a:ext uri="{FF2B5EF4-FFF2-40B4-BE49-F238E27FC236}">
                <a16:creationId xmlns:a16="http://schemas.microsoft.com/office/drawing/2014/main" id="{9258FB6E-C910-44A9-A44D-172431214D3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1204143" y="2349032"/>
            <a:ext cx="2297610" cy="1296000"/>
          </a:xfrm>
          <a:prstGeom prst="rect">
            <a:avLst/>
          </a:prstGeom>
          <a:noFill/>
          <a:ln w="127">
            <a:noFill/>
          </a:ln>
        </p:spPr>
        <p:txBody>
          <a:bodyPr vert="horz" lIns="0" tIns="0" rIns="0" bIns="0" anchor="t">
            <a:noAutofit/>
          </a:bodyPr>
          <a:lstStyle>
            <a:lvl1pPr algn="l" rtl="0">
              <a:lnSpc>
                <a:spcPct val="90000"/>
              </a:lnSpc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[Thank You]</a:t>
            </a:r>
            <a:endParaRPr lang="en-US" dirty="0"/>
          </a:p>
        </p:txBody>
      </p:sp>
      <p:sp>
        <p:nvSpPr>
          <p:cNvPr id="271" name="Subtitle">
            <a:extLst>
              <a:ext uri="{FF2B5EF4-FFF2-40B4-BE49-F238E27FC236}">
                <a16:creationId xmlns:a16="http://schemas.microsoft.com/office/drawing/2014/main" id="{266E9096-0006-85D5-E288-890B63E2FBD3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1199456" y="3789040"/>
            <a:ext cx="2160240" cy="288000"/>
          </a:xfrm>
          <a:prstGeom prst="rect">
            <a:avLst/>
          </a:prstGeom>
          <a:noFill/>
          <a:ln w="127">
            <a:noFill/>
          </a:ln>
        </p:spPr>
        <p:txBody>
          <a:bodyPr wrap="none" lIns="0" tIns="0" rIns="0" anchor="t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pPr lvl="0"/>
            <a:r>
              <a:rPr lang="en-US"/>
              <a:t>gfk.com</a:t>
            </a:r>
            <a:endParaRPr lang="en-US" dirty="0"/>
          </a:p>
        </p:txBody>
      </p:sp>
      <p:pic>
        <p:nvPicPr>
          <p:cNvPr id="462" name="Logo">
            <a:extLst>
              <a:ext uri="{FF2B5EF4-FFF2-40B4-BE49-F238E27FC236}">
                <a16:creationId xmlns:a16="http://schemas.microsoft.com/office/drawing/2014/main" id="{1BF0593D-C8C0-AA78-4C3F-6AC2DE3C87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5980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F9D5330-5C10-EA82-4129-39F22B862F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7684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9D5330-5C10-EA82-4129-39F22B862F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11"/>
          <p:cNvSpPr>
            <a:spLocks noGrp="1"/>
          </p:cNvSpPr>
          <p:nvPr>
            <p:ph type="pic" sz="quarter" idx="17" hasCustomPrompt="1"/>
          </p:nvPr>
        </p:nvSpPr>
        <p:spPr>
          <a:xfrm>
            <a:off x="-1" y="0"/>
            <a:ext cx="8822478" cy="6858000"/>
          </a:xfrm>
          <a:custGeom>
            <a:avLst/>
            <a:gdLst>
              <a:gd name="connsiteX0" fmla="*/ 0 w 8822478"/>
              <a:gd name="connsiteY0" fmla="*/ 0 h 6858000"/>
              <a:gd name="connsiteX1" fmla="*/ 8477306 w 8822478"/>
              <a:gd name="connsiteY1" fmla="*/ 0 h 6858000"/>
              <a:gd name="connsiteX2" fmla="*/ 6998505 w 8822478"/>
              <a:gd name="connsiteY2" fmla="*/ 3834029 h 6858000"/>
              <a:gd name="connsiteX3" fmla="*/ 8822478 w 8822478"/>
              <a:gd name="connsiteY3" fmla="*/ 6858000 h 6858000"/>
              <a:gd name="connsiteX4" fmla="*/ 0 w 8822478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22478" h="6858000">
                <a:moveTo>
                  <a:pt x="0" y="0"/>
                </a:moveTo>
                <a:lnTo>
                  <a:pt x="8477306" y="0"/>
                </a:lnTo>
                <a:lnTo>
                  <a:pt x="6998505" y="3834029"/>
                </a:lnTo>
                <a:lnTo>
                  <a:pt x="8822478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9DADB"/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37533" y="2908628"/>
            <a:ext cx="4082992" cy="2103640"/>
          </a:xfrm>
          <a:prstGeom prst="rect">
            <a:avLst/>
          </a:prstGeo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7" name="Date Placeholder 27">
            <a:extLst>
              <a:ext uri="{FF2B5EF4-FFF2-40B4-BE49-F238E27FC236}">
                <a16:creationId xmlns:a16="http://schemas.microsoft.com/office/drawing/2014/main" id="{ADE1E9F9-FBAF-394E-A314-0EABD1CFEB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2088" y="6461671"/>
            <a:ext cx="761512" cy="13379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 rtl="0">
              <a:defRPr sz="800">
                <a:solidFill>
                  <a:schemeClr val="bg1"/>
                </a:solidFill>
              </a:defRPr>
            </a:lvl1pPr>
          </a:lstStyle>
          <a:p>
            <a:fld id="{D87C0D1C-2E9F-4BFE-8158-6FC503AE3131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8" name="Footer Placeholder 28">
            <a:extLst>
              <a:ext uri="{FF2B5EF4-FFF2-40B4-BE49-F238E27FC236}">
                <a16:creationId xmlns:a16="http://schemas.microsoft.com/office/drawing/2014/main" id="{63BA1789-D1C8-C747-8641-ABF6E53348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76400" y="6461671"/>
            <a:ext cx="8162717" cy="13379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144000" indent="-144000" algn="l" rtl="0">
              <a:buClr>
                <a:schemeClr val="tx2"/>
              </a:buClr>
              <a:buFont typeface="Wingdings" panose="05000000000000000000" pitchFamily="2" charset="2"/>
              <a:buChar char="§"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9" name="Slide Number Placeholder 29">
            <a:extLst>
              <a:ext uri="{FF2B5EF4-FFF2-40B4-BE49-F238E27FC236}">
                <a16:creationId xmlns:a16="http://schemas.microsoft.com/office/drawing/2014/main" id="{885D08F5-B56A-0544-BEE5-2FA1615F66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6669" y="6461671"/>
            <a:ext cx="648000" cy="13379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fld id="{5F3E29E4-0979-4FCA-B4C5-5FC6044C98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DBD7890-AED9-4944-BFE1-FABFDC77A9B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75063" y="6307665"/>
            <a:ext cx="8162717" cy="1332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800" baseline="0">
                <a:solidFill>
                  <a:schemeClr val="bg1"/>
                </a:solidFill>
              </a:defRPr>
            </a:lvl1pPr>
            <a:lvl2pPr marL="0" indent="0" algn="l" rt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2pPr>
            <a:lvl3pPr marL="0" indent="0" algn="l" rt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3pPr>
            <a:lvl4pPr marL="0" algn="l" rt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4pPr>
            <a:lvl5pPr marL="0" indent="0" algn="l" rt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ource 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0579970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5220875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 bwMode="gray">
          <a:xfrm>
            <a:off x="431213" y="1700760"/>
            <a:ext cx="11328987" cy="460902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add headlin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214" y="1220695"/>
            <a:ext cx="11329573" cy="384053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4" y="6404736"/>
            <a:ext cx="11328557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15889621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wo contents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">
            <a:extLst>
              <a:ext uri="{FF2B5EF4-FFF2-40B4-BE49-F238E27FC236}">
                <a16:creationId xmlns:a16="http://schemas.microsoft.com/office/drawing/2014/main" id="{88B08B0E-0F2C-4F39-8C83-40D56780A4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EE808A18-70FE-DEF8-E6D2-29530301EDF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5360" y="2060575"/>
            <a:ext cx="2592288" cy="4032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03689BB-5D3D-4CA0-AB51-B4084500818D}"/>
              </a:ext>
            </a:extLst>
          </p:cNvPr>
          <p:cNvSpPr>
            <a:spLocks noGrp="1"/>
          </p:cNvSpPr>
          <p:nvPr>
            <p:ph idx="21" hasCustomPrompt="1"/>
          </p:nvPr>
        </p:nvSpPr>
        <p:spPr bwMode="gray">
          <a:xfrm>
            <a:off x="3503712" y="2060575"/>
            <a:ext cx="2592288" cy="4032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672263" y="2060575"/>
            <a:ext cx="5184775" cy="403225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0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8" y="6525000"/>
            <a:ext cx="9144512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3786BD5-22CA-99DE-9E0E-717C8157D8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D052B948-6A8B-4C33-8D96-A7EE98A4EB94}" type="datetime1">
              <a:rPr lang="en-GB" smtClean="0"/>
              <a:t>12/02/2026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1ECC00D-5CF3-B203-FBF0-46A16B02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39BCCD-2AB5-4A2C-D8EC-2F02CB0424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4450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2" pos="211">
          <p15:clr>
            <a:srgbClr val="FBAE40"/>
          </p15:clr>
        </p15:guide>
        <p15:guide id="3" pos="3840">
          <p15:clr>
            <a:srgbClr val="FBAE40"/>
          </p15:clr>
        </p15:guide>
        <p15:guide id="4" pos="4203">
          <p15:clr>
            <a:srgbClr val="FBAE40"/>
          </p15:clr>
        </p15:guide>
        <p15:guide id="5" pos="7469">
          <p15:clr>
            <a:srgbClr val="FBAE40"/>
          </p15:clr>
        </p15:guide>
        <p15:guide id="6" orient="horz" pos="3838">
          <p15:clr>
            <a:srgbClr val="FBAE40"/>
          </p15:clr>
        </p15:guide>
        <p15:guide id="7" orient="horz" pos="935">
          <p15:clr>
            <a:srgbClr val="FBAE40"/>
          </p15:clr>
        </p15:guide>
      </p15:sldGuideLst>
    </p:ext>
  </p:extLs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5402042"/>
      </p:ext>
    </p:extLst>
  </p:cSld>
  <p:clrMapOvr>
    <a:masterClrMapping/>
  </p:clrMapOvr>
  <p:transition/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140D17AB-F26D-F89B-151C-0DF0AEDA96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3190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0D17AB-F26D-F89B-151C-0DF0AEDA96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tatic Light Bkgd">
            <a:extLst>
              <a:ext uri="{FF2B5EF4-FFF2-40B4-BE49-F238E27FC236}">
                <a16:creationId xmlns:a16="http://schemas.microsoft.com/office/drawing/2014/main" id="{C4626CD7-1C0C-6928-FA7F-84C22CDFEB5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cxnSp>
        <p:nvCxnSpPr>
          <p:cNvPr id="9" name="Horizontal Rule">
            <a:extLst>
              <a:ext uri="{FF2B5EF4-FFF2-40B4-BE49-F238E27FC236}">
                <a16:creationId xmlns:a16="http://schemas.microsoft.com/office/drawing/2014/main" id="{429C2072-EE2B-A064-5CA2-6097546F935A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292100" y="1364752"/>
            <a:ext cx="11607800" cy="0"/>
          </a:xfrm>
          <a:prstGeom prst="line">
            <a:avLst/>
          </a:prstGeom>
          <a:ln w="12700">
            <a:solidFill>
              <a:srgbClr val="5555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fidential disclaimer">
            <a:extLst>
              <a:ext uri="{FF2B5EF4-FFF2-40B4-BE49-F238E27FC236}">
                <a16:creationId xmlns:a16="http://schemas.microsoft.com/office/drawing/2014/main" id="{BB35ED0A-9206-82C6-8F45-ACF38F7B1A6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798636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15" name="Copyright Line">
            <a:extLst>
              <a:ext uri="{FF2B5EF4-FFF2-40B4-BE49-F238E27FC236}">
                <a16:creationId xmlns:a16="http://schemas.microsoft.com/office/drawing/2014/main" id="{D439B148-E719-27C3-3403-978BEDC13EC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88558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36" name="Footer Placeholder">
            <a:extLst>
              <a:ext uri="{FF2B5EF4-FFF2-40B4-BE49-F238E27FC236}">
                <a16:creationId xmlns:a16="http://schemas.microsoft.com/office/drawing/2014/main" id="{7A2163E9-256E-9B73-6413-FAB496F455C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3"/>
          </p:nvPr>
        </p:nvSpPr>
        <p:spPr>
          <a:xfrm>
            <a:off x="3251200" y="6485399"/>
            <a:ext cx="3716336" cy="282957"/>
          </a:xfrm>
          <a:noFill/>
        </p:spPr>
        <p:txBody>
          <a:bodyPr/>
          <a:lstStyle>
            <a:lvl1pPr algn="l" rtl="0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34C6756D-B2C7-2A2B-E9A7-BB5F5972C73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2"/>
          </p:nvPr>
        </p:nvSpPr>
        <p:spPr>
          <a:xfrm>
            <a:off x="292100" y="6073688"/>
            <a:ext cx="1744664" cy="282957"/>
          </a:xfrm>
        </p:spPr>
        <p:txBody>
          <a:bodyPr/>
          <a:lstStyle>
            <a:lvl1pPr rtl="0">
              <a:defRPr sz="1200">
                <a:solidFill>
                  <a:srgbClr val="555555"/>
                </a:solidFill>
              </a:defRPr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19" name="Title/Dept Placeholder">
            <a:extLst>
              <a:ext uri="{FF2B5EF4-FFF2-40B4-BE49-F238E27FC236}">
                <a16:creationId xmlns:a16="http://schemas.microsoft.com/office/drawing/2014/main" id="{6942A971-1821-DF95-6B7B-A7991E06FA8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 hasCustomPrompt="1"/>
          </p:nvPr>
        </p:nvSpPr>
        <p:spPr>
          <a:xfrm>
            <a:off x="292100" y="5562225"/>
            <a:ext cx="8625842" cy="344385"/>
          </a:xfrm>
        </p:spPr>
        <p:txBody>
          <a:bodyPr t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rgbClr val="555555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/Department</a:t>
            </a:r>
          </a:p>
        </p:txBody>
      </p:sp>
      <p:sp>
        <p:nvSpPr>
          <p:cNvPr id="18" name="Presenter Name Placeholder">
            <a:extLst>
              <a:ext uri="{FF2B5EF4-FFF2-40B4-BE49-F238E27FC236}">
                <a16:creationId xmlns:a16="http://schemas.microsoft.com/office/drawing/2014/main" id="{4D8E56BE-097F-EB4E-3287-BD1DCBFF488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292100" y="5194091"/>
            <a:ext cx="8625841" cy="344384"/>
          </a:xfrm>
        </p:spPr>
        <p:txBody>
          <a:bodyPr tIns="0" bIns="0" anchor="b" anchorCtr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rgbClr val="555555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D952C9CE-AA03-A24B-BBD9-8EA2482DC59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292100" y="4151030"/>
            <a:ext cx="8625840" cy="837882"/>
          </a:xfr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55555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5F151AF7-737A-1648-9BC4-B9D881179FB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292100" y="1671355"/>
            <a:ext cx="8625840" cy="238760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>
              <a:defRPr sz="5400">
                <a:solidFill>
                  <a:srgbClr val="555555"/>
                </a:solidFill>
              </a:defRPr>
            </a:lvl1pPr>
          </a:lstStyle>
          <a:p>
            <a:r>
              <a:rPr lang="en-US" dirty="0"/>
              <a:t>Insert your presentation title here maximum of three lines</a:t>
            </a:r>
          </a:p>
        </p:txBody>
      </p:sp>
      <p:pic>
        <p:nvPicPr>
          <p:cNvPr id="11" name="NielsenIQ GFK lockup" hidden="1">
            <a:extLst>
              <a:ext uri="{FF2B5EF4-FFF2-40B4-BE49-F238E27FC236}">
                <a16:creationId xmlns:a16="http://schemas.microsoft.com/office/drawing/2014/main" id="{7D277D99-518B-9609-51D0-587AB5DBF23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86122" y="321743"/>
            <a:ext cx="3377876" cy="753596"/>
          </a:xfrm>
          <a:prstGeom prst="rect">
            <a:avLst/>
          </a:prstGeom>
        </p:spPr>
      </p:pic>
      <p:pic>
        <p:nvPicPr>
          <p:cNvPr id="5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9851AB56-8AE6-EEF1-0330-E0C0C6360BE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558" y="305205"/>
            <a:ext cx="2211998" cy="763139"/>
          </a:xfrm>
          <a:prstGeom prst="rect">
            <a:avLst/>
          </a:prstGeom>
        </p:spPr>
      </p:pic>
      <p:sp>
        <p:nvSpPr>
          <p:cNvPr id="4" name="Nielsen wordmark">
            <a:extLst>
              <a:ext uri="{FF2B5EF4-FFF2-40B4-BE49-F238E27FC236}">
                <a16:creationId xmlns:a16="http://schemas.microsoft.com/office/drawing/2014/main" id="{114DF69D-7EB6-203C-43F0-B2D46A94C48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295274" y="443155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accent1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796791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6C0F7D6-CA53-358A-86CE-0341ED5F6F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7430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C0F7D6-CA53-358A-86CE-0341ED5F6F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tatic Dark Bkgd">
            <a:extLst>
              <a:ext uri="{FF2B5EF4-FFF2-40B4-BE49-F238E27FC236}">
                <a16:creationId xmlns:a16="http://schemas.microsoft.com/office/drawing/2014/main" id="{C44FA2BA-550D-EDA0-ABAB-D662C16F137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cxnSp>
        <p:nvCxnSpPr>
          <p:cNvPr id="9" name="Horizontal Rule">
            <a:extLst>
              <a:ext uri="{FF2B5EF4-FFF2-40B4-BE49-F238E27FC236}">
                <a16:creationId xmlns:a16="http://schemas.microsoft.com/office/drawing/2014/main" id="{429C2072-EE2B-A064-5CA2-6097546F935A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292100" y="1364752"/>
            <a:ext cx="11607800" cy="0"/>
          </a:xfrm>
          <a:prstGeom prst="line">
            <a:avLst/>
          </a:prstGeom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fidential disclaimer">
            <a:extLst>
              <a:ext uri="{FF2B5EF4-FFF2-40B4-BE49-F238E27FC236}">
                <a16:creationId xmlns:a16="http://schemas.microsoft.com/office/drawing/2014/main" id="{0CFED10E-E876-D584-0DE6-56605800FA6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798636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15" name="Copyright Line">
            <a:extLst>
              <a:ext uri="{FF2B5EF4-FFF2-40B4-BE49-F238E27FC236}">
                <a16:creationId xmlns:a16="http://schemas.microsoft.com/office/drawing/2014/main" id="{D439B148-E719-27C3-3403-978BEDC13EC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88558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10" name="Footer Placeholder">
            <a:extLst>
              <a:ext uri="{FF2B5EF4-FFF2-40B4-BE49-F238E27FC236}">
                <a16:creationId xmlns:a16="http://schemas.microsoft.com/office/drawing/2014/main" id="{671A6FA9-FE3E-4211-C84B-88F574FE85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3"/>
          </p:nvPr>
        </p:nvSpPr>
        <p:spPr>
          <a:xfrm>
            <a:off x="3251200" y="6485399"/>
            <a:ext cx="3716336" cy="282957"/>
          </a:xfrm>
          <a:noFill/>
        </p:spPr>
        <p:txBody>
          <a:bodyPr/>
          <a:lstStyle>
            <a:lvl1pPr algn="l" rtl="0"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34C6756D-B2C7-2A2B-E9A7-BB5F5972C73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2"/>
          </p:nvPr>
        </p:nvSpPr>
        <p:spPr>
          <a:xfrm>
            <a:off x="292100" y="6073688"/>
            <a:ext cx="1744664" cy="282957"/>
          </a:xfrm>
        </p:spPr>
        <p:txBody>
          <a:bodyPr/>
          <a:lstStyle>
            <a:lvl1pPr rtl="0">
              <a:defRPr sz="1200">
                <a:solidFill>
                  <a:srgbClr val="FFFFFF"/>
                </a:solidFill>
              </a:defRPr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19" name="Title/Dept Placeholder">
            <a:extLst>
              <a:ext uri="{FF2B5EF4-FFF2-40B4-BE49-F238E27FC236}">
                <a16:creationId xmlns:a16="http://schemas.microsoft.com/office/drawing/2014/main" id="{6942A971-1821-DF95-6B7B-A7991E06FA8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 hasCustomPrompt="1"/>
          </p:nvPr>
        </p:nvSpPr>
        <p:spPr>
          <a:xfrm>
            <a:off x="292100" y="5562225"/>
            <a:ext cx="8625842" cy="344385"/>
          </a:xfrm>
        </p:spPr>
        <p:txBody>
          <a:bodyPr t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/Department</a:t>
            </a:r>
          </a:p>
        </p:txBody>
      </p:sp>
      <p:sp>
        <p:nvSpPr>
          <p:cNvPr id="18" name="Presenter Name Placeholder">
            <a:extLst>
              <a:ext uri="{FF2B5EF4-FFF2-40B4-BE49-F238E27FC236}">
                <a16:creationId xmlns:a16="http://schemas.microsoft.com/office/drawing/2014/main" id="{4D8E56BE-097F-EB4E-3287-BD1DCBFF488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292100" y="5194091"/>
            <a:ext cx="8625841" cy="344384"/>
          </a:xfrm>
        </p:spPr>
        <p:txBody>
          <a:bodyPr tIns="0" bIns="0" anchor="b" anchorCtr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D952C9CE-AA03-A24B-BBD9-8EA2482DC59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292100" y="4151030"/>
            <a:ext cx="8625840" cy="837882"/>
          </a:xfr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5F151AF7-737A-1648-9BC4-B9D881179FB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292100" y="1671355"/>
            <a:ext cx="8625840" cy="238760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>
              <a:defRPr sz="5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Insert your presentation title here maximum of three lines</a:t>
            </a:r>
          </a:p>
        </p:txBody>
      </p:sp>
      <p:pic>
        <p:nvPicPr>
          <p:cNvPr id="11" name="NielsenIQ GFK lockup" hidden="1">
            <a:extLst>
              <a:ext uri="{FF2B5EF4-FFF2-40B4-BE49-F238E27FC236}">
                <a16:creationId xmlns:a16="http://schemas.microsoft.com/office/drawing/2014/main" id="{F5A22785-6BE6-D1CC-4D14-4C9F4152DA6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86122" y="321743"/>
            <a:ext cx="3377876" cy="753596"/>
          </a:xfrm>
          <a:prstGeom prst="rect">
            <a:avLst/>
          </a:prstGeom>
        </p:spPr>
      </p:pic>
      <p:pic>
        <p:nvPicPr>
          <p:cNvPr id="12" name="NielsenIQ logo+wordmark" hidden="1">
            <a:extLst>
              <a:ext uri="{FF2B5EF4-FFF2-40B4-BE49-F238E27FC236}">
                <a16:creationId xmlns:a16="http://schemas.microsoft.com/office/drawing/2014/main" id="{8189DD20-160D-9FA4-6050-54CA59644796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8558" y="305205"/>
            <a:ext cx="2211753" cy="763139"/>
          </a:xfrm>
          <a:prstGeom prst="rect">
            <a:avLst/>
          </a:prstGeom>
        </p:spPr>
      </p:pic>
      <p:sp>
        <p:nvSpPr>
          <p:cNvPr id="23" name="Nielsen wordmark">
            <a:extLst>
              <a:ext uri="{FF2B5EF4-FFF2-40B4-BE49-F238E27FC236}">
                <a16:creationId xmlns:a16="http://schemas.microsoft.com/office/drawing/2014/main" id="{A534929D-2AB3-3703-CE21-C24AAF5B90D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95274" y="443155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tx2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7901893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A734124-9A6C-BD6B-DD33-21BADE0F39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437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734124-9A6C-BD6B-DD33-21BADE0F39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tatic Dark Bkgd">
            <a:extLst>
              <a:ext uri="{FF2B5EF4-FFF2-40B4-BE49-F238E27FC236}">
                <a16:creationId xmlns:a16="http://schemas.microsoft.com/office/drawing/2014/main" id="{C44FA2BA-550D-EDA0-ABAB-D662C16F137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60A4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cxnSp>
        <p:nvCxnSpPr>
          <p:cNvPr id="9" name="Horizontal Rule">
            <a:extLst>
              <a:ext uri="{FF2B5EF4-FFF2-40B4-BE49-F238E27FC236}">
                <a16:creationId xmlns:a16="http://schemas.microsoft.com/office/drawing/2014/main" id="{429C2072-EE2B-A064-5CA2-6097546F935A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292100" y="1364752"/>
            <a:ext cx="11607800" cy="0"/>
          </a:xfrm>
          <a:prstGeom prst="line">
            <a:avLst/>
          </a:prstGeom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fidential disclaimer">
            <a:extLst>
              <a:ext uri="{FF2B5EF4-FFF2-40B4-BE49-F238E27FC236}">
                <a16:creationId xmlns:a16="http://schemas.microsoft.com/office/drawing/2014/main" id="{15979AA9-9DD3-3AAB-213C-8B9A6FF3D1D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798636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15" name="Copyright Line">
            <a:extLst>
              <a:ext uri="{FF2B5EF4-FFF2-40B4-BE49-F238E27FC236}">
                <a16:creationId xmlns:a16="http://schemas.microsoft.com/office/drawing/2014/main" id="{D439B148-E719-27C3-3403-978BEDC13EC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88558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10" name="Footer Placeholder">
            <a:extLst>
              <a:ext uri="{FF2B5EF4-FFF2-40B4-BE49-F238E27FC236}">
                <a16:creationId xmlns:a16="http://schemas.microsoft.com/office/drawing/2014/main" id="{671A6FA9-FE3E-4211-C84B-88F574FE85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3"/>
          </p:nvPr>
        </p:nvSpPr>
        <p:spPr>
          <a:xfrm>
            <a:off x="3251200" y="6485399"/>
            <a:ext cx="3716336" cy="282957"/>
          </a:xfrm>
          <a:solidFill>
            <a:schemeClr val="tx2"/>
          </a:solidFill>
        </p:spPr>
        <p:txBody>
          <a:bodyPr/>
          <a:lstStyle>
            <a:lvl1pPr algn="l" rtl="0"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34C6756D-B2C7-2A2B-E9A7-BB5F5972C73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2"/>
          </p:nvPr>
        </p:nvSpPr>
        <p:spPr>
          <a:xfrm>
            <a:off x="292100" y="6073688"/>
            <a:ext cx="1744664" cy="282957"/>
          </a:xfrm>
        </p:spPr>
        <p:txBody>
          <a:bodyPr/>
          <a:lstStyle>
            <a:lvl1pPr rtl="0">
              <a:defRPr sz="1200">
                <a:solidFill>
                  <a:srgbClr val="FFFFFF"/>
                </a:solidFill>
              </a:defRPr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19" name="Title/Dept Placeholder">
            <a:extLst>
              <a:ext uri="{FF2B5EF4-FFF2-40B4-BE49-F238E27FC236}">
                <a16:creationId xmlns:a16="http://schemas.microsoft.com/office/drawing/2014/main" id="{6942A971-1821-DF95-6B7B-A7991E06FA8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 hasCustomPrompt="1"/>
          </p:nvPr>
        </p:nvSpPr>
        <p:spPr>
          <a:xfrm>
            <a:off x="292100" y="5562225"/>
            <a:ext cx="8625842" cy="344385"/>
          </a:xfrm>
        </p:spPr>
        <p:txBody>
          <a:bodyPr t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/Department</a:t>
            </a:r>
          </a:p>
        </p:txBody>
      </p:sp>
      <p:sp>
        <p:nvSpPr>
          <p:cNvPr id="18" name="Presenter Name Placeholder">
            <a:extLst>
              <a:ext uri="{FF2B5EF4-FFF2-40B4-BE49-F238E27FC236}">
                <a16:creationId xmlns:a16="http://schemas.microsoft.com/office/drawing/2014/main" id="{4D8E56BE-097F-EB4E-3287-BD1DCBFF488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292100" y="5194091"/>
            <a:ext cx="8625841" cy="344384"/>
          </a:xfrm>
        </p:spPr>
        <p:txBody>
          <a:bodyPr tIns="0" bIns="0" anchor="b" anchorCtr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D952C9CE-AA03-A24B-BBD9-8EA2482DC59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292100" y="4151030"/>
            <a:ext cx="8625840" cy="837882"/>
          </a:xfr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5F151AF7-737A-1648-9BC4-B9D881179FB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292100" y="1671355"/>
            <a:ext cx="8625840" cy="238760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>
              <a:defRPr sz="5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Insert your presentation title here maximum of three lines</a:t>
            </a:r>
          </a:p>
        </p:txBody>
      </p:sp>
      <p:pic>
        <p:nvPicPr>
          <p:cNvPr id="4" name="NielsenIQ GFK lockup" hidden="1">
            <a:extLst>
              <a:ext uri="{FF2B5EF4-FFF2-40B4-BE49-F238E27FC236}">
                <a16:creationId xmlns:a16="http://schemas.microsoft.com/office/drawing/2014/main" id="{C8AAA83D-C3BC-19DA-FC85-5AFC9A752B02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86122" y="321743"/>
            <a:ext cx="3377876" cy="753596"/>
          </a:xfrm>
          <a:prstGeom prst="rect">
            <a:avLst/>
          </a:prstGeom>
        </p:spPr>
      </p:pic>
      <p:pic>
        <p:nvPicPr>
          <p:cNvPr id="12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8189DD20-160D-9FA4-6050-54CA59644796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558" y="305205"/>
            <a:ext cx="2211998" cy="763139"/>
          </a:xfrm>
          <a:prstGeom prst="rect">
            <a:avLst/>
          </a:prstGeom>
        </p:spPr>
      </p:pic>
      <p:sp>
        <p:nvSpPr>
          <p:cNvPr id="23" name="Nielsen wordmark">
            <a:extLst>
              <a:ext uri="{FF2B5EF4-FFF2-40B4-BE49-F238E27FC236}">
                <a16:creationId xmlns:a16="http://schemas.microsoft.com/office/drawing/2014/main" id="{ACEC4A6E-78BA-F45C-EDE6-561ED4C493C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95274" y="443155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accent1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6327140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hoto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9E9A5987-FFD7-EFE3-A66B-B2E5BD972E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4931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9A5987-FFD7-EFE3-A66B-B2E5BD972E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Static Light Bkgd">
            <a:extLst>
              <a:ext uri="{FF2B5EF4-FFF2-40B4-BE49-F238E27FC236}">
                <a16:creationId xmlns:a16="http://schemas.microsoft.com/office/drawing/2014/main" id="{EE705342-7994-AFF3-15FD-F6FDEC9AE6B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grpSp>
        <p:nvGrpSpPr>
          <p:cNvPr id="30" name="Photo Accent Circles">
            <a:extLst>
              <a:ext uri="{FF2B5EF4-FFF2-40B4-BE49-F238E27FC236}">
                <a16:creationId xmlns:a16="http://schemas.microsoft.com/office/drawing/2014/main" id="{05F2AB47-2DD7-8B76-D4C4-88A3A382FA8A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5942370" y="1"/>
            <a:ext cx="6249631" cy="6778171"/>
            <a:chOff x="5942370" y="1"/>
            <a:chExt cx="6249631" cy="6778171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41DBC157-DD06-141E-B188-1EB8D24163C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5942370" y="1"/>
              <a:ext cx="6249631" cy="6778171"/>
            </a:xfrm>
            <a:custGeom>
              <a:avLst/>
              <a:gdLst>
                <a:gd name="connsiteX0" fmla="*/ 1133398 w 6249631"/>
                <a:gd name="connsiteY0" fmla="*/ 0 h 6778171"/>
                <a:gd name="connsiteX1" fmla="*/ 6249631 w 6249631"/>
                <a:gd name="connsiteY1" fmla="*/ 0 h 6778171"/>
                <a:gd name="connsiteX2" fmla="*/ 6249631 w 6249631"/>
                <a:gd name="connsiteY2" fmla="*/ 6079239 h 6778171"/>
                <a:gd name="connsiteX3" fmla="*/ 6227147 w 6249631"/>
                <a:gd name="connsiteY3" fmla="*/ 6096052 h 6778171"/>
                <a:gd name="connsiteX4" fmla="*/ 3994041 w 6249631"/>
                <a:gd name="connsiteY4" fmla="*/ 6778171 h 6778171"/>
                <a:gd name="connsiteX5" fmla="*/ 0 w 6249631"/>
                <a:gd name="connsiteY5" fmla="*/ 2784130 h 6778171"/>
                <a:gd name="connsiteX6" fmla="*/ 912045 w 6249631"/>
                <a:gd name="connsiteY6" fmla="*/ 243549 h 67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9631" h="6778171">
                  <a:moveTo>
                    <a:pt x="1133398" y="0"/>
                  </a:moveTo>
                  <a:lnTo>
                    <a:pt x="6249631" y="0"/>
                  </a:lnTo>
                  <a:lnTo>
                    <a:pt x="6249631" y="6079239"/>
                  </a:lnTo>
                  <a:lnTo>
                    <a:pt x="6227147" y="6096052"/>
                  </a:lnTo>
                  <a:cubicBezTo>
                    <a:pt x="5589694" y="6526707"/>
                    <a:pt x="4821234" y="6778171"/>
                    <a:pt x="3994041" y="6778171"/>
                  </a:cubicBezTo>
                  <a:cubicBezTo>
                    <a:pt x="1788193" y="6778171"/>
                    <a:pt x="0" y="4989978"/>
                    <a:pt x="0" y="2784130"/>
                  </a:cubicBezTo>
                  <a:cubicBezTo>
                    <a:pt x="0" y="1819072"/>
                    <a:pt x="342272" y="933955"/>
                    <a:pt x="912045" y="243549"/>
                  </a:cubicBezTo>
                  <a:close/>
                </a:path>
              </a:pathLst>
            </a:custGeom>
            <a:solidFill>
              <a:srgbClr val="F0F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 rtl="0"/>
              <a:endParaRPr lang="en-US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D9CB59-0278-69D3-1B88-9D97D9D9BF6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6596886" y="1"/>
              <a:ext cx="5595114" cy="6115087"/>
            </a:xfrm>
            <a:custGeom>
              <a:avLst/>
              <a:gdLst>
                <a:gd name="connsiteX0" fmla="*/ 1504880 w 5595114"/>
                <a:gd name="connsiteY0" fmla="*/ 0 h 6115087"/>
                <a:gd name="connsiteX1" fmla="*/ 5157035 w 5595114"/>
                <a:gd name="connsiteY1" fmla="*/ 0 h 6115087"/>
                <a:gd name="connsiteX2" fmla="*/ 5193327 w 5595114"/>
                <a:gd name="connsiteY2" fmla="*/ 22048 h 6115087"/>
                <a:gd name="connsiteX3" fmla="*/ 5449755 w 5595114"/>
                <a:gd name="connsiteY3" fmla="*/ 213802 h 6115087"/>
                <a:gd name="connsiteX4" fmla="*/ 5595114 w 5595114"/>
                <a:gd name="connsiteY4" fmla="*/ 345913 h 6115087"/>
                <a:gd name="connsiteX5" fmla="*/ 5595114 w 5595114"/>
                <a:gd name="connsiteY5" fmla="*/ 5222347 h 6115087"/>
                <a:gd name="connsiteX6" fmla="*/ 5449755 w 5595114"/>
                <a:gd name="connsiteY6" fmla="*/ 5354459 h 6115087"/>
                <a:gd name="connsiteX7" fmla="*/ 3330957 w 5595114"/>
                <a:gd name="connsiteY7" fmla="*/ 6115087 h 6115087"/>
                <a:gd name="connsiteX8" fmla="*/ 0 w 5595114"/>
                <a:gd name="connsiteY8" fmla="*/ 2784130 h 6115087"/>
                <a:gd name="connsiteX9" fmla="*/ 1468588 w 5595114"/>
                <a:gd name="connsiteY9" fmla="*/ 22048 h 6115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95114" h="6115087">
                  <a:moveTo>
                    <a:pt x="1504880" y="0"/>
                  </a:moveTo>
                  <a:lnTo>
                    <a:pt x="5157035" y="0"/>
                  </a:lnTo>
                  <a:lnTo>
                    <a:pt x="5193327" y="22048"/>
                  </a:lnTo>
                  <a:cubicBezTo>
                    <a:pt x="5281931" y="81908"/>
                    <a:pt x="5367500" y="145919"/>
                    <a:pt x="5449755" y="213802"/>
                  </a:cubicBezTo>
                  <a:lnTo>
                    <a:pt x="5595114" y="345913"/>
                  </a:lnTo>
                  <a:lnTo>
                    <a:pt x="5595114" y="5222347"/>
                  </a:lnTo>
                  <a:lnTo>
                    <a:pt x="5449755" y="5354459"/>
                  </a:lnTo>
                  <a:cubicBezTo>
                    <a:pt x="4873969" y="5829639"/>
                    <a:pt x="4135798" y="6115087"/>
                    <a:pt x="3330957" y="6115087"/>
                  </a:cubicBezTo>
                  <a:cubicBezTo>
                    <a:pt x="1491320" y="6115087"/>
                    <a:pt x="0" y="4623767"/>
                    <a:pt x="0" y="2784130"/>
                  </a:cubicBezTo>
                  <a:cubicBezTo>
                    <a:pt x="0" y="1634357"/>
                    <a:pt x="582547" y="620645"/>
                    <a:pt x="1468588" y="22048"/>
                  </a:cubicBezTo>
                  <a:close/>
                </a:path>
              </a:pathLst>
            </a:custGeom>
            <a:solidFill>
              <a:srgbClr val="DADAD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en-US" dirty="0">
                <a:solidFill>
                  <a:srgbClr val="DADADA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EF44984-8F7A-8C11-AE43-676924BE717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7172234" y="28520"/>
              <a:ext cx="5019767" cy="5511220"/>
            </a:xfrm>
            <a:custGeom>
              <a:avLst/>
              <a:gdLst>
                <a:gd name="connsiteX0" fmla="*/ 2755610 w 5019767"/>
                <a:gd name="connsiteY0" fmla="*/ 0 h 5511220"/>
                <a:gd name="connsiteX1" fmla="*/ 4881972 w 5019767"/>
                <a:gd name="connsiteY1" fmla="*/ 1002786 h 5511220"/>
                <a:gd name="connsiteX2" fmla="*/ 5019767 w 5019767"/>
                <a:gd name="connsiteY2" fmla="*/ 1187056 h 5511220"/>
                <a:gd name="connsiteX3" fmla="*/ 5019767 w 5019767"/>
                <a:gd name="connsiteY3" fmla="*/ 4324164 h 5511220"/>
                <a:gd name="connsiteX4" fmla="*/ 4881972 w 5019767"/>
                <a:gd name="connsiteY4" fmla="*/ 4508434 h 5511220"/>
                <a:gd name="connsiteX5" fmla="*/ 2755610 w 5019767"/>
                <a:gd name="connsiteY5" fmla="*/ 5511220 h 5511220"/>
                <a:gd name="connsiteX6" fmla="*/ 0 w 5019767"/>
                <a:gd name="connsiteY6" fmla="*/ 2755610 h 5511220"/>
                <a:gd name="connsiteX7" fmla="*/ 2755610 w 5019767"/>
                <a:gd name="connsiteY7" fmla="*/ 0 h 5511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19767" h="5511220">
                  <a:moveTo>
                    <a:pt x="2755610" y="0"/>
                  </a:moveTo>
                  <a:cubicBezTo>
                    <a:pt x="3611668" y="0"/>
                    <a:pt x="4376553" y="390360"/>
                    <a:pt x="4881972" y="1002786"/>
                  </a:cubicBezTo>
                  <a:lnTo>
                    <a:pt x="5019767" y="1187056"/>
                  </a:lnTo>
                  <a:lnTo>
                    <a:pt x="5019767" y="4324164"/>
                  </a:lnTo>
                  <a:lnTo>
                    <a:pt x="4881972" y="4508434"/>
                  </a:lnTo>
                  <a:cubicBezTo>
                    <a:pt x="4376553" y="5120861"/>
                    <a:pt x="3611668" y="5511220"/>
                    <a:pt x="2755610" y="5511220"/>
                  </a:cubicBezTo>
                  <a:cubicBezTo>
                    <a:pt x="1233729" y="5511220"/>
                    <a:pt x="0" y="4277491"/>
                    <a:pt x="0" y="2755610"/>
                  </a:cubicBezTo>
                  <a:cubicBezTo>
                    <a:pt x="0" y="1233729"/>
                    <a:pt x="1233729" y="0"/>
                    <a:pt x="275561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en-US" dirty="0"/>
            </a:p>
          </p:txBody>
        </p:sp>
      </p:grpSp>
      <p:sp>
        <p:nvSpPr>
          <p:cNvPr id="9" name="Copyright Line">
            <a:extLst>
              <a:ext uri="{FF2B5EF4-FFF2-40B4-BE49-F238E27FC236}">
                <a16:creationId xmlns:a16="http://schemas.microsoft.com/office/drawing/2014/main" id="{D2389545-B6D7-497B-37D4-C8C4C52F8A1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88558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5" name="Confidential disclaimer">
            <a:extLst>
              <a:ext uri="{FF2B5EF4-FFF2-40B4-BE49-F238E27FC236}">
                <a16:creationId xmlns:a16="http://schemas.microsoft.com/office/drawing/2014/main" id="{0B3A39F8-8D7C-C8DD-497D-7F28EC8D8B6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798636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26" name="Footer Placeholder">
            <a:extLst>
              <a:ext uri="{FF2B5EF4-FFF2-40B4-BE49-F238E27FC236}">
                <a16:creationId xmlns:a16="http://schemas.microsoft.com/office/drawing/2014/main" id="{82B2F640-F33B-8BC7-0A7C-2CC5589C173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5"/>
          </p:nvPr>
        </p:nvSpPr>
        <p:spPr>
          <a:xfrm>
            <a:off x="3251195" y="6485399"/>
            <a:ext cx="3716341" cy="282957"/>
          </a:xfrm>
        </p:spPr>
        <p:txBody>
          <a:bodyPr/>
          <a:lstStyle>
            <a:lvl1pPr algn="l" rtl="0">
              <a:defRPr/>
            </a:lvl1pPr>
          </a:lstStyle>
          <a:p>
            <a:endParaRPr lang="en-US" dirty="0"/>
          </a:p>
        </p:txBody>
      </p:sp>
      <p:sp>
        <p:nvSpPr>
          <p:cNvPr id="25" name="Picture Placeholder">
            <a:extLst>
              <a:ext uri="{FF2B5EF4-FFF2-40B4-BE49-F238E27FC236}">
                <a16:creationId xmlns:a16="http://schemas.microsoft.com/office/drawing/2014/main" id="{278BDEAF-4B5A-EDEC-5FBB-5BDC0B1311E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2" hasCustomPrompt="1"/>
          </p:nvPr>
        </p:nvSpPr>
        <p:spPr>
          <a:xfrm>
            <a:off x="7465671" y="321957"/>
            <a:ext cx="4726329" cy="4924346"/>
          </a:xfrm>
          <a:custGeom>
            <a:avLst/>
            <a:gdLst>
              <a:gd name="connsiteX0" fmla="*/ 2462173 w 4726329"/>
              <a:gd name="connsiteY0" fmla="*/ 0 h 4924346"/>
              <a:gd name="connsiteX1" fmla="*/ 4627175 w 4726329"/>
              <a:gd name="connsiteY1" fmla="*/ 1288555 h 4924346"/>
              <a:gd name="connsiteX2" fmla="*/ 4726329 w 4726329"/>
              <a:gd name="connsiteY2" fmla="*/ 1494386 h 4924346"/>
              <a:gd name="connsiteX3" fmla="*/ 4726329 w 4726329"/>
              <a:gd name="connsiteY3" fmla="*/ 3429960 h 4924346"/>
              <a:gd name="connsiteX4" fmla="*/ 4627175 w 4726329"/>
              <a:gd name="connsiteY4" fmla="*/ 3635791 h 4924346"/>
              <a:gd name="connsiteX5" fmla="*/ 2462173 w 4726329"/>
              <a:gd name="connsiteY5" fmla="*/ 4924346 h 4924346"/>
              <a:gd name="connsiteX6" fmla="*/ 0 w 4726329"/>
              <a:gd name="connsiteY6" fmla="*/ 2462173 h 4924346"/>
              <a:gd name="connsiteX7" fmla="*/ 2462173 w 4726329"/>
              <a:gd name="connsiteY7" fmla="*/ 0 h 4924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26329" h="4924346">
                <a:moveTo>
                  <a:pt x="2462173" y="0"/>
                </a:moveTo>
                <a:cubicBezTo>
                  <a:pt x="3397050" y="0"/>
                  <a:pt x="4210233" y="521034"/>
                  <a:pt x="4627175" y="1288555"/>
                </a:cubicBezTo>
                <a:lnTo>
                  <a:pt x="4726329" y="1494386"/>
                </a:lnTo>
                <a:lnTo>
                  <a:pt x="4726329" y="3429960"/>
                </a:lnTo>
                <a:lnTo>
                  <a:pt x="4627175" y="3635791"/>
                </a:lnTo>
                <a:cubicBezTo>
                  <a:pt x="4210233" y="4403313"/>
                  <a:pt x="3397050" y="4924346"/>
                  <a:pt x="2462173" y="4924346"/>
                </a:cubicBezTo>
                <a:cubicBezTo>
                  <a:pt x="1102352" y="4924346"/>
                  <a:pt x="0" y="3821994"/>
                  <a:pt x="0" y="2462173"/>
                </a:cubicBezTo>
                <a:cubicBezTo>
                  <a:pt x="0" y="1102352"/>
                  <a:pt x="1102352" y="0"/>
                  <a:pt x="2462173" y="0"/>
                </a:cubicBezTo>
                <a:close/>
              </a:path>
            </a:pathLst>
          </a:custGeom>
          <a:solidFill>
            <a:srgbClr val="777777"/>
          </a:solidFill>
        </p:spPr>
        <p:txBody>
          <a:bodyPr wrap="square" anchor="ctr" anchorCtr="1">
            <a:noAutofit/>
          </a:bodyPr>
          <a:lstStyle>
            <a:lvl1pPr marL="0" indent="0" algn="ctr" rtl="0"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picture icon to add photo</a:t>
            </a:r>
          </a:p>
        </p:txBody>
      </p:sp>
      <p:sp>
        <p:nvSpPr>
          <p:cNvPr id="11" name="Date Placeholder">
            <a:extLst>
              <a:ext uri="{FF2B5EF4-FFF2-40B4-BE49-F238E27FC236}">
                <a16:creationId xmlns:a16="http://schemas.microsoft.com/office/drawing/2014/main" id="{56FDEAC7-8736-5846-42B8-66DC00FA3B9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>
          <a:xfrm>
            <a:off x="292100" y="5036705"/>
            <a:ext cx="1744664" cy="282957"/>
          </a:xfrm>
        </p:spPr>
        <p:txBody>
          <a:bodyPr/>
          <a:lstStyle>
            <a:lvl1pPr rtl="0">
              <a:defRPr sz="1200">
                <a:solidFill>
                  <a:srgbClr val="555555"/>
                </a:solidFill>
              </a:defRPr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3" name="Title/Dept Placeholder">
            <a:extLst>
              <a:ext uri="{FF2B5EF4-FFF2-40B4-BE49-F238E27FC236}">
                <a16:creationId xmlns:a16="http://schemas.microsoft.com/office/drawing/2014/main" id="{F49547DD-E825-E7A3-C48A-64AA78C199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 hasCustomPrompt="1"/>
          </p:nvPr>
        </p:nvSpPr>
        <p:spPr>
          <a:xfrm>
            <a:off x="292100" y="4560602"/>
            <a:ext cx="6689728" cy="344385"/>
          </a:xfrm>
        </p:spPr>
        <p:txBody>
          <a:bodyPr t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rgbClr val="555555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/Department</a:t>
            </a:r>
          </a:p>
        </p:txBody>
      </p:sp>
      <p:sp>
        <p:nvSpPr>
          <p:cNvPr id="2" name="Presenter Name Placeholder">
            <a:extLst>
              <a:ext uri="{FF2B5EF4-FFF2-40B4-BE49-F238E27FC236}">
                <a16:creationId xmlns:a16="http://schemas.microsoft.com/office/drawing/2014/main" id="{5A598B2A-BB91-C356-7BCC-18D04DA85A8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292100" y="4192468"/>
            <a:ext cx="6689728" cy="344384"/>
          </a:xfrm>
        </p:spPr>
        <p:txBody>
          <a:bodyPr tIns="0" bIns="0" anchor="b" anchorCtr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rgbClr val="555555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8" name="Subtitle Placeholder">
            <a:extLst>
              <a:ext uri="{FF2B5EF4-FFF2-40B4-BE49-F238E27FC236}">
                <a16:creationId xmlns:a16="http://schemas.microsoft.com/office/drawing/2014/main" id="{23B6A8FC-C3C4-F7DA-BF00-D56866D5808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292100" y="3114710"/>
            <a:ext cx="6689729" cy="837882"/>
          </a:xfr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55555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Title Placeholder">
            <a:extLst>
              <a:ext uri="{FF2B5EF4-FFF2-40B4-BE49-F238E27FC236}">
                <a16:creationId xmlns:a16="http://schemas.microsoft.com/office/drawing/2014/main" id="{615225DC-38B1-15E3-05E6-88F5A6B976C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292100" y="654818"/>
            <a:ext cx="6689729" cy="238760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>
              <a:defRPr sz="4400">
                <a:solidFill>
                  <a:srgbClr val="555555"/>
                </a:solidFill>
              </a:defRPr>
            </a:lvl1pPr>
          </a:lstStyle>
          <a:p>
            <a:r>
              <a:rPr lang="en-US" dirty="0"/>
              <a:t>Insert your presentation title here maximum of three lines</a:t>
            </a:r>
          </a:p>
        </p:txBody>
      </p:sp>
      <p:pic>
        <p:nvPicPr>
          <p:cNvPr id="7" name="NielsenIQ GFK lockup" hidden="1">
            <a:extLst>
              <a:ext uri="{FF2B5EF4-FFF2-40B4-BE49-F238E27FC236}">
                <a16:creationId xmlns:a16="http://schemas.microsoft.com/office/drawing/2014/main" id="{0FDFD67B-3477-8375-7F26-D08E6067C99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86122" y="5539740"/>
            <a:ext cx="3377876" cy="753596"/>
          </a:xfrm>
          <a:prstGeom prst="rect">
            <a:avLst/>
          </a:prstGeom>
        </p:spPr>
      </p:pic>
      <p:pic>
        <p:nvPicPr>
          <p:cNvPr id="14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C8F8171E-1658-79B9-9EAC-E88E789EA287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558" y="5563212"/>
            <a:ext cx="2155411" cy="743616"/>
          </a:xfrm>
          <a:prstGeom prst="rect">
            <a:avLst/>
          </a:prstGeom>
        </p:spPr>
      </p:pic>
      <p:sp>
        <p:nvSpPr>
          <p:cNvPr id="22" name="Nielsen wordmark">
            <a:extLst>
              <a:ext uri="{FF2B5EF4-FFF2-40B4-BE49-F238E27FC236}">
                <a16:creationId xmlns:a16="http://schemas.microsoft.com/office/drawing/2014/main" id="{D75B41C8-8FEA-463D-AB87-6F4962F7D5E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295274" y="5686380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accent1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015586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hoto Circ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5F12C6E7-206D-33CE-51AD-E9067D2F42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3431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12C6E7-206D-33CE-51AD-E9067D2F42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Static Light Bkgd">
            <a:extLst>
              <a:ext uri="{FF2B5EF4-FFF2-40B4-BE49-F238E27FC236}">
                <a16:creationId xmlns:a16="http://schemas.microsoft.com/office/drawing/2014/main" id="{EE705342-7994-AFF3-15FD-F6FDEC9AE6B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grpSp>
        <p:nvGrpSpPr>
          <p:cNvPr id="4" name="Photo Accent Circles">
            <a:extLst>
              <a:ext uri="{FF2B5EF4-FFF2-40B4-BE49-F238E27FC236}">
                <a16:creationId xmlns:a16="http://schemas.microsoft.com/office/drawing/2014/main" id="{142AC587-6F39-6154-A37A-868A63F4F005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5942370" y="1"/>
            <a:ext cx="6249631" cy="6778171"/>
            <a:chOff x="5942370" y="1"/>
            <a:chExt cx="6249631" cy="6778171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41DBC157-DD06-141E-B188-1EB8D24163C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5942370" y="1"/>
              <a:ext cx="6249631" cy="6778171"/>
            </a:xfrm>
            <a:custGeom>
              <a:avLst/>
              <a:gdLst>
                <a:gd name="connsiteX0" fmla="*/ 1133398 w 6249631"/>
                <a:gd name="connsiteY0" fmla="*/ 0 h 6778171"/>
                <a:gd name="connsiteX1" fmla="*/ 6249631 w 6249631"/>
                <a:gd name="connsiteY1" fmla="*/ 0 h 6778171"/>
                <a:gd name="connsiteX2" fmla="*/ 6249631 w 6249631"/>
                <a:gd name="connsiteY2" fmla="*/ 6079239 h 6778171"/>
                <a:gd name="connsiteX3" fmla="*/ 6227147 w 6249631"/>
                <a:gd name="connsiteY3" fmla="*/ 6096052 h 6778171"/>
                <a:gd name="connsiteX4" fmla="*/ 3994041 w 6249631"/>
                <a:gd name="connsiteY4" fmla="*/ 6778171 h 6778171"/>
                <a:gd name="connsiteX5" fmla="*/ 0 w 6249631"/>
                <a:gd name="connsiteY5" fmla="*/ 2784130 h 6778171"/>
                <a:gd name="connsiteX6" fmla="*/ 912045 w 6249631"/>
                <a:gd name="connsiteY6" fmla="*/ 243549 h 67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9631" h="6778171">
                  <a:moveTo>
                    <a:pt x="1133398" y="0"/>
                  </a:moveTo>
                  <a:lnTo>
                    <a:pt x="6249631" y="0"/>
                  </a:lnTo>
                  <a:lnTo>
                    <a:pt x="6249631" y="6079239"/>
                  </a:lnTo>
                  <a:lnTo>
                    <a:pt x="6227147" y="6096052"/>
                  </a:lnTo>
                  <a:cubicBezTo>
                    <a:pt x="5589694" y="6526707"/>
                    <a:pt x="4821234" y="6778171"/>
                    <a:pt x="3994041" y="6778171"/>
                  </a:cubicBezTo>
                  <a:cubicBezTo>
                    <a:pt x="1788193" y="6778171"/>
                    <a:pt x="0" y="4989978"/>
                    <a:pt x="0" y="2784130"/>
                  </a:cubicBezTo>
                  <a:cubicBezTo>
                    <a:pt x="0" y="1819072"/>
                    <a:pt x="342272" y="933955"/>
                    <a:pt x="912045" y="243549"/>
                  </a:cubicBezTo>
                  <a:close/>
                </a:path>
              </a:pathLst>
            </a:custGeom>
            <a:solidFill>
              <a:srgbClr val="0A52E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 rtl="0"/>
              <a:endParaRPr lang="en-US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D9CB59-0278-69D3-1B88-9D97D9D9BF6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6596886" y="1"/>
              <a:ext cx="5595114" cy="6115087"/>
            </a:xfrm>
            <a:custGeom>
              <a:avLst/>
              <a:gdLst>
                <a:gd name="connsiteX0" fmla="*/ 1504880 w 5595114"/>
                <a:gd name="connsiteY0" fmla="*/ 0 h 6115087"/>
                <a:gd name="connsiteX1" fmla="*/ 5157035 w 5595114"/>
                <a:gd name="connsiteY1" fmla="*/ 0 h 6115087"/>
                <a:gd name="connsiteX2" fmla="*/ 5193327 w 5595114"/>
                <a:gd name="connsiteY2" fmla="*/ 22048 h 6115087"/>
                <a:gd name="connsiteX3" fmla="*/ 5449755 w 5595114"/>
                <a:gd name="connsiteY3" fmla="*/ 213802 h 6115087"/>
                <a:gd name="connsiteX4" fmla="*/ 5595114 w 5595114"/>
                <a:gd name="connsiteY4" fmla="*/ 345913 h 6115087"/>
                <a:gd name="connsiteX5" fmla="*/ 5595114 w 5595114"/>
                <a:gd name="connsiteY5" fmla="*/ 5222347 h 6115087"/>
                <a:gd name="connsiteX6" fmla="*/ 5449755 w 5595114"/>
                <a:gd name="connsiteY6" fmla="*/ 5354459 h 6115087"/>
                <a:gd name="connsiteX7" fmla="*/ 3330957 w 5595114"/>
                <a:gd name="connsiteY7" fmla="*/ 6115087 h 6115087"/>
                <a:gd name="connsiteX8" fmla="*/ 0 w 5595114"/>
                <a:gd name="connsiteY8" fmla="*/ 2784130 h 6115087"/>
                <a:gd name="connsiteX9" fmla="*/ 1468588 w 5595114"/>
                <a:gd name="connsiteY9" fmla="*/ 22048 h 6115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95114" h="6115087">
                  <a:moveTo>
                    <a:pt x="1504880" y="0"/>
                  </a:moveTo>
                  <a:lnTo>
                    <a:pt x="5157035" y="0"/>
                  </a:lnTo>
                  <a:lnTo>
                    <a:pt x="5193327" y="22048"/>
                  </a:lnTo>
                  <a:cubicBezTo>
                    <a:pt x="5281931" y="81908"/>
                    <a:pt x="5367500" y="145919"/>
                    <a:pt x="5449755" y="213802"/>
                  </a:cubicBezTo>
                  <a:lnTo>
                    <a:pt x="5595114" y="345913"/>
                  </a:lnTo>
                  <a:lnTo>
                    <a:pt x="5595114" y="5222347"/>
                  </a:lnTo>
                  <a:lnTo>
                    <a:pt x="5449755" y="5354459"/>
                  </a:lnTo>
                  <a:cubicBezTo>
                    <a:pt x="4873969" y="5829639"/>
                    <a:pt x="4135798" y="6115087"/>
                    <a:pt x="3330957" y="6115087"/>
                  </a:cubicBezTo>
                  <a:cubicBezTo>
                    <a:pt x="1491320" y="6115087"/>
                    <a:pt x="0" y="4623767"/>
                    <a:pt x="0" y="2784130"/>
                  </a:cubicBezTo>
                  <a:cubicBezTo>
                    <a:pt x="0" y="1634357"/>
                    <a:pt x="582547" y="620645"/>
                    <a:pt x="1468588" y="22048"/>
                  </a:cubicBezTo>
                  <a:close/>
                </a:path>
              </a:pathLst>
            </a:custGeom>
            <a:solidFill>
              <a:srgbClr val="0946C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en-US" dirty="0">
                <a:solidFill>
                  <a:srgbClr val="DADADA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EF44984-8F7A-8C11-AE43-676924BE717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7172234" y="28520"/>
              <a:ext cx="5019767" cy="5511220"/>
            </a:xfrm>
            <a:custGeom>
              <a:avLst/>
              <a:gdLst>
                <a:gd name="connsiteX0" fmla="*/ 2755610 w 5019767"/>
                <a:gd name="connsiteY0" fmla="*/ 0 h 5511220"/>
                <a:gd name="connsiteX1" fmla="*/ 4881972 w 5019767"/>
                <a:gd name="connsiteY1" fmla="*/ 1002786 h 5511220"/>
                <a:gd name="connsiteX2" fmla="*/ 5019767 w 5019767"/>
                <a:gd name="connsiteY2" fmla="*/ 1187056 h 5511220"/>
                <a:gd name="connsiteX3" fmla="*/ 5019767 w 5019767"/>
                <a:gd name="connsiteY3" fmla="*/ 4324164 h 5511220"/>
                <a:gd name="connsiteX4" fmla="*/ 4881972 w 5019767"/>
                <a:gd name="connsiteY4" fmla="*/ 4508434 h 5511220"/>
                <a:gd name="connsiteX5" fmla="*/ 2755610 w 5019767"/>
                <a:gd name="connsiteY5" fmla="*/ 5511220 h 5511220"/>
                <a:gd name="connsiteX6" fmla="*/ 0 w 5019767"/>
                <a:gd name="connsiteY6" fmla="*/ 2755610 h 5511220"/>
                <a:gd name="connsiteX7" fmla="*/ 2755610 w 5019767"/>
                <a:gd name="connsiteY7" fmla="*/ 0 h 5511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19767" h="5511220">
                  <a:moveTo>
                    <a:pt x="2755610" y="0"/>
                  </a:moveTo>
                  <a:cubicBezTo>
                    <a:pt x="3611668" y="0"/>
                    <a:pt x="4376553" y="390360"/>
                    <a:pt x="4881972" y="1002786"/>
                  </a:cubicBezTo>
                  <a:lnTo>
                    <a:pt x="5019767" y="1187056"/>
                  </a:lnTo>
                  <a:lnTo>
                    <a:pt x="5019767" y="4324164"/>
                  </a:lnTo>
                  <a:lnTo>
                    <a:pt x="4881972" y="4508434"/>
                  </a:lnTo>
                  <a:cubicBezTo>
                    <a:pt x="4376553" y="5120861"/>
                    <a:pt x="3611668" y="5511220"/>
                    <a:pt x="2755610" y="5511220"/>
                  </a:cubicBezTo>
                  <a:cubicBezTo>
                    <a:pt x="1233729" y="5511220"/>
                    <a:pt x="0" y="4277491"/>
                    <a:pt x="0" y="2755610"/>
                  </a:cubicBezTo>
                  <a:cubicBezTo>
                    <a:pt x="0" y="1233729"/>
                    <a:pt x="1233729" y="0"/>
                    <a:pt x="2755610" y="0"/>
                  </a:cubicBezTo>
                  <a:close/>
                </a:path>
              </a:pathLst>
            </a:custGeom>
            <a:solidFill>
              <a:srgbClr val="073BA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en-US" dirty="0"/>
            </a:p>
          </p:txBody>
        </p:sp>
      </p:grpSp>
      <p:sp>
        <p:nvSpPr>
          <p:cNvPr id="9" name="Copyright Line">
            <a:extLst>
              <a:ext uri="{FF2B5EF4-FFF2-40B4-BE49-F238E27FC236}">
                <a16:creationId xmlns:a16="http://schemas.microsoft.com/office/drawing/2014/main" id="{D2389545-B6D7-497B-37D4-C8C4C52F8A1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88558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10" name="Confidential disclaimer">
            <a:extLst>
              <a:ext uri="{FF2B5EF4-FFF2-40B4-BE49-F238E27FC236}">
                <a16:creationId xmlns:a16="http://schemas.microsoft.com/office/drawing/2014/main" id="{8C70182C-829B-A5E4-6775-1B5FA533227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798636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30FBF3F0-9A58-D48C-BF4F-1611549E289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5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5" name="Picture Placeholder">
            <a:extLst>
              <a:ext uri="{FF2B5EF4-FFF2-40B4-BE49-F238E27FC236}">
                <a16:creationId xmlns:a16="http://schemas.microsoft.com/office/drawing/2014/main" id="{278BDEAF-4B5A-EDEC-5FBB-5BDC0B1311E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2" hasCustomPrompt="1"/>
          </p:nvPr>
        </p:nvSpPr>
        <p:spPr>
          <a:xfrm>
            <a:off x="7465671" y="321957"/>
            <a:ext cx="4726329" cy="4924346"/>
          </a:xfrm>
          <a:custGeom>
            <a:avLst/>
            <a:gdLst>
              <a:gd name="connsiteX0" fmla="*/ 2462173 w 4726329"/>
              <a:gd name="connsiteY0" fmla="*/ 0 h 4924346"/>
              <a:gd name="connsiteX1" fmla="*/ 4627175 w 4726329"/>
              <a:gd name="connsiteY1" fmla="*/ 1288555 h 4924346"/>
              <a:gd name="connsiteX2" fmla="*/ 4726329 w 4726329"/>
              <a:gd name="connsiteY2" fmla="*/ 1494386 h 4924346"/>
              <a:gd name="connsiteX3" fmla="*/ 4726329 w 4726329"/>
              <a:gd name="connsiteY3" fmla="*/ 3429960 h 4924346"/>
              <a:gd name="connsiteX4" fmla="*/ 4627175 w 4726329"/>
              <a:gd name="connsiteY4" fmla="*/ 3635791 h 4924346"/>
              <a:gd name="connsiteX5" fmla="*/ 2462173 w 4726329"/>
              <a:gd name="connsiteY5" fmla="*/ 4924346 h 4924346"/>
              <a:gd name="connsiteX6" fmla="*/ 0 w 4726329"/>
              <a:gd name="connsiteY6" fmla="*/ 2462173 h 4924346"/>
              <a:gd name="connsiteX7" fmla="*/ 2462173 w 4726329"/>
              <a:gd name="connsiteY7" fmla="*/ 0 h 4924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26329" h="4924346">
                <a:moveTo>
                  <a:pt x="2462173" y="0"/>
                </a:moveTo>
                <a:cubicBezTo>
                  <a:pt x="3397050" y="0"/>
                  <a:pt x="4210233" y="521034"/>
                  <a:pt x="4627175" y="1288555"/>
                </a:cubicBezTo>
                <a:lnTo>
                  <a:pt x="4726329" y="1494386"/>
                </a:lnTo>
                <a:lnTo>
                  <a:pt x="4726329" y="3429960"/>
                </a:lnTo>
                <a:lnTo>
                  <a:pt x="4627175" y="3635791"/>
                </a:lnTo>
                <a:cubicBezTo>
                  <a:pt x="4210233" y="4403313"/>
                  <a:pt x="3397050" y="4924346"/>
                  <a:pt x="2462173" y="4924346"/>
                </a:cubicBezTo>
                <a:cubicBezTo>
                  <a:pt x="1102352" y="4924346"/>
                  <a:pt x="0" y="3821994"/>
                  <a:pt x="0" y="2462173"/>
                </a:cubicBezTo>
                <a:cubicBezTo>
                  <a:pt x="0" y="1102352"/>
                  <a:pt x="1102352" y="0"/>
                  <a:pt x="2462173" y="0"/>
                </a:cubicBezTo>
                <a:close/>
              </a:path>
            </a:pathLst>
          </a:custGeom>
          <a:solidFill>
            <a:srgbClr val="777777"/>
          </a:solidFill>
        </p:spPr>
        <p:txBody>
          <a:bodyPr wrap="square" anchor="ctr" anchorCtr="1">
            <a:noAutofit/>
          </a:bodyPr>
          <a:lstStyle>
            <a:lvl1pPr marL="0" indent="0" algn="ctr" rtl="0"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picture icon to add photo</a:t>
            </a:r>
          </a:p>
        </p:txBody>
      </p:sp>
      <p:sp>
        <p:nvSpPr>
          <p:cNvPr id="11" name="Date Placeholder">
            <a:extLst>
              <a:ext uri="{FF2B5EF4-FFF2-40B4-BE49-F238E27FC236}">
                <a16:creationId xmlns:a16="http://schemas.microsoft.com/office/drawing/2014/main" id="{56FDEAC7-8736-5846-42B8-66DC00FA3B9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>
          <a:xfrm>
            <a:off x="292100" y="5036705"/>
            <a:ext cx="1744664" cy="282957"/>
          </a:xfrm>
        </p:spPr>
        <p:txBody>
          <a:bodyPr/>
          <a:lstStyle>
            <a:lvl1pPr rtl="0">
              <a:defRPr sz="1200">
                <a:solidFill>
                  <a:srgbClr val="FFFFFF"/>
                </a:solidFill>
              </a:defRPr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3" name="Title/Dept Placeholder">
            <a:extLst>
              <a:ext uri="{FF2B5EF4-FFF2-40B4-BE49-F238E27FC236}">
                <a16:creationId xmlns:a16="http://schemas.microsoft.com/office/drawing/2014/main" id="{F49547DD-E825-E7A3-C48A-64AA78C199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 hasCustomPrompt="1"/>
          </p:nvPr>
        </p:nvSpPr>
        <p:spPr>
          <a:xfrm>
            <a:off x="292100" y="4560602"/>
            <a:ext cx="6689728" cy="344385"/>
          </a:xfrm>
        </p:spPr>
        <p:txBody>
          <a:bodyPr t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/Department</a:t>
            </a:r>
          </a:p>
        </p:txBody>
      </p:sp>
      <p:sp>
        <p:nvSpPr>
          <p:cNvPr id="2" name="Presenter Name Placeholder">
            <a:extLst>
              <a:ext uri="{FF2B5EF4-FFF2-40B4-BE49-F238E27FC236}">
                <a16:creationId xmlns:a16="http://schemas.microsoft.com/office/drawing/2014/main" id="{5A598B2A-BB91-C356-7BCC-18D04DA85A8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292100" y="4192468"/>
            <a:ext cx="6689728" cy="344384"/>
          </a:xfrm>
        </p:spPr>
        <p:txBody>
          <a:bodyPr tIns="0" bIns="0" anchor="b" anchorCtr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8" name="Subtitle Placeholder">
            <a:extLst>
              <a:ext uri="{FF2B5EF4-FFF2-40B4-BE49-F238E27FC236}">
                <a16:creationId xmlns:a16="http://schemas.microsoft.com/office/drawing/2014/main" id="{23B6A8FC-C3C4-F7DA-BF00-D56866D5808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292100" y="3114710"/>
            <a:ext cx="6689729" cy="837882"/>
          </a:xfr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Title Placeholder">
            <a:extLst>
              <a:ext uri="{FF2B5EF4-FFF2-40B4-BE49-F238E27FC236}">
                <a16:creationId xmlns:a16="http://schemas.microsoft.com/office/drawing/2014/main" id="{615225DC-38B1-15E3-05E6-88F5A6B976C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292100" y="1214225"/>
            <a:ext cx="6689729" cy="1828193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>
              <a:defRPr sz="4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Insert your presentation title here maximum of three lines</a:t>
            </a:r>
          </a:p>
        </p:txBody>
      </p:sp>
      <p:pic>
        <p:nvPicPr>
          <p:cNvPr id="7" name="NielsenIQ GFK lockup" hidden="1">
            <a:extLst>
              <a:ext uri="{FF2B5EF4-FFF2-40B4-BE49-F238E27FC236}">
                <a16:creationId xmlns:a16="http://schemas.microsoft.com/office/drawing/2014/main" id="{38C64FBC-CEA2-AB8D-1C98-40BE4309F854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86122" y="5539740"/>
            <a:ext cx="3377876" cy="753596"/>
          </a:xfrm>
          <a:prstGeom prst="rect">
            <a:avLst/>
          </a:prstGeom>
        </p:spPr>
      </p:pic>
      <p:pic>
        <p:nvPicPr>
          <p:cNvPr id="14" name="NielsenIQ logo+wordmark" hidden="1">
            <a:extLst>
              <a:ext uri="{FF2B5EF4-FFF2-40B4-BE49-F238E27FC236}">
                <a16:creationId xmlns:a16="http://schemas.microsoft.com/office/drawing/2014/main" id="{4592FCA5-867A-BB8D-E995-7A4C9EC3E96A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8559" y="5563212"/>
            <a:ext cx="2155408" cy="743616"/>
          </a:xfrm>
          <a:prstGeom prst="rect">
            <a:avLst/>
          </a:prstGeom>
        </p:spPr>
      </p:pic>
      <p:sp>
        <p:nvSpPr>
          <p:cNvPr id="24" name="Nielsen wordmark">
            <a:extLst>
              <a:ext uri="{FF2B5EF4-FFF2-40B4-BE49-F238E27FC236}">
                <a16:creationId xmlns:a16="http://schemas.microsoft.com/office/drawing/2014/main" id="{8E329D7C-9D9C-5C6C-56E6-95CB0519B11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95274" y="5686380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tx2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8038619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hoto Circl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4C42B244-841B-C0B4-A459-95412073D9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4677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42B244-841B-C0B4-A459-95412073D9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Static Light Bkgd">
            <a:extLst>
              <a:ext uri="{FF2B5EF4-FFF2-40B4-BE49-F238E27FC236}">
                <a16:creationId xmlns:a16="http://schemas.microsoft.com/office/drawing/2014/main" id="{EE705342-7994-AFF3-15FD-F6FDEC9AE6B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60A4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grpSp>
        <p:nvGrpSpPr>
          <p:cNvPr id="4" name="Photo Accent Circles">
            <a:extLst>
              <a:ext uri="{FF2B5EF4-FFF2-40B4-BE49-F238E27FC236}">
                <a16:creationId xmlns:a16="http://schemas.microsoft.com/office/drawing/2014/main" id="{142AC587-6F39-6154-A37A-868A63F4F005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5942370" y="1"/>
            <a:ext cx="6249631" cy="6778171"/>
            <a:chOff x="5942370" y="1"/>
            <a:chExt cx="6249631" cy="6778171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41DBC157-DD06-141E-B188-1EB8D24163C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5942370" y="1"/>
              <a:ext cx="6249631" cy="6778171"/>
            </a:xfrm>
            <a:custGeom>
              <a:avLst/>
              <a:gdLst>
                <a:gd name="connsiteX0" fmla="*/ 1133398 w 6249631"/>
                <a:gd name="connsiteY0" fmla="*/ 0 h 6778171"/>
                <a:gd name="connsiteX1" fmla="*/ 6249631 w 6249631"/>
                <a:gd name="connsiteY1" fmla="*/ 0 h 6778171"/>
                <a:gd name="connsiteX2" fmla="*/ 6249631 w 6249631"/>
                <a:gd name="connsiteY2" fmla="*/ 6079239 h 6778171"/>
                <a:gd name="connsiteX3" fmla="*/ 6227147 w 6249631"/>
                <a:gd name="connsiteY3" fmla="*/ 6096052 h 6778171"/>
                <a:gd name="connsiteX4" fmla="*/ 3994041 w 6249631"/>
                <a:gd name="connsiteY4" fmla="*/ 6778171 h 6778171"/>
                <a:gd name="connsiteX5" fmla="*/ 0 w 6249631"/>
                <a:gd name="connsiteY5" fmla="*/ 2784130 h 6778171"/>
                <a:gd name="connsiteX6" fmla="*/ 912045 w 6249631"/>
                <a:gd name="connsiteY6" fmla="*/ 243549 h 67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9631" h="6778171">
                  <a:moveTo>
                    <a:pt x="1133398" y="0"/>
                  </a:moveTo>
                  <a:lnTo>
                    <a:pt x="6249631" y="0"/>
                  </a:lnTo>
                  <a:lnTo>
                    <a:pt x="6249631" y="6079239"/>
                  </a:lnTo>
                  <a:lnTo>
                    <a:pt x="6227147" y="6096052"/>
                  </a:lnTo>
                  <a:cubicBezTo>
                    <a:pt x="5589694" y="6526707"/>
                    <a:pt x="4821234" y="6778171"/>
                    <a:pt x="3994041" y="6778171"/>
                  </a:cubicBezTo>
                  <a:cubicBezTo>
                    <a:pt x="1788193" y="6778171"/>
                    <a:pt x="0" y="4989978"/>
                    <a:pt x="0" y="2784130"/>
                  </a:cubicBezTo>
                  <a:cubicBezTo>
                    <a:pt x="0" y="1819072"/>
                    <a:pt x="342272" y="933955"/>
                    <a:pt x="912045" y="243549"/>
                  </a:cubicBezTo>
                  <a:close/>
                </a:path>
              </a:pathLst>
            </a:custGeom>
            <a:solidFill>
              <a:srgbClr val="06318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 rtl="0"/>
              <a:endParaRPr lang="en-US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D9CB59-0278-69D3-1B88-9D97D9D9BF6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6596886" y="1"/>
              <a:ext cx="5595114" cy="6115087"/>
            </a:xfrm>
            <a:custGeom>
              <a:avLst/>
              <a:gdLst>
                <a:gd name="connsiteX0" fmla="*/ 1504880 w 5595114"/>
                <a:gd name="connsiteY0" fmla="*/ 0 h 6115087"/>
                <a:gd name="connsiteX1" fmla="*/ 5157035 w 5595114"/>
                <a:gd name="connsiteY1" fmla="*/ 0 h 6115087"/>
                <a:gd name="connsiteX2" fmla="*/ 5193327 w 5595114"/>
                <a:gd name="connsiteY2" fmla="*/ 22048 h 6115087"/>
                <a:gd name="connsiteX3" fmla="*/ 5449755 w 5595114"/>
                <a:gd name="connsiteY3" fmla="*/ 213802 h 6115087"/>
                <a:gd name="connsiteX4" fmla="*/ 5595114 w 5595114"/>
                <a:gd name="connsiteY4" fmla="*/ 345913 h 6115087"/>
                <a:gd name="connsiteX5" fmla="*/ 5595114 w 5595114"/>
                <a:gd name="connsiteY5" fmla="*/ 5222347 h 6115087"/>
                <a:gd name="connsiteX6" fmla="*/ 5449755 w 5595114"/>
                <a:gd name="connsiteY6" fmla="*/ 5354459 h 6115087"/>
                <a:gd name="connsiteX7" fmla="*/ 3330957 w 5595114"/>
                <a:gd name="connsiteY7" fmla="*/ 6115087 h 6115087"/>
                <a:gd name="connsiteX8" fmla="*/ 0 w 5595114"/>
                <a:gd name="connsiteY8" fmla="*/ 2784130 h 6115087"/>
                <a:gd name="connsiteX9" fmla="*/ 1468588 w 5595114"/>
                <a:gd name="connsiteY9" fmla="*/ 22048 h 6115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95114" h="6115087">
                  <a:moveTo>
                    <a:pt x="1504880" y="0"/>
                  </a:moveTo>
                  <a:lnTo>
                    <a:pt x="5157035" y="0"/>
                  </a:lnTo>
                  <a:lnTo>
                    <a:pt x="5193327" y="22048"/>
                  </a:lnTo>
                  <a:cubicBezTo>
                    <a:pt x="5281931" y="81908"/>
                    <a:pt x="5367500" y="145919"/>
                    <a:pt x="5449755" y="213802"/>
                  </a:cubicBezTo>
                  <a:lnTo>
                    <a:pt x="5595114" y="345913"/>
                  </a:lnTo>
                  <a:lnTo>
                    <a:pt x="5595114" y="5222347"/>
                  </a:lnTo>
                  <a:lnTo>
                    <a:pt x="5449755" y="5354459"/>
                  </a:lnTo>
                  <a:cubicBezTo>
                    <a:pt x="4873969" y="5829639"/>
                    <a:pt x="4135798" y="6115087"/>
                    <a:pt x="3330957" y="6115087"/>
                  </a:cubicBezTo>
                  <a:cubicBezTo>
                    <a:pt x="1491320" y="6115087"/>
                    <a:pt x="0" y="4623767"/>
                    <a:pt x="0" y="2784130"/>
                  </a:cubicBezTo>
                  <a:cubicBezTo>
                    <a:pt x="0" y="1634357"/>
                    <a:pt x="582547" y="620645"/>
                    <a:pt x="1468588" y="22048"/>
                  </a:cubicBezTo>
                  <a:close/>
                </a:path>
              </a:pathLst>
            </a:custGeom>
            <a:solidFill>
              <a:srgbClr val="0949D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en-US" dirty="0">
                <a:solidFill>
                  <a:srgbClr val="DADADA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EF44984-8F7A-8C11-AE43-676924BE717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7172234" y="28520"/>
              <a:ext cx="5019767" cy="5511220"/>
            </a:xfrm>
            <a:custGeom>
              <a:avLst/>
              <a:gdLst>
                <a:gd name="connsiteX0" fmla="*/ 2755610 w 5019767"/>
                <a:gd name="connsiteY0" fmla="*/ 0 h 5511220"/>
                <a:gd name="connsiteX1" fmla="*/ 4881972 w 5019767"/>
                <a:gd name="connsiteY1" fmla="*/ 1002786 h 5511220"/>
                <a:gd name="connsiteX2" fmla="*/ 5019767 w 5019767"/>
                <a:gd name="connsiteY2" fmla="*/ 1187056 h 5511220"/>
                <a:gd name="connsiteX3" fmla="*/ 5019767 w 5019767"/>
                <a:gd name="connsiteY3" fmla="*/ 4324164 h 5511220"/>
                <a:gd name="connsiteX4" fmla="*/ 4881972 w 5019767"/>
                <a:gd name="connsiteY4" fmla="*/ 4508434 h 5511220"/>
                <a:gd name="connsiteX5" fmla="*/ 2755610 w 5019767"/>
                <a:gd name="connsiteY5" fmla="*/ 5511220 h 5511220"/>
                <a:gd name="connsiteX6" fmla="*/ 0 w 5019767"/>
                <a:gd name="connsiteY6" fmla="*/ 2755610 h 5511220"/>
                <a:gd name="connsiteX7" fmla="*/ 2755610 w 5019767"/>
                <a:gd name="connsiteY7" fmla="*/ 0 h 5511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19767" h="5511220">
                  <a:moveTo>
                    <a:pt x="2755610" y="0"/>
                  </a:moveTo>
                  <a:cubicBezTo>
                    <a:pt x="3611668" y="0"/>
                    <a:pt x="4376553" y="390360"/>
                    <a:pt x="4881972" y="1002786"/>
                  </a:cubicBezTo>
                  <a:lnTo>
                    <a:pt x="5019767" y="1187056"/>
                  </a:lnTo>
                  <a:lnTo>
                    <a:pt x="5019767" y="4324164"/>
                  </a:lnTo>
                  <a:lnTo>
                    <a:pt x="4881972" y="4508434"/>
                  </a:lnTo>
                  <a:cubicBezTo>
                    <a:pt x="4376553" y="5120861"/>
                    <a:pt x="3611668" y="5511220"/>
                    <a:pt x="2755610" y="5511220"/>
                  </a:cubicBezTo>
                  <a:cubicBezTo>
                    <a:pt x="1233729" y="5511220"/>
                    <a:pt x="0" y="4277491"/>
                    <a:pt x="0" y="2755610"/>
                  </a:cubicBezTo>
                  <a:cubicBezTo>
                    <a:pt x="0" y="1233729"/>
                    <a:pt x="1233729" y="0"/>
                    <a:pt x="275561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en-US" dirty="0"/>
            </a:p>
          </p:txBody>
        </p:sp>
      </p:grpSp>
      <p:sp>
        <p:nvSpPr>
          <p:cNvPr id="9" name="Copyright Line">
            <a:extLst>
              <a:ext uri="{FF2B5EF4-FFF2-40B4-BE49-F238E27FC236}">
                <a16:creationId xmlns:a16="http://schemas.microsoft.com/office/drawing/2014/main" id="{D2389545-B6D7-497B-37D4-C8C4C52F8A1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88558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7" name="Confidential disclaimer">
            <a:extLst>
              <a:ext uri="{FF2B5EF4-FFF2-40B4-BE49-F238E27FC236}">
                <a16:creationId xmlns:a16="http://schemas.microsoft.com/office/drawing/2014/main" id="{7F366BE8-8DFF-9E64-8372-4E4C126B56A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798636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8E33C4BA-B3E3-D8C7-C496-E55C90D029E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3"/>
          </p:nvPr>
        </p:nvSpPr>
        <p:spPr>
          <a:xfrm>
            <a:off x="3251200" y="6485399"/>
            <a:ext cx="3716336" cy="282957"/>
          </a:xfrm>
          <a:solidFill>
            <a:schemeClr val="tx2"/>
          </a:solidFill>
        </p:spPr>
        <p:txBody>
          <a:bodyPr/>
          <a:lstStyle>
            <a:lvl1pPr algn="l" rtl="0"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5" name="Picture Placeholder">
            <a:extLst>
              <a:ext uri="{FF2B5EF4-FFF2-40B4-BE49-F238E27FC236}">
                <a16:creationId xmlns:a16="http://schemas.microsoft.com/office/drawing/2014/main" id="{278BDEAF-4B5A-EDEC-5FBB-5BDC0B1311E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2" hasCustomPrompt="1"/>
          </p:nvPr>
        </p:nvSpPr>
        <p:spPr>
          <a:xfrm>
            <a:off x="7465671" y="321957"/>
            <a:ext cx="4726329" cy="4924346"/>
          </a:xfrm>
          <a:custGeom>
            <a:avLst/>
            <a:gdLst>
              <a:gd name="connsiteX0" fmla="*/ 2462173 w 4726329"/>
              <a:gd name="connsiteY0" fmla="*/ 0 h 4924346"/>
              <a:gd name="connsiteX1" fmla="*/ 4627175 w 4726329"/>
              <a:gd name="connsiteY1" fmla="*/ 1288555 h 4924346"/>
              <a:gd name="connsiteX2" fmla="*/ 4726329 w 4726329"/>
              <a:gd name="connsiteY2" fmla="*/ 1494386 h 4924346"/>
              <a:gd name="connsiteX3" fmla="*/ 4726329 w 4726329"/>
              <a:gd name="connsiteY3" fmla="*/ 3429960 h 4924346"/>
              <a:gd name="connsiteX4" fmla="*/ 4627175 w 4726329"/>
              <a:gd name="connsiteY4" fmla="*/ 3635791 h 4924346"/>
              <a:gd name="connsiteX5" fmla="*/ 2462173 w 4726329"/>
              <a:gd name="connsiteY5" fmla="*/ 4924346 h 4924346"/>
              <a:gd name="connsiteX6" fmla="*/ 0 w 4726329"/>
              <a:gd name="connsiteY6" fmla="*/ 2462173 h 4924346"/>
              <a:gd name="connsiteX7" fmla="*/ 2462173 w 4726329"/>
              <a:gd name="connsiteY7" fmla="*/ 0 h 4924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26329" h="4924346">
                <a:moveTo>
                  <a:pt x="2462173" y="0"/>
                </a:moveTo>
                <a:cubicBezTo>
                  <a:pt x="3397050" y="0"/>
                  <a:pt x="4210233" y="521034"/>
                  <a:pt x="4627175" y="1288555"/>
                </a:cubicBezTo>
                <a:lnTo>
                  <a:pt x="4726329" y="1494386"/>
                </a:lnTo>
                <a:lnTo>
                  <a:pt x="4726329" y="3429960"/>
                </a:lnTo>
                <a:lnTo>
                  <a:pt x="4627175" y="3635791"/>
                </a:lnTo>
                <a:cubicBezTo>
                  <a:pt x="4210233" y="4403313"/>
                  <a:pt x="3397050" y="4924346"/>
                  <a:pt x="2462173" y="4924346"/>
                </a:cubicBezTo>
                <a:cubicBezTo>
                  <a:pt x="1102352" y="4924346"/>
                  <a:pt x="0" y="3821994"/>
                  <a:pt x="0" y="2462173"/>
                </a:cubicBezTo>
                <a:cubicBezTo>
                  <a:pt x="0" y="1102352"/>
                  <a:pt x="1102352" y="0"/>
                  <a:pt x="2462173" y="0"/>
                </a:cubicBezTo>
                <a:close/>
              </a:path>
            </a:pathLst>
          </a:custGeom>
          <a:solidFill>
            <a:srgbClr val="777777"/>
          </a:solidFill>
        </p:spPr>
        <p:txBody>
          <a:bodyPr wrap="square" anchor="ctr" anchorCtr="1">
            <a:noAutofit/>
          </a:bodyPr>
          <a:lstStyle>
            <a:lvl1pPr marL="0" indent="0" algn="ctr" rtl="0"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picture icon to add photo</a:t>
            </a:r>
          </a:p>
        </p:txBody>
      </p:sp>
      <p:sp>
        <p:nvSpPr>
          <p:cNvPr id="11" name="Date Placeholder">
            <a:extLst>
              <a:ext uri="{FF2B5EF4-FFF2-40B4-BE49-F238E27FC236}">
                <a16:creationId xmlns:a16="http://schemas.microsoft.com/office/drawing/2014/main" id="{56FDEAC7-8736-5846-42B8-66DC00FA3B9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>
          <a:xfrm>
            <a:off x="292100" y="5036705"/>
            <a:ext cx="1744664" cy="282957"/>
          </a:xfrm>
        </p:spPr>
        <p:txBody>
          <a:bodyPr/>
          <a:lstStyle>
            <a:lvl1pPr rtl="0">
              <a:defRPr sz="1200">
                <a:solidFill>
                  <a:srgbClr val="FFFFFF"/>
                </a:solidFill>
              </a:defRPr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3" name="Title/Dept Placeholder">
            <a:extLst>
              <a:ext uri="{FF2B5EF4-FFF2-40B4-BE49-F238E27FC236}">
                <a16:creationId xmlns:a16="http://schemas.microsoft.com/office/drawing/2014/main" id="{F49547DD-E825-E7A3-C48A-64AA78C199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 hasCustomPrompt="1"/>
          </p:nvPr>
        </p:nvSpPr>
        <p:spPr>
          <a:xfrm>
            <a:off x="292100" y="4560602"/>
            <a:ext cx="6689728" cy="344385"/>
          </a:xfrm>
        </p:spPr>
        <p:txBody>
          <a:bodyPr t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/Department</a:t>
            </a:r>
          </a:p>
        </p:txBody>
      </p:sp>
      <p:sp>
        <p:nvSpPr>
          <p:cNvPr id="2" name="Presenter Name Placeholder">
            <a:extLst>
              <a:ext uri="{FF2B5EF4-FFF2-40B4-BE49-F238E27FC236}">
                <a16:creationId xmlns:a16="http://schemas.microsoft.com/office/drawing/2014/main" id="{5A598B2A-BB91-C356-7BCC-18D04DA85A8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292100" y="4192468"/>
            <a:ext cx="6689728" cy="344384"/>
          </a:xfrm>
        </p:spPr>
        <p:txBody>
          <a:bodyPr tIns="0" bIns="0" anchor="b" anchorCtr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8" name="Subtitle Placeholder">
            <a:extLst>
              <a:ext uri="{FF2B5EF4-FFF2-40B4-BE49-F238E27FC236}">
                <a16:creationId xmlns:a16="http://schemas.microsoft.com/office/drawing/2014/main" id="{23B6A8FC-C3C4-F7DA-BF00-D56866D5808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292100" y="3114710"/>
            <a:ext cx="6689729" cy="837882"/>
          </a:xfr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Title Placeholder">
            <a:extLst>
              <a:ext uri="{FF2B5EF4-FFF2-40B4-BE49-F238E27FC236}">
                <a16:creationId xmlns:a16="http://schemas.microsoft.com/office/drawing/2014/main" id="{615225DC-38B1-15E3-05E6-88F5A6B976C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292100" y="654818"/>
            <a:ext cx="6689729" cy="238760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>
              <a:defRPr sz="4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Insert your presentation title here maximum of three lines</a:t>
            </a:r>
          </a:p>
        </p:txBody>
      </p:sp>
      <p:pic>
        <p:nvPicPr>
          <p:cNvPr id="10" name="NielsenIQ GFK lockup" hidden="1">
            <a:extLst>
              <a:ext uri="{FF2B5EF4-FFF2-40B4-BE49-F238E27FC236}">
                <a16:creationId xmlns:a16="http://schemas.microsoft.com/office/drawing/2014/main" id="{5AD45FDA-A06C-6A25-4D77-005D36A8D623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86122" y="5539740"/>
            <a:ext cx="3377876" cy="753596"/>
          </a:xfrm>
          <a:prstGeom prst="rect">
            <a:avLst/>
          </a:prstGeom>
        </p:spPr>
      </p:pic>
      <p:pic>
        <p:nvPicPr>
          <p:cNvPr id="14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4592FCA5-867A-BB8D-E995-7A4C9EC3E96A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558" y="5563212"/>
            <a:ext cx="2155411" cy="743616"/>
          </a:xfrm>
          <a:prstGeom prst="rect">
            <a:avLst/>
          </a:prstGeom>
        </p:spPr>
      </p:pic>
      <p:sp>
        <p:nvSpPr>
          <p:cNvPr id="22" name="Nielsen wordmark">
            <a:extLst>
              <a:ext uri="{FF2B5EF4-FFF2-40B4-BE49-F238E27FC236}">
                <a16:creationId xmlns:a16="http://schemas.microsoft.com/office/drawing/2014/main" id="{EA927BD7-665B-50AF-0BB4-89B1734188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95274" y="5686380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accent1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8673190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D716AC15-A5C2-DCE4-6F23-E4311B2FF3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7336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16AC15-A5C2-DCE4-6F23-E4311B2FF3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Illustration Background">
            <a:extLst>
              <a:ext uri="{FF2B5EF4-FFF2-40B4-BE49-F238E27FC236}">
                <a16:creationId xmlns:a16="http://schemas.microsoft.com/office/drawing/2014/main" id="{DB788935-E7B2-2CAC-0048-B92417139B6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67" y="0"/>
            <a:ext cx="12187065" cy="6858000"/>
          </a:xfrm>
          <a:prstGeom prst="rect">
            <a:avLst/>
          </a:prstGeom>
        </p:spPr>
      </p:pic>
      <p:sp>
        <p:nvSpPr>
          <p:cNvPr id="5" name="Confidential disclaimer">
            <a:extLst>
              <a:ext uri="{FF2B5EF4-FFF2-40B4-BE49-F238E27FC236}">
                <a16:creationId xmlns:a16="http://schemas.microsoft.com/office/drawing/2014/main" id="{CD47C08F-F59E-5783-DCC8-C91095C566C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798636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7" name="Copyright Line">
            <a:extLst>
              <a:ext uri="{FF2B5EF4-FFF2-40B4-BE49-F238E27FC236}">
                <a16:creationId xmlns:a16="http://schemas.microsoft.com/office/drawing/2014/main" id="{94679E81-620B-431C-44E4-1FAE9486A5E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88558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4D4D5DC7-A70B-2666-E654-41F700D18D0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3"/>
          </p:nvPr>
        </p:nvSpPr>
        <p:spPr>
          <a:xfrm>
            <a:off x="3251200" y="6485399"/>
            <a:ext cx="3716336" cy="282957"/>
          </a:xfrm>
          <a:noFill/>
        </p:spPr>
        <p:txBody>
          <a:bodyPr/>
          <a:lstStyle>
            <a:lvl1pPr algn="l" rtl="0"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7" name="Date Placeholder">
            <a:extLst>
              <a:ext uri="{FF2B5EF4-FFF2-40B4-BE49-F238E27FC236}">
                <a16:creationId xmlns:a16="http://schemas.microsoft.com/office/drawing/2014/main" id="{959D1E47-A59F-7F2A-1103-CE2E01F9C34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>
          <a:xfrm>
            <a:off x="292100" y="5036705"/>
            <a:ext cx="1744664" cy="282957"/>
          </a:xfrm>
        </p:spPr>
        <p:txBody>
          <a:bodyPr/>
          <a:lstStyle>
            <a:lvl1pPr rtl="0">
              <a:defRPr sz="1200">
                <a:solidFill>
                  <a:srgbClr val="FFFFFF"/>
                </a:solidFill>
              </a:defRPr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3" name="Title/Dept Placeholder">
            <a:extLst>
              <a:ext uri="{FF2B5EF4-FFF2-40B4-BE49-F238E27FC236}">
                <a16:creationId xmlns:a16="http://schemas.microsoft.com/office/drawing/2014/main" id="{DADB3285-032F-C5EA-E4E6-C62E075FF1F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 hasCustomPrompt="1"/>
          </p:nvPr>
        </p:nvSpPr>
        <p:spPr>
          <a:xfrm>
            <a:off x="288558" y="4560602"/>
            <a:ext cx="8642082" cy="344385"/>
          </a:xfrm>
        </p:spPr>
        <p:txBody>
          <a:bodyPr t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/Department</a:t>
            </a:r>
          </a:p>
        </p:txBody>
      </p:sp>
      <p:sp>
        <p:nvSpPr>
          <p:cNvPr id="2" name="Presenter Name Placeholder">
            <a:extLst>
              <a:ext uri="{FF2B5EF4-FFF2-40B4-BE49-F238E27FC236}">
                <a16:creationId xmlns:a16="http://schemas.microsoft.com/office/drawing/2014/main" id="{3417592A-6067-984F-549E-3833CDB76A5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288558" y="4192468"/>
            <a:ext cx="8642082" cy="344384"/>
          </a:xfrm>
        </p:spPr>
        <p:txBody>
          <a:bodyPr tIns="0" bIns="0" anchor="b" anchorCtr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17" name="Subtitle Placeholder">
            <a:extLst>
              <a:ext uri="{FF2B5EF4-FFF2-40B4-BE49-F238E27FC236}">
                <a16:creationId xmlns:a16="http://schemas.microsoft.com/office/drawing/2014/main" id="{A4501D72-EE3C-0DA6-BA4B-C1D78BA85AE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288558" y="3114710"/>
            <a:ext cx="8642082" cy="837882"/>
          </a:xfr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6" name="Title Placeholder">
            <a:extLst>
              <a:ext uri="{FF2B5EF4-FFF2-40B4-BE49-F238E27FC236}">
                <a16:creationId xmlns:a16="http://schemas.microsoft.com/office/drawing/2014/main" id="{7987C027-455E-4C45-138D-8334F13BBE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288558" y="635035"/>
            <a:ext cx="8642082" cy="238760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>
              <a:defRPr sz="5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Insert your presentation title here maximum of three lines</a:t>
            </a:r>
          </a:p>
        </p:txBody>
      </p:sp>
      <p:pic>
        <p:nvPicPr>
          <p:cNvPr id="6" name="NielsenIQ GFK lockup" hidden="1">
            <a:extLst>
              <a:ext uri="{FF2B5EF4-FFF2-40B4-BE49-F238E27FC236}">
                <a16:creationId xmlns:a16="http://schemas.microsoft.com/office/drawing/2014/main" id="{1527D24A-5EB5-2412-09AA-2A0D682A2D88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86122" y="5539740"/>
            <a:ext cx="3377876" cy="753596"/>
          </a:xfrm>
          <a:prstGeom prst="rect">
            <a:avLst/>
          </a:prstGeom>
        </p:spPr>
      </p:pic>
      <p:pic>
        <p:nvPicPr>
          <p:cNvPr id="18" name="NielsenIQ logo+wordmark" hidden="1">
            <a:extLst>
              <a:ext uri="{FF2B5EF4-FFF2-40B4-BE49-F238E27FC236}">
                <a16:creationId xmlns:a16="http://schemas.microsoft.com/office/drawing/2014/main" id="{041ECC27-E626-2866-047D-40D91692A39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8559" y="5563212"/>
            <a:ext cx="2155408" cy="743616"/>
          </a:xfrm>
          <a:prstGeom prst="rect">
            <a:avLst/>
          </a:prstGeom>
        </p:spPr>
      </p:pic>
      <p:sp>
        <p:nvSpPr>
          <p:cNvPr id="8" name="Nielsen wordmark">
            <a:extLst>
              <a:ext uri="{FF2B5EF4-FFF2-40B4-BE49-F238E27FC236}">
                <a16:creationId xmlns:a16="http://schemas.microsoft.com/office/drawing/2014/main" id="{4BFD1796-2F8B-4ED9-936A-10DB34E78CA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95274" y="5686380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bg1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9493697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Full-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548C374-075D-7713-1FC1-7F83BE5A0D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022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48C374-075D-7713-1FC1-7F83BE5A0D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Off-slide Instructions">
            <a:extLst>
              <a:ext uri="{FF2B5EF4-FFF2-40B4-BE49-F238E27FC236}">
                <a16:creationId xmlns:a16="http://schemas.microsoft.com/office/drawing/2014/main" id="{271856CE-9F0A-4AD8-67ED-834B35F367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2338614" y="0"/>
            <a:ext cx="2812486" cy="2373888"/>
          </a:xfrm>
          <a:prstGeom prst="bracketPair">
            <a:avLst>
              <a:gd name="adj" fmla="val 4083"/>
            </a:avLst>
          </a:prstGeom>
          <a:solidFill>
            <a:srgbClr val="FFFF00">
              <a:alpha val="80000"/>
            </a:srgbClr>
          </a:solidFill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spAutoFit/>
          </a:bodyPr>
          <a:lstStyle/>
          <a:p>
            <a:pPr marL="0" indent="0" algn="l" defTabSz="914400" rtl="0" eaLnBrk="1" latinLnBrk="0" hangingPunct="1">
              <a:spcAft>
                <a:spcPts val="400"/>
              </a:spcAft>
              <a:buFont typeface="+mj-lt"/>
              <a:buNone/>
            </a:pPr>
            <a:r>
              <a:rPr lang="en-US" sz="1200" b="1" kern="1200" dirty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If logo, copyright line, footer, etc. are missing:</a:t>
            </a:r>
          </a:p>
          <a:p>
            <a:pPr marL="177800" lvl="0" indent="-177800" rtl="0">
              <a:spcAft>
                <a:spcPts val="400"/>
              </a:spcAft>
              <a:buFont typeface="+mj-lt"/>
              <a:buAutoNum type="arabicPeriod"/>
            </a:pPr>
            <a:r>
              <a:rPr lang="en-US" sz="800" dirty="0">
                <a:solidFill>
                  <a:srgbClr val="000000"/>
                </a:solidFill>
              </a:rPr>
              <a:t>Go to </a:t>
            </a:r>
            <a:r>
              <a:rPr lang="en-US" sz="800" b="1" dirty="0">
                <a:solidFill>
                  <a:srgbClr val="000000"/>
                </a:solidFill>
              </a:rPr>
              <a:t>View &gt; Slide Master</a:t>
            </a:r>
          </a:p>
          <a:p>
            <a:pPr marL="177800" lvl="0" indent="-177800" rtl="0">
              <a:spcAft>
                <a:spcPts val="400"/>
              </a:spcAft>
              <a:buFont typeface="+mj-lt"/>
              <a:buAutoNum type="arabicPeriod"/>
            </a:pPr>
            <a:r>
              <a:rPr lang="en-US" sz="800" dirty="0">
                <a:solidFill>
                  <a:srgbClr val="000000"/>
                </a:solidFill>
              </a:rPr>
              <a:t>Copy logo and footer elements from Layout Master</a:t>
            </a:r>
          </a:p>
          <a:p>
            <a:pPr marL="177800" lvl="0" indent="-177800" rtl="0">
              <a:spcAft>
                <a:spcPts val="400"/>
              </a:spcAft>
              <a:buFont typeface="+mj-lt"/>
              <a:buAutoNum type="arabicPeriod"/>
            </a:pPr>
            <a:r>
              <a:rPr lang="en-US" sz="800" dirty="0">
                <a:solidFill>
                  <a:srgbClr val="000000"/>
                </a:solidFill>
              </a:rPr>
              <a:t>Close Master View</a:t>
            </a:r>
          </a:p>
          <a:p>
            <a:pPr marL="177800" lvl="0" indent="-177800" rtl="0">
              <a:spcAft>
                <a:spcPts val="400"/>
              </a:spcAft>
              <a:buFont typeface="+mj-lt"/>
              <a:buAutoNum type="arabicPeriod"/>
            </a:pPr>
            <a:r>
              <a:rPr lang="en-US" sz="800" dirty="0">
                <a:solidFill>
                  <a:srgbClr val="000000"/>
                </a:solidFill>
              </a:rPr>
              <a:t>Paste on slide</a:t>
            </a:r>
            <a:endParaRPr lang="en-US" sz="1200" b="1" dirty="0">
              <a:solidFill>
                <a:srgbClr val="000000"/>
              </a:solidFill>
            </a:endParaRPr>
          </a:p>
          <a:p>
            <a:pPr rtl="0">
              <a:spcAft>
                <a:spcPts val="400"/>
              </a:spcAft>
            </a:pPr>
            <a:endParaRPr lang="en-US" sz="1200" b="1" dirty="0">
              <a:solidFill>
                <a:srgbClr val="000000"/>
              </a:solidFill>
            </a:endParaRPr>
          </a:p>
          <a:p>
            <a:pPr rtl="0">
              <a:spcAft>
                <a:spcPts val="400"/>
              </a:spcAft>
            </a:pPr>
            <a:r>
              <a:rPr lang="en-US" sz="1200" b="1" dirty="0">
                <a:solidFill>
                  <a:srgbClr val="000000"/>
                </a:solidFill>
              </a:rPr>
              <a:t>To replace existing image:</a:t>
            </a:r>
          </a:p>
          <a:p>
            <a:pPr marL="174625" indent="-174625" rtl="0">
              <a:spcAft>
                <a:spcPts val="400"/>
              </a:spcAft>
              <a:buFont typeface="+mj-lt"/>
              <a:buAutoNum type="arabicPeriod"/>
            </a:pPr>
            <a:r>
              <a:rPr lang="en-US" sz="800" dirty="0">
                <a:solidFill>
                  <a:srgbClr val="000000"/>
                </a:solidFill>
              </a:rPr>
              <a:t>Right-click image placeholder</a:t>
            </a:r>
          </a:p>
          <a:p>
            <a:pPr marL="174625" indent="-174625" rtl="0">
              <a:spcAft>
                <a:spcPts val="400"/>
              </a:spcAft>
              <a:buFont typeface="+mj-lt"/>
              <a:buAutoNum type="arabicPeriod"/>
            </a:pPr>
            <a:r>
              <a:rPr lang="en-US" sz="800" dirty="0">
                <a:solidFill>
                  <a:srgbClr val="000000"/>
                </a:solidFill>
              </a:rPr>
              <a:t>Select </a:t>
            </a:r>
            <a:r>
              <a:rPr lang="en-US" sz="800" b="1" dirty="0">
                <a:solidFill>
                  <a:srgbClr val="000000"/>
                </a:solidFill>
              </a:rPr>
              <a:t>Change Picture</a:t>
            </a:r>
          </a:p>
          <a:p>
            <a:pPr marL="174625" indent="-174625" rtl="0">
              <a:spcAft>
                <a:spcPts val="400"/>
              </a:spcAft>
              <a:buFont typeface="+mj-lt"/>
              <a:buAutoNum type="arabicPeriod"/>
            </a:pPr>
            <a:r>
              <a:rPr lang="en-US" sz="800" dirty="0">
                <a:solidFill>
                  <a:srgbClr val="000000"/>
                </a:solidFill>
              </a:rPr>
              <a:t>Select</a:t>
            </a:r>
            <a:r>
              <a:rPr lang="en-US" sz="800" b="1" dirty="0">
                <a:solidFill>
                  <a:srgbClr val="000000"/>
                </a:solidFill>
              </a:rPr>
              <a:t> desired </a:t>
            </a:r>
            <a:r>
              <a:rPr lang="en-US" sz="800" dirty="0">
                <a:solidFill>
                  <a:srgbClr val="000000"/>
                </a:solidFill>
              </a:rPr>
              <a:t>image file (.jpg, .</a:t>
            </a:r>
            <a:r>
              <a:rPr lang="en-US" sz="800" dirty="0" err="1">
                <a:solidFill>
                  <a:srgbClr val="000000"/>
                </a:solidFill>
              </a:rPr>
              <a:t>png</a:t>
            </a:r>
            <a:r>
              <a:rPr lang="en-US" sz="800" dirty="0">
                <a:solidFill>
                  <a:srgbClr val="000000"/>
                </a:solidFill>
              </a:rPr>
              <a:t>, .gif)</a:t>
            </a:r>
          </a:p>
          <a:p>
            <a:pPr marL="174625" indent="-174625" rtl="0">
              <a:spcAft>
                <a:spcPts val="400"/>
              </a:spcAft>
              <a:buFont typeface="+mj-lt"/>
              <a:buAutoNum type="arabicPeriod"/>
            </a:pP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21" name="Picture Placeholder">
            <a:extLst>
              <a:ext uri="{FF2B5EF4-FFF2-40B4-BE49-F238E27FC236}">
                <a16:creationId xmlns:a16="http://schemas.microsoft.com/office/drawing/2014/main" id="{52F19A97-1265-FCED-7EE6-B54C73691BB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solidFill>
            <a:schemeClr val="tx1">
              <a:lumMod val="60000"/>
              <a:lumOff val="40000"/>
            </a:schemeClr>
          </a:solidFill>
        </p:spPr>
        <p:txBody>
          <a:bodyPr lIns="9144000" tIns="91440" rIns="0" anchor="t">
            <a:normAutofit/>
          </a:bodyPr>
          <a:lstStyle>
            <a:lvl1pPr marL="228600" indent="-228600" algn="l" rtl="0">
              <a:buFont typeface="Arial" panose="020B0604020202020204" pitchFamily="34" charset="0"/>
              <a:buNone/>
              <a:defRPr sz="1400" b="1">
                <a:solidFill>
                  <a:srgbClr val="FFFF00"/>
                </a:solidFill>
              </a:defRPr>
            </a:lvl1pPr>
          </a:lstStyle>
          <a:p>
            <a:r>
              <a:rPr lang="en-US" dirty="0"/>
              <a:t>To add image: </a:t>
            </a:r>
            <a:br>
              <a:rPr lang="en-US" dirty="0"/>
            </a:br>
            <a:r>
              <a:rPr lang="en-US" dirty="0"/>
              <a:t>1. Select image placeholder</a:t>
            </a:r>
            <a:br>
              <a:rPr lang="en-US" dirty="0"/>
            </a:br>
            <a:r>
              <a:rPr lang="en-US" dirty="0"/>
              <a:t>2. Drag/drop file or copy/paste image into slide (.jpg, .gif, .</a:t>
            </a:r>
            <a:r>
              <a:rPr lang="en-US" dirty="0" err="1"/>
              <a:t>png</a:t>
            </a:r>
            <a:r>
              <a:rPr lang="en-US" dirty="0"/>
              <a:t>)</a:t>
            </a:r>
            <a:br>
              <a:rPr lang="en-US" dirty="0"/>
            </a:br>
            <a:r>
              <a:rPr lang="en-US" dirty="0"/>
              <a:t>3. Right-click image and “Send to back”</a:t>
            </a:r>
          </a:p>
        </p:txBody>
      </p:sp>
      <p:sp>
        <p:nvSpPr>
          <p:cNvPr id="5" name="Confidential disclaimer">
            <a:extLst>
              <a:ext uri="{FF2B5EF4-FFF2-40B4-BE49-F238E27FC236}">
                <a16:creationId xmlns:a16="http://schemas.microsoft.com/office/drawing/2014/main" id="{5608DDC1-C01E-6D4A-6FBF-3A04BB3F9975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798636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7" name="Copyright Line">
            <a:extLst>
              <a:ext uri="{FF2B5EF4-FFF2-40B4-BE49-F238E27FC236}">
                <a16:creationId xmlns:a16="http://schemas.microsoft.com/office/drawing/2014/main" id="{94679E81-620B-431C-44E4-1FAE9486A5E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88558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EC7B7A51-3AAD-04A0-499C-1BDCF93D6A3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3"/>
          </p:nvPr>
        </p:nvSpPr>
        <p:spPr>
          <a:xfrm>
            <a:off x="3251200" y="6485399"/>
            <a:ext cx="3716336" cy="282957"/>
          </a:xfrm>
          <a:noFill/>
        </p:spPr>
        <p:txBody>
          <a:bodyPr/>
          <a:lstStyle>
            <a:lvl1pPr algn="l" rtl="0"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2" name="Date Placeholder">
            <a:extLst>
              <a:ext uri="{FF2B5EF4-FFF2-40B4-BE49-F238E27FC236}">
                <a16:creationId xmlns:a16="http://schemas.microsoft.com/office/drawing/2014/main" id="{2FF3E537-3200-2E95-28C8-4005E0D0E4D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>
          <a:xfrm>
            <a:off x="292100" y="5036705"/>
            <a:ext cx="1744664" cy="282957"/>
          </a:xfrm>
        </p:spPr>
        <p:txBody>
          <a:bodyPr/>
          <a:lstStyle>
            <a:lvl1pPr rtl="0">
              <a:defRPr sz="1200">
                <a:solidFill>
                  <a:srgbClr val="FFFFFF"/>
                </a:solidFill>
              </a:defRPr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3" name="Title/Dept Placeholder">
            <a:extLst>
              <a:ext uri="{FF2B5EF4-FFF2-40B4-BE49-F238E27FC236}">
                <a16:creationId xmlns:a16="http://schemas.microsoft.com/office/drawing/2014/main" id="{DADB3285-032F-C5EA-E4E6-C62E075FF1F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 hasCustomPrompt="1"/>
          </p:nvPr>
        </p:nvSpPr>
        <p:spPr>
          <a:xfrm>
            <a:off x="288558" y="4560602"/>
            <a:ext cx="8642082" cy="344385"/>
          </a:xfrm>
        </p:spPr>
        <p:txBody>
          <a:bodyPr t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/Department</a:t>
            </a:r>
          </a:p>
        </p:txBody>
      </p:sp>
      <p:sp>
        <p:nvSpPr>
          <p:cNvPr id="2" name="Presenter Name Placeholder">
            <a:extLst>
              <a:ext uri="{FF2B5EF4-FFF2-40B4-BE49-F238E27FC236}">
                <a16:creationId xmlns:a16="http://schemas.microsoft.com/office/drawing/2014/main" id="{3417592A-6067-984F-549E-3833CDB76A5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288558" y="4192468"/>
            <a:ext cx="8642082" cy="344384"/>
          </a:xfrm>
        </p:spPr>
        <p:txBody>
          <a:bodyPr tIns="0" bIns="0" anchor="b" anchorCtr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rgbClr val="FFFFFF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17" name="Subtitle Placeholder">
            <a:extLst>
              <a:ext uri="{FF2B5EF4-FFF2-40B4-BE49-F238E27FC236}">
                <a16:creationId xmlns:a16="http://schemas.microsoft.com/office/drawing/2014/main" id="{A4501D72-EE3C-0DA6-BA4B-C1D78BA85AE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>
          <a:xfrm>
            <a:off x="288558" y="3114710"/>
            <a:ext cx="8642082" cy="837882"/>
          </a:xfr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6" name="Title Placeholder">
            <a:extLst>
              <a:ext uri="{FF2B5EF4-FFF2-40B4-BE49-F238E27FC236}">
                <a16:creationId xmlns:a16="http://schemas.microsoft.com/office/drawing/2014/main" id="{7987C027-455E-4C45-138D-8334F13BBE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288558" y="635035"/>
            <a:ext cx="8642082" cy="238760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>
              <a:defRPr sz="5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Insert your presentation title here maximum of three lines</a:t>
            </a:r>
          </a:p>
        </p:txBody>
      </p:sp>
      <p:pic>
        <p:nvPicPr>
          <p:cNvPr id="6" name="NielsenIQ GFK lockup" hidden="1">
            <a:extLst>
              <a:ext uri="{FF2B5EF4-FFF2-40B4-BE49-F238E27FC236}">
                <a16:creationId xmlns:a16="http://schemas.microsoft.com/office/drawing/2014/main" id="{5418E13B-8AFF-E657-70EF-BADD9F33A38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86122" y="5539740"/>
            <a:ext cx="3377876" cy="753596"/>
          </a:xfrm>
          <a:prstGeom prst="rect">
            <a:avLst/>
          </a:prstGeom>
        </p:spPr>
      </p:pic>
      <p:pic>
        <p:nvPicPr>
          <p:cNvPr id="18" name="NielsenIQ logo+wordmark" hidden="1">
            <a:extLst>
              <a:ext uri="{FF2B5EF4-FFF2-40B4-BE49-F238E27FC236}">
                <a16:creationId xmlns:a16="http://schemas.microsoft.com/office/drawing/2014/main" id="{041ECC27-E626-2866-047D-40D91692A39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8559" y="5563212"/>
            <a:ext cx="2155408" cy="743616"/>
          </a:xfrm>
          <a:prstGeom prst="rect">
            <a:avLst/>
          </a:prstGeom>
        </p:spPr>
      </p:pic>
      <p:sp>
        <p:nvSpPr>
          <p:cNvPr id="38" name="Nielsen wordmark">
            <a:extLst>
              <a:ext uri="{FF2B5EF4-FFF2-40B4-BE49-F238E27FC236}">
                <a16:creationId xmlns:a16="http://schemas.microsoft.com/office/drawing/2014/main" id="{6D5C1F9E-5298-0893-F83B-8DC3C0EC17D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95274" y="5686380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bg1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9955599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F9C6F1C-54CC-636A-5EBE-87E8AC4B92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8778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9C6F1C-54CC-636A-5EBE-87E8AC4B92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FD1F3F95-8F1D-9A9D-41FB-B771E151224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9F5B23B2-FEF2-DCC0-334E-3B80B3A03AE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35847737-8381-A612-E054-E1C098244CD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13" name="Source Placeholder">
            <a:extLst>
              <a:ext uri="{FF2B5EF4-FFF2-40B4-BE49-F238E27FC236}">
                <a16:creationId xmlns:a16="http://schemas.microsoft.com/office/drawing/2014/main" id="{81E36804-955F-07A1-88DF-9B603E5E262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3" name="Content Placeholder">
            <a:extLst>
              <a:ext uri="{FF2B5EF4-FFF2-40B4-BE49-F238E27FC236}">
                <a16:creationId xmlns:a16="http://schemas.microsoft.com/office/drawing/2014/main" id="{04974C89-D6D3-D29A-E142-BB21F4F82BF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ubtitle Placeholder">
            <a:extLst>
              <a:ext uri="{FF2B5EF4-FFF2-40B4-BE49-F238E27FC236}">
                <a16:creationId xmlns:a16="http://schemas.microsoft.com/office/drawing/2014/main" id="{D7CEFD0E-11F5-45EC-2759-A609F998C67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11" name="Title Placeholder">
            <a:extLst>
              <a:ext uri="{FF2B5EF4-FFF2-40B4-BE49-F238E27FC236}">
                <a16:creationId xmlns:a16="http://schemas.microsoft.com/office/drawing/2014/main" id="{063DF22F-A0F5-4EAA-7380-343ABC31C9B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3925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8FBBB33B-6585-FAE2-064D-97CE130492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36BF6A55-3BD5-3BAD-F62B-F168224C5B09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C09ED312-0B60-BE98-FA91-3E295B2FE1E3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736CB7F7-3C97-AB31-2F8F-ABD83BB4C675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61E7F848-4761-3B86-69CA-69352ECB890C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2C537B7B-FF5B-34F9-BC72-03A86B2C4E63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39663796-B505-354C-5387-682B97C9271A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E09A7279-CAF8-7EA6-BCFD-E15B67A72BD2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FE0C5BFE-4FCD-02E4-B864-11D7F686A66A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BF16B231-651A-E0B4-A5E4-75232E5FF5A8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0CD6A4A1-395D-3870-FD75-59847C902E75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80A7D57B-4901-3108-5C74-3F0D9986BF2B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FC4E1CD6-7841-8D67-B6AF-9C9AB9FF5A06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4BA6673A-9309-DF39-41CA-2CCFEA80BB36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E8D2F87E-FE95-DB4F-1978-4B2769FE7566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09368267-C5D5-89C2-B2FB-B46D8F151004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00654DB6-1E34-D913-4A4B-B64B22AE1F17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ABC0B822-0A38-CDF1-04B6-BBC64D761743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F6EAFB8F-389B-4CB6-8B35-CEE4368B09E7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DD5B488B-004A-20ED-F2BA-71B78CBAD9BD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9AAD940D-38DE-8D86-B1AA-2F0B26F2EE69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54567C84-8A77-64AE-8E13-9DB07B5941BB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CC54F7F9-7A48-C9EA-6B1F-3659BA75F5CB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599C368D-63E5-67FF-1FF1-A8DC64217424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09AAC4B1-E516-D59D-1FC6-61B7DAD158A9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69BAA6E8-DFED-74AA-995D-5D7CD6525BA3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DA3A0ED2-73AF-F302-EC89-C77B793ADAEF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86B74D44-2618-7CDF-077C-08EE7974B7C7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E6D68A55-1911-2FFE-1741-F6C2BECBEE9C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EFF96A0D-A71E-B3EC-0E2B-C743B3F8EBCE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26D587A9-5344-FCBF-7A24-56F02F654D17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DAB46B1F-2C96-CCD6-D38B-9266CBA59DEE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E54ADAD6-7CE0-188E-A8DD-044FDC59040E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FF2250B8-BFAB-97F4-9E1F-1CF438C1E1DF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52F815ED-ED1E-43BC-C7C0-88EB783FE6BE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935CACFD-0721-A62C-E57C-0BF533900FDB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2F429752-501E-84B9-1DF7-69E60F762AC1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5F4F797B-4549-1525-2897-FE6210983AA9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B0C125F6-1E44-400F-8E0B-6D90B33BF80D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F462A747-A99B-5CDB-7C69-1C02D6090675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155745AE-FEC1-19AF-C6E5-3719C4F68069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65370FCB-8593-8719-6F48-8898E05C9989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F1006097-8FEE-454F-DDA0-CDF88CEC7127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1239D329-6CCE-5B86-743B-BF32749737C1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BA673C69-4B93-9097-A28F-4DD1C1809AEC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0EAD2096-BA0B-F20D-474D-C87ABAD76167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2FFC4C80-1C0E-E5C8-70B8-5C9880CD4A00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5AEFB2F9-9AAC-743B-7044-FAF1EB4D2E41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FDB6BEB7-A32E-71A8-71EB-7ED89420155D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071794A4-3D02-4353-FC25-FF5F6CC29422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0983620F-829C-328B-29AE-697A4B7AB5C5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A2109864-60CA-31C8-570C-F7F91609BFDA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4F6701DB-BF4A-B9F1-7804-72F63F958E9F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13DCC529-E443-EC98-D24D-241AFAA48751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06AA5AFB-B00F-0A73-F405-8F2C1FB89FA4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6" name="Rechteck 565">
              <a:extLst>
                <a:ext uri="{FF2B5EF4-FFF2-40B4-BE49-F238E27FC236}">
                  <a16:creationId xmlns:a16="http://schemas.microsoft.com/office/drawing/2014/main" id="{CC952EF0-0D55-4996-8A14-2560311C38D6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7" name="Rechteck 566">
              <a:extLst>
                <a:ext uri="{FF2B5EF4-FFF2-40B4-BE49-F238E27FC236}">
                  <a16:creationId xmlns:a16="http://schemas.microsoft.com/office/drawing/2014/main" id="{B2BBF22C-DBBE-F28C-2373-53DC71408548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8" name="Rechteck 567">
              <a:extLst>
                <a:ext uri="{FF2B5EF4-FFF2-40B4-BE49-F238E27FC236}">
                  <a16:creationId xmlns:a16="http://schemas.microsoft.com/office/drawing/2014/main" id="{4ACC169F-DD90-E682-099E-01D1C25ABE5B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9" name="Rechteck 568">
              <a:extLst>
                <a:ext uri="{FF2B5EF4-FFF2-40B4-BE49-F238E27FC236}">
                  <a16:creationId xmlns:a16="http://schemas.microsoft.com/office/drawing/2014/main" id="{25CA4AC8-9072-5F25-EA21-67EC0DEFC620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0" name="Rechteck 569">
              <a:extLst>
                <a:ext uri="{FF2B5EF4-FFF2-40B4-BE49-F238E27FC236}">
                  <a16:creationId xmlns:a16="http://schemas.microsoft.com/office/drawing/2014/main" id="{2B6701C5-D8DF-6615-917A-C69F592E69AD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1" name="Rechteck 570">
              <a:extLst>
                <a:ext uri="{FF2B5EF4-FFF2-40B4-BE49-F238E27FC236}">
                  <a16:creationId xmlns:a16="http://schemas.microsoft.com/office/drawing/2014/main" id="{0B63B0EA-2080-48F4-5ED3-401B98AE73FB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2" name="Rechteck 571">
              <a:extLst>
                <a:ext uri="{FF2B5EF4-FFF2-40B4-BE49-F238E27FC236}">
                  <a16:creationId xmlns:a16="http://schemas.microsoft.com/office/drawing/2014/main" id="{9ADBCCAC-804C-CFBD-634F-40EFE2859277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3" name="Rechteck 572">
              <a:extLst>
                <a:ext uri="{FF2B5EF4-FFF2-40B4-BE49-F238E27FC236}">
                  <a16:creationId xmlns:a16="http://schemas.microsoft.com/office/drawing/2014/main" id="{AC8C76E0-A934-9164-83FF-5EE93FB9A3D4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4" name="Rechteck 573">
              <a:extLst>
                <a:ext uri="{FF2B5EF4-FFF2-40B4-BE49-F238E27FC236}">
                  <a16:creationId xmlns:a16="http://schemas.microsoft.com/office/drawing/2014/main" id="{1FC77160-DD19-4BBB-A930-6DEBF027709E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5" name="Rechteck 574">
              <a:extLst>
                <a:ext uri="{FF2B5EF4-FFF2-40B4-BE49-F238E27FC236}">
                  <a16:creationId xmlns:a16="http://schemas.microsoft.com/office/drawing/2014/main" id="{42664047-1D09-CBC9-2836-B1C9FC7DAC36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C325285A-4A43-0588-A780-73D1EA156003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6" name="Rechteck 575">
              <a:extLst>
                <a:ext uri="{FF2B5EF4-FFF2-40B4-BE49-F238E27FC236}">
                  <a16:creationId xmlns:a16="http://schemas.microsoft.com/office/drawing/2014/main" id="{591530D5-BD59-1DD4-A9FC-45B47E6E224D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7" name="Rechteck 576">
              <a:extLst>
                <a:ext uri="{FF2B5EF4-FFF2-40B4-BE49-F238E27FC236}">
                  <a16:creationId xmlns:a16="http://schemas.microsoft.com/office/drawing/2014/main" id="{3C96929E-07D6-1552-7C54-2433D1D0EA70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8" name="Rechteck 577">
              <a:extLst>
                <a:ext uri="{FF2B5EF4-FFF2-40B4-BE49-F238E27FC236}">
                  <a16:creationId xmlns:a16="http://schemas.microsoft.com/office/drawing/2014/main" id="{DFE78269-DC17-9E55-920A-FE63C619FAB8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9" name="Rechteck 578">
              <a:extLst>
                <a:ext uri="{FF2B5EF4-FFF2-40B4-BE49-F238E27FC236}">
                  <a16:creationId xmlns:a16="http://schemas.microsoft.com/office/drawing/2014/main" id="{5F4BA442-4D72-B94E-C215-6D72679ED324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0" name="Rechteck 579">
              <a:extLst>
                <a:ext uri="{FF2B5EF4-FFF2-40B4-BE49-F238E27FC236}">
                  <a16:creationId xmlns:a16="http://schemas.microsoft.com/office/drawing/2014/main" id="{FDBE1A38-DBD1-5FB2-583C-C0A5F493C274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1" name="Rechteck 580">
              <a:extLst>
                <a:ext uri="{FF2B5EF4-FFF2-40B4-BE49-F238E27FC236}">
                  <a16:creationId xmlns:a16="http://schemas.microsoft.com/office/drawing/2014/main" id="{73141433-1C44-A56E-2B5E-A641CC05E156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2" name="Rechteck 581">
              <a:extLst>
                <a:ext uri="{FF2B5EF4-FFF2-40B4-BE49-F238E27FC236}">
                  <a16:creationId xmlns:a16="http://schemas.microsoft.com/office/drawing/2014/main" id="{8E232573-56BF-F086-9EC4-E53583B4CE7A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3" name="Rechteck 582">
              <a:extLst>
                <a:ext uri="{FF2B5EF4-FFF2-40B4-BE49-F238E27FC236}">
                  <a16:creationId xmlns:a16="http://schemas.microsoft.com/office/drawing/2014/main" id="{C068962A-F23B-0270-A85A-ECF326C8CD4D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4" name="Rechteck 583">
              <a:extLst>
                <a:ext uri="{FF2B5EF4-FFF2-40B4-BE49-F238E27FC236}">
                  <a16:creationId xmlns:a16="http://schemas.microsoft.com/office/drawing/2014/main" id="{B7F5B1AA-8408-2193-6EC8-B049975FE797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5" name="Rechteck 584">
              <a:extLst>
                <a:ext uri="{FF2B5EF4-FFF2-40B4-BE49-F238E27FC236}">
                  <a16:creationId xmlns:a16="http://schemas.microsoft.com/office/drawing/2014/main" id="{989A6A74-E17F-CCCA-8331-9F1BA808E611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6" name="Rechteck 585">
              <a:extLst>
                <a:ext uri="{FF2B5EF4-FFF2-40B4-BE49-F238E27FC236}">
                  <a16:creationId xmlns:a16="http://schemas.microsoft.com/office/drawing/2014/main" id="{F7CEC2D1-236C-276B-973B-7F166811D79F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7" name="Rechteck 586">
              <a:extLst>
                <a:ext uri="{FF2B5EF4-FFF2-40B4-BE49-F238E27FC236}">
                  <a16:creationId xmlns:a16="http://schemas.microsoft.com/office/drawing/2014/main" id="{7C3870A6-D12A-9E19-EEB1-8FF04FA4C958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8" name="Rechteck 587">
              <a:extLst>
                <a:ext uri="{FF2B5EF4-FFF2-40B4-BE49-F238E27FC236}">
                  <a16:creationId xmlns:a16="http://schemas.microsoft.com/office/drawing/2014/main" id="{FD78DAEB-6D26-EA95-CAD4-995DBD2801CC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9" name="Rechteck 588">
              <a:extLst>
                <a:ext uri="{FF2B5EF4-FFF2-40B4-BE49-F238E27FC236}">
                  <a16:creationId xmlns:a16="http://schemas.microsoft.com/office/drawing/2014/main" id="{AD1E8AB3-5C30-1D9D-CD13-8EBE226D8B1B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0" name="Rechteck 589">
              <a:extLst>
                <a:ext uri="{FF2B5EF4-FFF2-40B4-BE49-F238E27FC236}">
                  <a16:creationId xmlns:a16="http://schemas.microsoft.com/office/drawing/2014/main" id="{3B192971-9BFB-E1EE-25BC-5BE1479E2333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1" name="Rechteck 590">
              <a:extLst>
                <a:ext uri="{FF2B5EF4-FFF2-40B4-BE49-F238E27FC236}">
                  <a16:creationId xmlns:a16="http://schemas.microsoft.com/office/drawing/2014/main" id="{3C35AAFE-6965-F17E-50C7-A2076D2795B1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2" name="Rechteck 591">
              <a:extLst>
                <a:ext uri="{FF2B5EF4-FFF2-40B4-BE49-F238E27FC236}">
                  <a16:creationId xmlns:a16="http://schemas.microsoft.com/office/drawing/2014/main" id="{CD51E520-C1E3-7827-5A22-6E8CCF0A093D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3" name="Rechteck 592">
              <a:extLst>
                <a:ext uri="{FF2B5EF4-FFF2-40B4-BE49-F238E27FC236}">
                  <a16:creationId xmlns:a16="http://schemas.microsoft.com/office/drawing/2014/main" id="{1449EF8D-740F-872B-4437-AA541FDF0486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4" name="Rechteck 593">
              <a:extLst>
                <a:ext uri="{FF2B5EF4-FFF2-40B4-BE49-F238E27FC236}">
                  <a16:creationId xmlns:a16="http://schemas.microsoft.com/office/drawing/2014/main" id="{0AC708EB-9E0A-6B93-C769-DB51EC7A46AD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5" name="Rechteck 594">
              <a:extLst>
                <a:ext uri="{FF2B5EF4-FFF2-40B4-BE49-F238E27FC236}">
                  <a16:creationId xmlns:a16="http://schemas.microsoft.com/office/drawing/2014/main" id="{193A1362-ED45-683D-0C49-D6EBF594CA01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6" name="Rechteck 595">
              <a:extLst>
                <a:ext uri="{FF2B5EF4-FFF2-40B4-BE49-F238E27FC236}">
                  <a16:creationId xmlns:a16="http://schemas.microsoft.com/office/drawing/2014/main" id="{0A86A77E-1844-80C5-F036-83A22CCBC388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7" name="Rechteck 596">
              <a:extLst>
                <a:ext uri="{FF2B5EF4-FFF2-40B4-BE49-F238E27FC236}">
                  <a16:creationId xmlns:a16="http://schemas.microsoft.com/office/drawing/2014/main" id="{49BC1D84-AA32-0010-59BA-4C42D93FBA0F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8" name="Rechteck 597">
              <a:extLst>
                <a:ext uri="{FF2B5EF4-FFF2-40B4-BE49-F238E27FC236}">
                  <a16:creationId xmlns:a16="http://schemas.microsoft.com/office/drawing/2014/main" id="{49B43ADE-E38D-1A82-12BE-89F4390AC0C8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9" name="Rechteck 598">
              <a:extLst>
                <a:ext uri="{FF2B5EF4-FFF2-40B4-BE49-F238E27FC236}">
                  <a16:creationId xmlns:a16="http://schemas.microsoft.com/office/drawing/2014/main" id="{FDA4D91A-85B5-768D-83E9-69E25D31D089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0" name="Rechteck 599">
              <a:extLst>
                <a:ext uri="{FF2B5EF4-FFF2-40B4-BE49-F238E27FC236}">
                  <a16:creationId xmlns:a16="http://schemas.microsoft.com/office/drawing/2014/main" id="{C51C72A0-E7C6-F671-ADD4-20583627CACD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1" name="Rechteck 600">
              <a:extLst>
                <a:ext uri="{FF2B5EF4-FFF2-40B4-BE49-F238E27FC236}">
                  <a16:creationId xmlns:a16="http://schemas.microsoft.com/office/drawing/2014/main" id="{D594714D-CBD2-8445-864E-C471FED3754D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2" name="Rechteck 601">
              <a:extLst>
                <a:ext uri="{FF2B5EF4-FFF2-40B4-BE49-F238E27FC236}">
                  <a16:creationId xmlns:a16="http://schemas.microsoft.com/office/drawing/2014/main" id="{FE1E5866-0B8B-CCEF-E438-95F4D82041B9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3" name="Rechteck 602">
              <a:extLst>
                <a:ext uri="{FF2B5EF4-FFF2-40B4-BE49-F238E27FC236}">
                  <a16:creationId xmlns:a16="http://schemas.microsoft.com/office/drawing/2014/main" id="{B0EAA043-C18A-CDE1-452F-D0C972DB1A0C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4" name="Rechteck 603">
              <a:extLst>
                <a:ext uri="{FF2B5EF4-FFF2-40B4-BE49-F238E27FC236}">
                  <a16:creationId xmlns:a16="http://schemas.microsoft.com/office/drawing/2014/main" id="{9F2D0CAB-8113-87AB-064D-F0EC730E7FE2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5" name="Rechteck 604">
              <a:extLst>
                <a:ext uri="{FF2B5EF4-FFF2-40B4-BE49-F238E27FC236}">
                  <a16:creationId xmlns:a16="http://schemas.microsoft.com/office/drawing/2014/main" id="{A2A4C44E-4705-9AD4-CCFE-204DDBF02E31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6" name="Rechteck 605">
              <a:extLst>
                <a:ext uri="{FF2B5EF4-FFF2-40B4-BE49-F238E27FC236}">
                  <a16:creationId xmlns:a16="http://schemas.microsoft.com/office/drawing/2014/main" id="{120D8D76-E9F6-0A24-4672-1910B27AEB4E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7" name="Rechteck 606">
              <a:extLst>
                <a:ext uri="{FF2B5EF4-FFF2-40B4-BE49-F238E27FC236}">
                  <a16:creationId xmlns:a16="http://schemas.microsoft.com/office/drawing/2014/main" id="{9B634680-4D80-BB6F-77C0-5EA43C867861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8" name="Rechteck 607">
              <a:extLst>
                <a:ext uri="{FF2B5EF4-FFF2-40B4-BE49-F238E27FC236}">
                  <a16:creationId xmlns:a16="http://schemas.microsoft.com/office/drawing/2014/main" id="{6DBF59CD-1CA4-549C-237A-9BAECC14CC38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9" name="Rechteck 608">
              <a:extLst>
                <a:ext uri="{FF2B5EF4-FFF2-40B4-BE49-F238E27FC236}">
                  <a16:creationId xmlns:a16="http://schemas.microsoft.com/office/drawing/2014/main" id="{9F89218A-3CA1-DA30-B211-673CF4321E8E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0" name="Rechteck 609">
              <a:extLst>
                <a:ext uri="{FF2B5EF4-FFF2-40B4-BE49-F238E27FC236}">
                  <a16:creationId xmlns:a16="http://schemas.microsoft.com/office/drawing/2014/main" id="{8C0BA302-1D18-EB93-4CA2-A5B282B7E15F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1" name="Rechteck 610">
              <a:extLst>
                <a:ext uri="{FF2B5EF4-FFF2-40B4-BE49-F238E27FC236}">
                  <a16:creationId xmlns:a16="http://schemas.microsoft.com/office/drawing/2014/main" id="{AA6CEE05-CA28-745F-9132-3E15213BA549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2" name="Rechteck 611">
              <a:extLst>
                <a:ext uri="{FF2B5EF4-FFF2-40B4-BE49-F238E27FC236}">
                  <a16:creationId xmlns:a16="http://schemas.microsoft.com/office/drawing/2014/main" id="{98F987FD-BCCA-CD84-B3D4-D7D42878F94A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3" name="Rechteck 612">
              <a:extLst>
                <a:ext uri="{FF2B5EF4-FFF2-40B4-BE49-F238E27FC236}">
                  <a16:creationId xmlns:a16="http://schemas.microsoft.com/office/drawing/2014/main" id="{17C2A655-22F8-C602-AB73-3B437C9DE8DE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4" name="Rechteck 613">
              <a:extLst>
                <a:ext uri="{FF2B5EF4-FFF2-40B4-BE49-F238E27FC236}">
                  <a16:creationId xmlns:a16="http://schemas.microsoft.com/office/drawing/2014/main" id="{45CCB308-2185-116A-E8AC-D61A37F75854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5" name="Rechteck 614">
              <a:extLst>
                <a:ext uri="{FF2B5EF4-FFF2-40B4-BE49-F238E27FC236}">
                  <a16:creationId xmlns:a16="http://schemas.microsoft.com/office/drawing/2014/main" id="{3F40CA7A-EB9B-522C-8F1A-7898A5EABD1D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6" name="Rechteck 615">
              <a:extLst>
                <a:ext uri="{FF2B5EF4-FFF2-40B4-BE49-F238E27FC236}">
                  <a16:creationId xmlns:a16="http://schemas.microsoft.com/office/drawing/2014/main" id="{5DB2683B-8073-4205-532C-08E03CE984D1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7" name="Rechteck 616">
              <a:extLst>
                <a:ext uri="{FF2B5EF4-FFF2-40B4-BE49-F238E27FC236}">
                  <a16:creationId xmlns:a16="http://schemas.microsoft.com/office/drawing/2014/main" id="{918D4441-54C6-CA25-A174-C6177AA62B6F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8" name="Rechteck 617">
              <a:extLst>
                <a:ext uri="{FF2B5EF4-FFF2-40B4-BE49-F238E27FC236}">
                  <a16:creationId xmlns:a16="http://schemas.microsoft.com/office/drawing/2014/main" id="{DDFED611-9775-3080-8FFD-DC69B78F0459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9" name="Rechteck 618">
              <a:extLst>
                <a:ext uri="{FF2B5EF4-FFF2-40B4-BE49-F238E27FC236}">
                  <a16:creationId xmlns:a16="http://schemas.microsoft.com/office/drawing/2014/main" id="{0908D111-789C-63C0-257D-60B1F8A5C57B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0" name="Rechteck 619">
              <a:extLst>
                <a:ext uri="{FF2B5EF4-FFF2-40B4-BE49-F238E27FC236}">
                  <a16:creationId xmlns:a16="http://schemas.microsoft.com/office/drawing/2014/main" id="{7152C89C-0F92-3A7F-CE15-1474471975CF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1" name="Rechteck 620">
              <a:extLst>
                <a:ext uri="{FF2B5EF4-FFF2-40B4-BE49-F238E27FC236}">
                  <a16:creationId xmlns:a16="http://schemas.microsoft.com/office/drawing/2014/main" id="{DB43277B-738A-8197-7C90-606747FDBB8A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2" name="Rechteck 621">
              <a:extLst>
                <a:ext uri="{FF2B5EF4-FFF2-40B4-BE49-F238E27FC236}">
                  <a16:creationId xmlns:a16="http://schemas.microsoft.com/office/drawing/2014/main" id="{C76BB76A-BC3D-AAD3-3842-2D7CC623B467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3" name="Rechteck 622">
              <a:extLst>
                <a:ext uri="{FF2B5EF4-FFF2-40B4-BE49-F238E27FC236}">
                  <a16:creationId xmlns:a16="http://schemas.microsoft.com/office/drawing/2014/main" id="{49AE8ECD-15A2-7FB5-CE14-B552C25C8EF3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4" name="Rechteck 623">
              <a:extLst>
                <a:ext uri="{FF2B5EF4-FFF2-40B4-BE49-F238E27FC236}">
                  <a16:creationId xmlns:a16="http://schemas.microsoft.com/office/drawing/2014/main" id="{C1B67F4A-0021-D6CB-2E0E-BB23D1E97BB5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5" name="Rechteck 624">
              <a:extLst>
                <a:ext uri="{FF2B5EF4-FFF2-40B4-BE49-F238E27FC236}">
                  <a16:creationId xmlns:a16="http://schemas.microsoft.com/office/drawing/2014/main" id="{382997CB-3C19-6837-049B-AD98366D51B6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6" name="Rechteck 625">
              <a:extLst>
                <a:ext uri="{FF2B5EF4-FFF2-40B4-BE49-F238E27FC236}">
                  <a16:creationId xmlns:a16="http://schemas.microsoft.com/office/drawing/2014/main" id="{41CF154A-595D-EFBC-EAEF-8EE322A7E0B1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7" name="Rechteck 626">
              <a:extLst>
                <a:ext uri="{FF2B5EF4-FFF2-40B4-BE49-F238E27FC236}">
                  <a16:creationId xmlns:a16="http://schemas.microsoft.com/office/drawing/2014/main" id="{EFEE3DBA-0F94-F3A8-9A71-B7C5D4881738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8" name="Rechteck 627">
              <a:extLst>
                <a:ext uri="{FF2B5EF4-FFF2-40B4-BE49-F238E27FC236}">
                  <a16:creationId xmlns:a16="http://schemas.microsoft.com/office/drawing/2014/main" id="{C2B0DDFF-F2D0-504B-5E16-19E449416407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9" name="Rechteck 628">
              <a:extLst>
                <a:ext uri="{FF2B5EF4-FFF2-40B4-BE49-F238E27FC236}">
                  <a16:creationId xmlns:a16="http://schemas.microsoft.com/office/drawing/2014/main" id="{5F87EDA2-F363-D564-CDFE-AF5697BF9C33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0" name="Rechteck 629">
              <a:extLst>
                <a:ext uri="{FF2B5EF4-FFF2-40B4-BE49-F238E27FC236}">
                  <a16:creationId xmlns:a16="http://schemas.microsoft.com/office/drawing/2014/main" id="{6107EFEA-8F80-EE2E-0BAC-5F69612808C2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1" name="Rechteck 630">
              <a:extLst>
                <a:ext uri="{FF2B5EF4-FFF2-40B4-BE49-F238E27FC236}">
                  <a16:creationId xmlns:a16="http://schemas.microsoft.com/office/drawing/2014/main" id="{2B045BDB-4CDA-AD76-D784-609A0C703119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2" name="Rechteck 631">
              <a:extLst>
                <a:ext uri="{FF2B5EF4-FFF2-40B4-BE49-F238E27FC236}">
                  <a16:creationId xmlns:a16="http://schemas.microsoft.com/office/drawing/2014/main" id="{A47B215E-2258-EBC6-5263-80911C99E84F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3" name="Rechteck 632">
              <a:extLst>
                <a:ext uri="{FF2B5EF4-FFF2-40B4-BE49-F238E27FC236}">
                  <a16:creationId xmlns:a16="http://schemas.microsoft.com/office/drawing/2014/main" id="{1AC59DDE-3385-55A6-A1DF-570D199762C1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4" name="Rechteck 633">
              <a:extLst>
                <a:ext uri="{FF2B5EF4-FFF2-40B4-BE49-F238E27FC236}">
                  <a16:creationId xmlns:a16="http://schemas.microsoft.com/office/drawing/2014/main" id="{3B43BCF3-764A-1D68-46F9-DA79642E1B8C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5" name="Rechteck 634">
              <a:extLst>
                <a:ext uri="{FF2B5EF4-FFF2-40B4-BE49-F238E27FC236}">
                  <a16:creationId xmlns:a16="http://schemas.microsoft.com/office/drawing/2014/main" id="{CC9F062D-A141-8117-F030-D66516AEE54A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6" name="Rechteck 635">
              <a:extLst>
                <a:ext uri="{FF2B5EF4-FFF2-40B4-BE49-F238E27FC236}">
                  <a16:creationId xmlns:a16="http://schemas.microsoft.com/office/drawing/2014/main" id="{75ED8E12-611E-C820-8F4D-0CFFB131EC47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7" name="Rechteck 636">
              <a:extLst>
                <a:ext uri="{FF2B5EF4-FFF2-40B4-BE49-F238E27FC236}">
                  <a16:creationId xmlns:a16="http://schemas.microsoft.com/office/drawing/2014/main" id="{A42E6CB2-66A9-FFAB-33B0-878983D5E4D0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8" name="Rechteck 637">
              <a:extLst>
                <a:ext uri="{FF2B5EF4-FFF2-40B4-BE49-F238E27FC236}">
                  <a16:creationId xmlns:a16="http://schemas.microsoft.com/office/drawing/2014/main" id="{40C0733E-3126-A738-9CF3-C522DB20B3AC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9" name="Rechteck 638">
              <a:extLst>
                <a:ext uri="{FF2B5EF4-FFF2-40B4-BE49-F238E27FC236}">
                  <a16:creationId xmlns:a16="http://schemas.microsoft.com/office/drawing/2014/main" id="{F9A44022-FCB2-DE9D-A07A-218094F318FC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0" name="Rechteck 639">
              <a:extLst>
                <a:ext uri="{FF2B5EF4-FFF2-40B4-BE49-F238E27FC236}">
                  <a16:creationId xmlns:a16="http://schemas.microsoft.com/office/drawing/2014/main" id="{03A9FA17-C2C4-FB38-D205-E5FFBFB3B6F1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1" name="Rechteck 640">
              <a:extLst>
                <a:ext uri="{FF2B5EF4-FFF2-40B4-BE49-F238E27FC236}">
                  <a16:creationId xmlns:a16="http://schemas.microsoft.com/office/drawing/2014/main" id="{373E8F35-CCC5-6793-C4E6-C0C6EAFC3779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2" name="Rechteck 641">
              <a:extLst>
                <a:ext uri="{FF2B5EF4-FFF2-40B4-BE49-F238E27FC236}">
                  <a16:creationId xmlns:a16="http://schemas.microsoft.com/office/drawing/2014/main" id="{627F2910-98DB-8B72-F592-35DF43361250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3" name="Rechteck 642">
              <a:extLst>
                <a:ext uri="{FF2B5EF4-FFF2-40B4-BE49-F238E27FC236}">
                  <a16:creationId xmlns:a16="http://schemas.microsoft.com/office/drawing/2014/main" id="{98FE0211-7EB1-551F-6D30-988ABEC44231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4" name="Rechteck 643">
              <a:extLst>
                <a:ext uri="{FF2B5EF4-FFF2-40B4-BE49-F238E27FC236}">
                  <a16:creationId xmlns:a16="http://schemas.microsoft.com/office/drawing/2014/main" id="{92141ABC-3730-70A2-10DB-DD581BCBD282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5" name="Rechteck 644">
              <a:extLst>
                <a:ext uri="{FF2B5EF4-FFF2-40B4-BE49-F238E27FC236}">
                  <a16:creationId xmlns:a16="http://schemas.microsoft.com/office/drawing/2014/main" id="{625219CA-7F8C-8653-9219-C2FFC5F4C744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6" name="Rechteck 645">
              <a:extLst>
                <a:ext uri="{FF2B5EF4-FFF2-40B4-BE49-F238E27FC236}">
                  <a16:creationId xmlns:a16="http://schemas.microsoft.com/office/drawing/2014/main" id="{DEC6B093-1576-5605-B55C-D53369356489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7" name="Rechteck 646">
              <a:extLst>
                <a:ext uri="{FF2B5EF4-FFF2-40B4-BE49-F238E27FC236}">
                  <a16:creationId xmlns:a16="http://schemas.microsoft.com/office/drawing/2014/main" id="{660E1DE0-2D0F-C795-0DB3-DEBF0F3CC1A4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8" name="Rechteck 647">
              <a:extLst>
                <a:ext uri="{FF2B5EF4-FFF2-40B4-BE49-F238E27FC236}">
                  <a16:creationId xmlns:a16="http://schemas.microsoft.com/office/drawing/2014/main" id="{88820D10-6B30-6BB5-D990-E6A7A22E7424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9" name="Rechteck 648">
              <a:extLst>
                <a:ext uri="{FF2B5EF4-FFF2-40B4-BE49-F238E27FC236}">
                  <a16:creationId xmlns:a16="http://schemas.microsoft.com/office/drawing/2014/main" id="{F17B3349-A52C-AC95-7B6E-7EB5E0CB359D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0" name="Rechteck 649">
              <a:extLst>
                <a:ext uri="{FF2B5EF4-FFF2-40B4-BE49-F238E27FC236}">
                  <a16:creationId xmlns:a16="http://schemas.microsoft.com/office/drawing/2014/main" id="{2C6D6567-E0B9-D5F7-72F3-21A5B9366026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1" name="Rechteck 650">
              <a:extLst>
                <a:ext uri="{FF2B5EF4-FFF2-40B4-BE49-F238E27FC236}">
                  <a16:creationId xmlns:a16="http://schemas.microsoft.com/office/drawing/2014/main" id="{080201E2-F34B-F98B-D900-469F6F3A352B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2" name="Rechteck 651">
              <a:extLst>
                <a:ext uri="{FF2B5EF4-FFF2-40B4-BE49-F238E27FC236}">
                  <a16:creationId xmlns:a16="http://schemas.microsoft.com/office/drawing/2014/main" id="{D73ADE2E-17E0-A07E-57BB-7E9AAB627F98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3" name="Rechteck 652">
              <a:extLst>
                <a:ext uri="{FF2B5EF4-FFF2-40B4-BE49-F238E27FC236}">
                  <a16:creationId xmlns:a16="http://schemas.microsoft.com/office/drawing/2014/main" id="{1960204A-F784-6D62-379D-CD15BDAC0181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4" name="Rechteck 653">
              <a:extLst>
                <a:ext uri="{FF2B5EF4-FFF2-40B4-BE49-F238E27FC236}">
                  <a16:creationId xmlns:a16="http://schemas.microsoft.com/office/drawing/2014/main" id="{0C1BAB65-4D95-E254-9492-819D7C55E5D9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5" name="Rechteck 654">
              <a:extLst>
                <a:ext uri="{FF2B5EF4-FFF2-40B4-BE49-F238E27FC236}">
                  <a16:creationId xmlns:a16="http://schemas.microsoft.com/office/drawing/2014/main" id="{66DFD9FC-2725-90F3-33B7-0CB345125819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6" name="Rechteck 655">
              <a:extLst>
                <a:ext uri="{FF2B5EF4-FFF2-40B4-BE49-F238E27FC236}">
                  <a16:creationId xmlns:a16="http://schemas.microsoft.com/office/drawing/2014/main" id="{5558F183-AFB2-09BE-4686-D33C0F8B1EDF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7" name="Rechteck 656">
              <a:extLst>
                <a:ext uri="{FF2B5EF4-FFF2-40B4-BE49-F238E27FC236}">
                  <a16:creationId xmlns:a16="http://schemas.microsoft.com/office/drawing/2014/main" id="{6F60649D-90DE-3AA8-9352-37D3B6F2593D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8" name="Rechteck 657">
              <a:extLst>
                <a:ext uri="{FF2B5EF4-FFF2-40B4-BE49-F238E27FC236}">
                  <a16:creationId xmlns:a16="http://schemas.microsoft.com/office/drawing/2014/main" id="{676C9407-054F-0EC6-F64F-4BEE332DBEB0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9" name="Rechteck 658">
              <a:extLst>
                <a:ext uri="{FF2B5EF4-FFF2-40B4-BE49-F238E27FC236}">
                  <a16:creationId xmlns:a16="http://schemas.microsoft.com/office/drawing/2014/main" id="{0FFFC657-EE5F-FA41-089A-974D7C948A25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0" name="Rechteck 659">
              <a:extLst>
                <a:ext uri="{FF2B5EF4-FFF2-40B4-BE49-F238E27FC236}">
                  <a16:creationId xmlns:a16="http://schemas.microsoft.com/office/drawing/2014/main" id="{5366A9DE-2A9E-ECD4-A65E-A85D0C5C0411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1" name="Rechteck 660">
              <a:extLst>
                <a:ext uri="{FF2B5EF4-FFF2-40B4-BE49-F238E27FC236}">
                  <a16:creationId xmlns:a16="http://schemas.microsoft.com/office/drawing/2014/main" id="{369158DE-2A6F-C8F3-6F4F-4CBEAF28F3A9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2" name="Rechteck 661">
              <a:extLst>
                <a:ext uri="{FF2B5EF4-FFF2-40B4-BE49-F238E27FC236}">
                  <a16:creationId xmlns:a16="http://schemas.microsoft.com/office/drawing/2014/main" id="{206FB08D-D2E6-7D70-76E5-3A13805E1880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3" name="Rechteck 662">
              <a:extLst>
                <a:ext uri="{FF2B5EF4-FFF2-40B4-BE49-F238E27FC236}">
                  <a16:creationId xmlns:a16="http://schemas.microsoft.com/office/drawing/2014/main" id="{E677BD2B-3A20-B582-D865-C36E1A6A4C98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4" name="Rechteck 663">
              <a:extLst>
                <a:ext uri="{FF2B5EF4-FFF2-40B4-BE49-F238E27FC236}">
                  <a16:creationId xmlns:a16="http://schemas.microsoft.com/office/drawing/2014/main" id="{F0F116B9-CE3E-150B-A0C4-35996FBB9C16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5" name="Rechteck 664">
              <a:extLst>
                <a:ext uri="{FF2B5EF4-FFF2-40B4-BE49-F238E27FC236}">
                  <a16:creationId xmlns:a16="http://schemas.microsoft.com/office/drawing/2014/main" id="{D9B4DC3C-842B-27D4-2F30-313450A3CE0B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6" name="Rechteck 665">
              <a:extLst>
                <a:ext uri="{FF2B5EF4-FFF2-40B4-BE49-F238E27FC236}">
                  <a16:creationId xmlns:a16="http://schemas.microsoft.com/office/drawing/2014/main" id="{188833DD-CBB7-A323-6D0E-CD8F4B855BDF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7" name="Rechteck 666">
              <a:extLst>
                <a:ext uri="{FF2B5EF4-FFF2-40B4-BE49-F238E27FC236}">
                  <a16:creationId xmlns:a16="http://schemas.microsoft.com/office/drawing/2014/main" id="{BA052014-FED5-8740-8BC1-5B27317E8252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8" name="Rechteck 667">
              <a:extLst>
                <a:ext uri="{FF2B5EF4-FFF2-40B4-BE49-F238E27FC236}">
                  <a16:creationId xmlns:a16="http://schemas.microsoft.com/office/drawing/2014/main" id="{8BA71664-8C7E-1D76-2684-EA10F2E48A00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9" name="Rechteck 668">
              <a:extLst>
                <a:ext uri="{FF2B5EF4-FFF2-40B4-BE49-F238E27FC236}">
                  <a16:creationId xmlns:a16="http://schemas.microsoft.com/office/drawing/2014/main" id="{FCC61526-67DF-6D8F-2F09-374598D4AB9C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0" name="Rechteck 669">
              <a:extLst>
                <a:ext uri="{FF2B5EF4-FFF2-40B4-BE49-F238E27FC236}">
                  <a16:creationId xmlns:a16="http://schemas.microsoft.com/office/drawing/2014/main" id="{B82291F4-68B8-55E5-4E65-58C8D3A8EEA9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1" name="Rechteck 670">
              <a:extLst>
                <a:ext uri="{FF2B5EF4-FFF2-40B4-BE49-F238E27FC236}">
                  <a16:creationId xmlns:a16="http://schemas.microsoft.com/office/drawing/2014/main" id="{89FE9EEB-1A36-6558-C214-DD4C7C0F3D75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2" name="Rechteck 671">
              <a:extLst>
                <a:ext uri="{FF2B5EF4-FFF2-40B4-BE49-F238E27FC236}">
                  <a16:creationId xmlns:a16="http://schemas.microsoft.com/office/drawing/2014/main" id="{D5CFA71E-7C2A-DA7A-82B1-FF2F2DB14D32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3" name="Rechteck 672">
              <a:extLst>
                <a:ext uri="{FF2B5EF4-FFF2-40B4-BE49-F238E27FC236}">
                  <a16:creationId xmlns:a16="http://schemas.microsoft.com/office/drawing/2014/main" id="{5B9916E5-BAAE-DCAA-9FAF-72C1D3A6B333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4" name="Rechteck 673">
              <a:extLst>
                <a:ext uri="{FF2B5EF4-FFF2-40B4-BE49-F238E27FC236}">
                  <a16:creationId xmlns:a16="http://schemas.microsoft.com/office/drawing/2014/main" id="{6CE79813-DF7A-2E82-037D-D9FA433F0D9D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5" name="Rechteck 674">
              <a:extLst>
                <a:ext uri="{FF2B5EF4-FFF2-40B4-BE49-F238E27FC236}">
                  <a16:creationId xmlns:a16="http://schemas.microsoft.com/office/drawing/2014/main" id="{F2DDE1A0-26AE-D1C6-0E5D-68BE1733A845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6" name="Rechteck 675">
              <a:extLst>
                <a:ext uri="{FF2B5EF4-FFF2-40B4-BE49-F238E27FC236}">
                  <a16:creationId xmlns:a16="http://schemas.microsoft.com/office/drawing/2014/main" id="{7EC8423A-25D0-F86D-4A71-A978EC693569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7" name="Rechteck 676">
              <a:extLst>
                <a:ext uri="{FF2B5EF4-FFF2-40B4-BE49-F238E27FC236}">
                  <a16:creationId xmlns:a16="http://schemas.microsoft.com/office/drawing/2014/main" id="{2C07BC3F-B491-2320-924F-27EB4D8819AF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8" name="Rechteck 677">
              <a:extLst>
                <a:ext uri="{FF2B5EF4-FFF2-40B4-BE49-F238E27FC236}">
                  <a16:creationId xmlns:a16="http://schemas.microsoft.com/office/drawing/2014/main" id="{1128F0B5-DCCC-EBCC-920C-740F61623F11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9" name="Rechteck 678">
              <a:extLst>
                <a:ext uri="{FF2B5EF4-FFF2-40B4-BE49-F238E27FC236}">
                  <a16:creationId xmlns:a16="http://schemas.microsoft.com/office/drawing/2014/main" id="{7A91376A-5FF9-3B9D-472F-7741642A28D2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0" name="Rechteck 679">
              <a:extLst>
                <a:ext uri="{FF2B5EF4-FFF2-40B4-BE49-F238E27FC236}">
                  <a16:creationId xmlns:a16="http://schemas.microsoft.com/office/drawing/2014/main" id="{ED8FD1F3-3051-AF22-7847-1E974FF944F0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1" name="Rechteck 680">
              <a:extLst>
                <a:ext uri="{FF2B5EF4-FFF2-40B4-BE49-F238E27FC236}">
                  <a16:creationId xmlns:a16="http://schemas.microsoft.com/office/drawing/2014/main" id="{60B1F531-9D2E-8232-4A48-A2DDF6B7F54D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2" name="Rechteck 681">
              <a:extLst>
                <a:ext uri="{FF2B5EF4-FFF2-40B4-BE49-F238E27FC236}">
                  <a16:creationId xmlns:a16="http://schemas.microsoft.com/office/drawing/2014/main" id="{4A54998E-71A6-FDAD-7FD8-7CA62E22BB88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3" name="Rechteck 682">
              <a:extLst>
                <a:ext uri="{FF2B5EF4-FFF2-40B4-BE49-F238E27FC236}">
                  <a16:creationId xmlns:a16="http://schemas.microsoft.com/office/drawing/2014/main" id="{A1ADB280-7BAB-1AD0-F7E8-E78C2B5D5544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4" name="Rechteck 683">
              <a:extLst>
                <a:ext uri="{FF2B5EF4-FFF2-40B4-BE49-F238E27FC236}">
                  <a16:creationId xmlns:a16="http://schemas.microsoft.com/office/drawing/2014/main" id="{9A793240-065F-CA20-CA67-49F26789537E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5" name="Rechteck 684">
              <a:extLst>
                <a:ext uri="{FF2B5EF4-FFF2-40B4-BE49-F238E27FC236}">
                  <a16:creationId xmlns:a16="http://schemas.microsoft.com/office/drawing/2014/main" id="{0E9BCC58-BADD-58D9-1E81-F793B072F2F0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6" name="Rechteck 685">
              <a:extLst>
                <a:ext uri="{FF2B5EF4-FFF2-40B4-BE49-F238E27FC236}">
                  <a16:creationId xmlns:a16="http://schemas.microsoft.com/office/drawing/2014/main" id="{9CDCF501-8DDE-1E6F-E2EF-630A16528230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7" name="Rechteck 686">
              <a:extLst>
                <a:ext uri="{FF2B5EF4-FFF2-40B4-BE49-F238E27FC236}">
                  <a16:creationId xmlns:a16="http://schemas.microsoft.com/office/drawing/2014/main" id="{D8C3B820-52E9-4999-EDA5-12B70F1DBFE7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8" name="Rechteck 687">
              <a:extLst>
                <a:ext uri="{FF2B5EF4-FFF2-40B4-BE49-F238E27FC236}">
                  <a16:creationId xmlns:a16="http://schemas.microsoft.com/office/drawing/2014/main" id="{33BB7E94-7D2A-1E28-905A-8838D6DD31B3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9" name="Rechteck 688">
              <a:extLst>
                <a:ext uri="{FF2B5EF4-FFF2-40B4-BE49-F238E27FC236}">
                  <a16:creationId xmlns:a16="http://schemas.microsoft.com/office/drawing/2014/main" id="{B05CFB87-C15D-07DE-0C63-6A2B489B047C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0" name="Rechteck 689">
              <a:extLst>
                <a:ext uri="{FF2B5EF4-FFF2-40B4-BE49-F238E27FC236}">
                  <a16:creationId xmlns:a16="http://schemas.microsoft.com/office/drawing/2014/main" id="{E4F8E2DC-739E-9CA4-1DBF-B27D14A4897C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1" name="Rechteck 690">
              <a:extLst>
                <a:ext uri="{FF2B5EF4-FFF2-40B4-BE49-F238E27FC236}">
                  <a16:creationId xmlns:a16="http://schemas.microsoft.com/office/drawing/2014/main" id="{AB9C804F-01E0-1D8C-5300-8FCA35887A09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2" name="Rechteck 691">
              <a:extLst>
                <a:ext uri="{FF2B5EF4-FFF2-40B4-BE49-F238E27FC236}">
                  <a16:creationId xmlns:a16="http://schemas.microsoft.com/office/drawing/2014/main" id="{33599C89-21CC-C896-894D-B078E90AD55D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3" name="Rechteck 692">
              <a:extLst>
                <a:ext uri="{FF2B5EF4-FFF2-40B4-BE49-F238E27FC236}">
                  <a16:creationId xmlns:a16="http://schemas.microsoft.com/office/drawing/2014/main" id="{29CAFF9A-0BD6-10FB-8F23-8C315C038D50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4" name="Rechteck 693">
              <a:extLst>
                <a:ext uri="{FF2B5EF4-FFF2-40B4-BE49-F238E27FC236}">
                  <a16:creationId xmlns:a16="http://schemas.microsoft.com/office/drawing/2014/main" id="{314D1EBF-0F1A-29A0-A4F6-D70E1113C36A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5" name="Rechteck 694">
              <a:extLst>
                <a:ext uri="{FF2B5EF4-FFF2-40B4-BE49-F238E27FC236}">
                  <a16:creationId xmlns:a16="http://schemas.microsoft.com/office/drawing/2014/main" id="{D3A7D264-7674-062D-3A7D-EB17444B6877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6" name="Rechteck 695">
              <a:extLst>
                <a:ext uri="{FF2B5EF4-FFF2-40B4-BE49-F238E27FC236}">
                  <a16:creationId xmlns:a16="http://schemas.microsoft.com/office/drawing/2014/main" id="{FB94C376-4DD2-20EE-8A39-37CCF0B12915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7" name="Rechteck 696">
              <a:extLst>
                <a:ext uri="{FF2B5EF4-FFF2-40B4-BE49-F238E27FC236}">
                  <a16:creationId xmlns:a16="http://schemas.microsoft.com/office/drawing/2014/main" id="{BDFA7319-8BDA-1022-419D-8524A3FDD1DB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8" name="Rechteck 697">
              <a:extLst>
                <a:ext uri="{FF2B5EF4-FFF2-40B4-BE49-F238E27FC236}">
                  <a16:creationId xmlns:a16="http://schemas.microsoft.com/office/drawing/2014/main" id="{CD99C04E-16BE-6E42-506F-14D97649FA89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9" name="Rechteck 698">
              <a:extLst>
                <a:ext uri="{FF2B5EF4-FFF2-40B4-BE49-F238E27FC236}">
                  <a16:creationId xmlns:a16="http://schemas.microsoft.com/office/drawing/2014/main" id="{9504EB73-CD68-6E66-5B79-9563ACD007E6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grpSp>
        <p:nvGrpSpPr>
          <p:cNvPr id="701" name="Gruppieren 700">
            <a:extLst>
              <a:ext uri="{FF2B5EF4-FFF2-40B4-BE49-F238E27FC236}">
                <a16:creationId xmlns:a16="http://schemas.microsoft.com/office/drawing/2014/main" id="{2A9A8989-D8B0-ECA4-3F36-856CA1E51C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1" y="2082829"/>
            <a:ext cx="2448000" cy="0"/>
            <a:chOff x="983432" y="2082829"/>
            <a:chExt cx="2448000" cy="0"/>
          </a:xfrm>
        </p:grpSpPr>
        <p:cxnSp>
          <p:nvCxnSpPr>
            <p:cNvPr id="702" name="Line">
              <a:extLst>
                <a:ext uri="{FF2B5EF4-FFF2-40B4-BE49-F238E27FC236}">
                  <a16:creationId xmlns:a16="http://schemas.microsoft.com/office/drawing/2014/main" id="{392A85EC-665D-4BE3-342D-7FDA894F769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3" name="Line">
              <a:extLst>
                <a:ext uri="{FF2B5EF4-FFF2-40B4-BE49-F238E27FC236}">
                  <a16:creationId xmlns:a16="http://schemas.microsoft.com/office/drawing/2014/main" id="{2FD36843-39C0-53CB-D4FC-1CCFDD70264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04" name="Shape">
            <a:extLst>
              <a:ext uri="{FF2B5EF4-FFF2-40B4-BE49-F238E27FC236}">
                <a16:creationId xmlns:a16="http://schemas.microsoft.com/office/drawing/2014/main" id="{B6335478-96CF-8613-3CC7-51033863F9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0848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05" name="Shape">
            <a:extLst>
              <a:ext uri="{FF2B5EF4-FFF2-40B4-BE49-F238E27FC236}">
                <a16:creationId xmlns:a16="http://schemas.microsoft.com/office/drawing/2014/main" id="{400B66AA-4D19-8619-6DC9-CB17279852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9" y="2061400"/>
            <a:ext cx="5760640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656384" y="2205159"/>
            <a:ext cx="4896000" cy="1368000"/>
          </a:xfrm>
          <a:prstGeom prst="rect">
            <a:avLst/>
          </a:prstGeom>
        </p:spPr>
        <p:txBody>
          <a:bodyPr tIns="54000" anchor="t">
            <a:noAutofit/>
          </a:bodyPr>
          <a:lstStyle>
            <a:lvl1pPr algn="l">
              <a:lnSpc>
                <a:spcPct val="90000"/>
              </a:lnSpc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Insert your long title of presentation here in maximal three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56384" y="3789160"/>
            <a:ext cx="432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31" name="Author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400" y="2348992"/>
            <a:ext cx="2520280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GB"/>
              <a:t>First name Last name</a:t>
            </a:r>
          </a:p>
        </p:txBody>
      </p:sp>
      <p:sp>
        <p:nvSpPr>
          <p:cNvPr id="34" name="Department, Date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2564992"/>
            <a:ext cx="2520280" cy="792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GB"/>
              <a:t>Department</a:t>
            </a:r>
            <a:br>
              <a:rPr lang="en-GB"/>
            </a:br>
            <a:r>
              <a:rPr lang="en-GB"/>
              <a:t>DD/MM/YYYY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4F1764D-9407-3CCC-2BE7-DE1A34AC86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28448" y="335757"/>
            <a:ext cx="1365736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1645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">
            <a:extLst>
              <a:ext uri="{FF2B5EF4-FFF2-40B4-BE49-F238E27FC236}">
                <a16:creationId xmlns:a16="http://schemas.microsoft.com/office/drawing/2014/main" id="{4A4DB585-6D1E-7B61-ADF1-62BBDEF4151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0" y="0"/>
            <a:ext cx="10704512" cy="6858000"/>
          </a:xfrm>
          <a:custGeom>
            <a:avLst/>
            <a:gdLst>
              <a:gd name="connsiteX0" fmla="*/ 0 w 10632504"/>
              <a:gd name="connsiteY0" fmla="*/ 0 h 6858000"/>
              <a:gd name="connsiteX1" fmla="*/ 10632504 w 10632504"/>
              <a:gd name="connsiteY1" fmla="*/ 0 h 6858000"/>
              <a:gd name="connsiteX2" fmla="*/ 10632504 w 10632504"/>
              <a:gd name="connsiteY2" fmla="*/ 6858000 h 6858000"/>
              <a:gd name="connsiteX3" fmla="*/ 0 w 1063250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632504" h="6858000">
                <a:moveTo>
                  <a:pt x="0" y="0"/>
                </a:moveTo>
                <a:lnTo>
                  <a:pt x="10632504" y="0"/>
                </a:lnTo>
                <a:lnTo>
                  <a:pt x="1063250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6D9DC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8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sp>
        <p:nvSpPr>
          <p:cNvPr id="22" name="Content">
            <a:extLst>
              <a:ext uri="{FF2B5EF4-FFF2-40B4-BE49-F238E27FC236}">
                <a16:creationId xmlns:a16="http://schemas.microsoft.com/office/drawing/2014/main" id="{93536E9D-E5E2-4B0C-91F6-B80985E0540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11424" y="1484784"/>
            <a:ext cx="3455789" cy="2544488"/>
          </a:xfrm>
          <a:solidFill>
            <a:schemeClr val="bg1"/>
          </a:solidFill>
        </p:spPr>
        <p:txBody>
          <a:bodyPr wrap="square" lIns="216000" tIns="216000" rIns="216000" bIns="216000">
            <a:spAutoFit/>
          </a:bodyPr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5" name="Shape">
            <a:extLst>
              <a:ext uri="{FF2B5EF4-FFF2-40B4-BE49-F238E27FC236}">
                <a16:creationId xmlns:a16="http://schemas.microsoft.com/office/drawing/2014/main" id="{3F86E13A-084F-ED45-B21A-6735204194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10848528" y="0"/>
            <a:ext cx="216024" cy="13414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160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78EB467-3819-CE01-9D54-B8D7B7DF1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5DAFD9-7CFE-4B7A-A0E0-44F4916CA432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4C1F6D1-6F23-F489-09BB-6E7DCE86A7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BB33AB8-ED32-DEC4-5F38-F02D6AB1AE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45060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EED2787-31A6-2016-09F5-2F75ED5265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9662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ED2787-31A6-2016-09F5-2F75ED526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tatic Light Bkgd">
            <a:extLst>
              <a:ext uri="{FF2B5EF4-FFF2-40B4-BE49-F238E27FC236}">
                <a16:creationId xmlns:a16="http://schemas.microsoft.com/office/drawing/2014/main" id="{D1093FDC-ACBE-C97A-79EC-30B506F3513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cxnSp>
        <p:nvCxnSpPr>
          <p:cNvPr id="10" name="Base Rule">
            <a:extLst>
              <a:ext uri="{FF2B5EF4-FFF2-40B4-BE49-F238E27FC236}">
                <a16:creationId xmlns:a16="http://schemas.microsoft.com/office/drawing/2014/main" id="{BF009615-489A-5DA8-222F-36CEB46D77B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292100" y="6395755"/>
            <a:ext cx="1160780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B92DD1CF-7FD4-0FD2-8A65-D0E8F92598D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pyright Line">
            <a:extLst>
              <a:ext uri="{FF2B5EF4-FFF2-40B4-BE49-F238E27FC236}">
                <a16:creationId xmlns:a16="http://schemas.microsoft.com/office/drawing/2014/main" id="{D18F1FC4-106D-3BF8-BC65-D648A021FC0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09" y="6526849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BBBBBB"/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rgbClr val="BBBBBB"/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dirty="0">
                <a:solidFill>
                  <a:srgbClr val="BBBBBB"/>
                </a:solidFill>
              </a:rPr>
              <a:t> Nielsen Consumer LLC. All Rights Reserved.</a:t>
            </a:r>
          </a:p>
        </p:txBody>
      </p:sp>
      <p:sp>
        <p:nvSpPr>
          <p:cNvPr id="9" name="Confidential disclaimer">
            <a:extLst>
              <a:ext uri="{FF2B5EF4-FFF2-40B4-BE49-F238E27FC236}">
                <a16:creationId xmlns:a16="http://schemas.microsoft.com/office/drawing/2014/main" id="{60EB3927-CDFF-ACD9-F0B3-0FEB504E449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24" name="Footer Placeholder">
            <a:extLst>
              <a:ext uri="{FF2B5EF4-FFF2-40B4-BE49-F238E27FC236}">
                <a16:creationId xmlns:a16="http://schemas.microsoft.com/office/drawing/2014/main" id="{0F37A136-F043-61EC-31AE-F924E1D07F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23" name="Date Placeholder">
            <a:extLst>
              <a:ext uri="{FF2B5EF4-FFF2-40B4-BE49-F238E27FC236}">
                <a16:creationId xmlns:a16="http://schemas.microsoft.com/office/drawing/2014/main" id="{F83B0E1B-C679-1FAD-01A8-07BEC0BB80C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811C7246-8A71-F257-DB0D-3E1F23CE69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/>
          </p:nvPr>
        </p:nvSpPr>
        <p:spPr>
          <a:xfrm>
            <a:off x="292100" y="3945964"/>
            <a:ext cx="7121979" cy="1500187"/>
          </a:xfrm>
        </p:spPr>
        <p:txBody>
          <a:bodyPr>
            <a:noAutofit/>
          </a:bodyPr>
          <a:lstStyle>
            <a:lvl1pPr marL="0" indent="0" rtl="0">
              <a:buNone/>
              <a:defRPr sz="2000">
                <a:solidFill>
                  <a:srgbClr val="55555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D9E3A23B-F3DB-B7EF-DCB8-D944C23E6D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1219200"/>
            <a:ext cx="7121979" cy="2401887"/>
          </a:xfrm>
        </p:spPr>
        <p:txBody>
          <a:bodyPr vert="horz" anchor="b">
            <a:noAutofit/>
          </a:bodyPr>
          <a:lstStyle>
            <a:lvl1pPr rtl="0">
              <a:defRPr sz="4400">
                <a:solidFill>
                  <a:srgbClr val="555555"/>
                </a:solidFill>
              </a:defRPr>
            </a:lvl1pPr>
          </a:lstStyle>
          <a:p>
            <a:r>
              <a:rPr lang="en-US" dirty="0"/>
              <a:t>Insert your section header title here maximum of </a:t>
            </a:r>
            <a:r>
              <a:rPr lang="en-US"/>
              <a:t>three lines</a:t>
            </a:r>
            <a:endParaRPr lang="en-US" dirty="0"/>
          </a:p>
        </p:txBody>
      </p:sp>
      <p:pic>
        <p:nvPicPr>
          <p:cNvPr id="4" name="NIQ GFK Lockup" hidden="1">
            <a:extLst>
              <a:ext uri="{FF2B5EF4-FFF2-40B4-BE49-F238E27FC236}">
                <a16:creationId xmlns:a16="http://schemas.microsoft.com/office/drawing/2014/main" id="{7DAD8AF9-6DCC-3308-0439-101A1738A84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02626" y="6462285"/>
            <a:ext cx="906224" cy="329184"/>
          </a:xfrm>
          <a:prstGeom prst="rect">
            <a:avLst/>
          </a:prstGeom>
        </p:spPr>
      </p:pic>
      <p:pic>
        <p:nvPicPr>
          <p:cNvPr id="26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B813BB00-9632-73B0-6654-E6FB69F66A0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130" y="6495154"/>
            <a:ext cx="781433" cy="269593"/>
          </a:xfrm>
          <a:prstGeom prst="rect">
            <a:avLst/>
          </a:prstGeom>
        </p:spPr>
      </p:pic>
      <p:pic>
        <p:nvPicPr>
          <p:cNvPr id="5" name="NIQ Logo">
            <a:extLst>
              <a:ext uri="{FF2B5EF4-FFF2-40B4-BE49-F238E27FC236}">
                <a16:creationId xmlns:a16="http://schemas.microsoft.com/office/drawing/2014/main" id="{3FE5C232-E7B5-5DDF-A7C7-8FF7A557AEE9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92100" y="6495101"/>
            <a:ext cx="645459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383470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7D3EA46-0223-156B-2D13-56D0322A37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6183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7D3EA46-0223-156B-2D13-56D0322A37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tatic Blue Bkgd">
            <a:extLst>
              <a:ext uri="{FF2B5EF4-FFF2-40B4-BE49-F238E27FC236}">
                <a16:creationId xmlns:a16="http://schemas.microsoft.com/office/drawing/2014/main" id="{D1093FDC-ACBE-C97A-79EC-30B506F3513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D6D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cxnSp>
        <p:nvCxnSpPr>
          <p:cNvPr id="10" name="Base Rule">
            <a:extLst>
              <a:ext uri="{FF2B5EF4-FFF2-40B4-BE49-F238E27FC236}">
                <a16:creationId xmlns:a16="http://schemas.microsoft.com/office/drawing/2014/main" id="{BF009615-489A-5DA8-222F-36CEB46D77B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292100" y="6395755"/>
            <a:ext cx="11607801" cy="0"/>
          </a:xfrm>
          <a:prstGeom prst="line">
            <a:avLst/>
          </a:prstGeom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4E97C96-6264-45A7-BD31-3F850D5B404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FFFFFF"/>
                </a:solidFill>
              </a:defRPr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pyright Line">
            <a:extLst>
              <a:ext uri="{FF2B5EF4-FFF2-40B4-BE49-F238E27FC236}">
                <a16:creationId xmlns:a16="http://schemas.microsoft.com/office/drawing/2014/main" id="{D18F1FC4-106D-3BF8-BC65-D648A021FC0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09" y="6526849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BBBBBB"/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rgbClr val="BBBBBB"/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dirty="0">
                <a:solidFill>
                  <a:srgbClr val="BBBBBB"/>
                </a:solidFill>
              </a:rPr>
              <a:t> Nielsen Consumer LLC. All Rights Reserved.</a:t>
            </a:r>
          </a:p>
        </p:txBody>
      </p:sp>
      <p:sp>
        <p:nvSpPr>
          <p:cNvPr id="11" name="Confidential disclaimer">
            <a:extLst>
              <a:ext uri="{FF2B5EF4-FFF2-40B4-BE49-F238E27FC236}">
                <a16:creationId xmlns:a16="http://schemas.microsoft.com/office/drawing/2014/main" id="{6DA018A3-AFD9-D355-AE28-82676195255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9E3F8F0F-7B47-2BB9-7F93-A25C99023E1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solidFill>
            <a:schemeClr val="accent1"/>
          </a:solidFill>
        </p:spPr>
        <p:txBody>
          <a:bodyPr/>
          <a:lstStyle>
            <a:lvl1pPr rtl="0"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51D28747-A5DD-1E44-1383-00C1095A0E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811C7246-8A71-F257-DB0D-3E1F23CE69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/>
          </p:nvPr>
        </p:nvSpPr>
        <p:spPr>
          <a:xfrm>
            <a:off x="292100" y="3945964"/>
            <a:ext cx="7121979" cy="1500187"/>
          </a:xfrm>
        </p:spPr>
        <p:txBody>
          <a:bodyPr>
            <a:noAutofit/>
          </a:bodyPr>
          <a:lstStyle>
            <a:lvl1pPr marL="0" indent="0" rtl="0">
              <a:buNone/>
              <a:defRPr sz="2000">
                <a:solidFill>
                  <a:srgbClr val="FFFFFF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D9E3A23B-F3DB-B7EF-DCB8-D944C23E6D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1219200"/>
            <a:ext cx="7121979" cy="2401887"/>
          </a:xfrm>
        </p:spPr>
        <p:txBody>
          <a:bodyPr vert="horz" anchor="b">
            <a:noAutofit/>
          </a:bodyPr>
          <a:lstStyle>
            <a:lvl1pPr rtl="0">
              <a:defRPr sz="4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Insert your section header title here maximum of </a:t>
            </a:r>
            <a:r>
              <a:rPr lang="en-US"/>
              <a:t>three lines</a:t>
            </a:r>
            <a:endParaRPr lang="en-US" dirty="0"/>
          </a:p>
        </p:txBody>
      </p:sp>
      <p:pic>
        <p:nvPicPr>
          <p:cNvPr id="14" name="NIQ GFK Lockup" hidden="1">
            <a:extLst>
              <a:ext uri="{FF2B5EF4-FFF2-40B4-BE49-F238E27FC236}">
                <a16:creationId xmlns:a16="http://schemas.microsoft.com/office/drawing/2014/main" id="{EAEBAA35-FD7E-BA1F-342A-81B244F88CF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 rotWithShape="1">
          <a:blip r:embed="rId5"/>
          <a:srcRect l="23" r="23"/>
          <a:stretch/>
        </p:blipFill>
        <p:spPr>
          <a:xfrm>
            <a:off x="302626" y="6462285"/>
            <a:ext cx="906224" cy="329184"/>
          </a:xfrm>
          <a:prstGeom prst="rect">
            <a:avLst/>
          </a:prstGeom>
        </p:spPr>
      </p:pic>
      <p:pic>
        <p:nvPicPr>
          <p:cNvPr id="25" name="NielsenIQ logo+wordmark" hidden="1">
            <a:extLst>
              <a:ext uri="{FF2B5EF4-FFF2-40B4-BE49-F238E27FC236}">
                <a16:creationId xmlns:a16="http://schemas.microsoft.com/office/drawing/2014/main" id="{598FBCD8-A3EE-4A06-6724-A1F5D702756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0132" y="6495154"/>
            <a:ext cx="781428" cy="269593"/>
          </a:xfrm>
          <a:prstGeom prst="rect">
            <a:avLst/>
          </a:prstGeom>
        </p:spPr>
      </p:pic>
      <p:pic>
        <p:nvPicPr>
          <p:cNvPr id="22" name="NIQ Logo">
            <a:extLst>
              <a:ext uri="{FF2B5EF4-FFF2-40B4-BE49-F238E27FC236}">
                <a16:creationId xmlns:a16="http://schemas.microsoft.com/office/drawing/2014/main" id="{C3AC3518-07F7-E20B-4D4C-9D6C3D043778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92100" y="6495101"/>
            <a:ext cx="645459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697800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5596A7EA-BC29-79B0-AF95-CAB1335863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3182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96A7EA-BC29-79B0-AF95-CAB1335863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tatic Dark Bkgd">
            <a:extLst>
              <a:ext uri="{FF2B5EF4-FFF2-40B4-BE49-F238E27FC236}">
                <a16:creationId xmlns:a16="http://schemas.microsoft.com/office/drawing/2014/main" id="{D1093FDC-ACBE-C97A-79EC-30B506F3513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60A4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cxnSp>
        <p:nvCxnSpPr>
          <p:cNvPr id="10" name="Base Rule">
            <a:extLst>
              <a:ext uri="{FF2B5EF4-FFF2-40B4-BE49-F238E27FC236}">
                <a16:creationId xmlns:a16="http://schemas.microsoft.com/office/drawing/2014/main" id="{BF009615-489A-5DA8-222F-36CEB46D77B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292100" y="6395755"/>
            <a:ext cx="11607801" cy="0"/>
          </a:xfrm>
          <a:prstGeom prst="line">
            <a:avLst/>
          </a:prstGeom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4E97C96-6264-45A7-BD31-3F850D5B404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FFFFFF"/>
                </a:solidFill>
              </a:defRPr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pyright Line">
            <a:extLst>
              <a:ext uri="{FF2B5EF4-FFF2-40B4-BE49-F238E27FC236}">
                <a16:creationId xmlns:a16="http://schemas.microsoft.com/office/drawing/2014/main" id="{D18F1FC4-106D-3BF8-BC65-D648A021FC0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09" y="6526849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BBBBBB"/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rgbClr val="BBBBBB"/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dirty="0">
                <a:solidFill>
                  <a:srgbClr val="BBBBBB"/>
                </a:solidFill>
              </a:rPr>
              <a:t> Nielsen Consumer LLC. All Rights Reserved.</a:t>
            </a:r>
          </a:p>
        </p:txBody>
      </p:sp>
      <p:sp>
        <p:nvSpPr>
          <p:cNvPr id="11" name="Confidential disclaimer">
            <a:extLst>
              <a:ext uri="{FF2B5EF4-FFF2-40B4-BE49-F238E27FC236}">
                <a16:creationId xmlns:a16="http://schemas.microsoft.com/office/drawing/2014/main" id="{E92240A2-16A2-92E0-CB79-8A8DDCBFE3B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9E3F8F0F-7B47-2BB9-7F93-A25C99023E1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solidFill>
            <a:schemeClr val="tx2"/>
          </a:solidFill>
        </p:spPr>
        <p:txBody>
          <a:bodyPr/>
          <a:lstStyle>
            <a:lvl1pPr rtl="0"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51D28747-A5DD-1E44-1383-00C1095A0E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811C7246-8A71-F257-DB0D-3E1F23CE69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/>
          </p:nvPr>
        </p:nvSpPr>
        <p:spPr>
          <a:xfrm>
            <a:off x="292100" y="3945964"/>
            <a:ext cx="7121979" cy="1500187"/>
          </a:xfrm>
        </p:spPr>
        <p:txBody>
          <a:bodyPr>
            <a:noAutofit/>
          </a:bodyPr>
          <a:lstStyle>
            <a:lvl1pPr marL="0" indent="0" rtl="0">
              <a:buNone/>
              <a:defRPr sz="2000">
                <a:solidFill>
                  <a:srgbClr val="FFFFFF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D9E3A23B-F3DB-B7EF-DCB8-D944C23E6D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1219200"/>
            <a:ext cx="7121979" cy="2401887"/>
          </a:xfrm>
        </p:spPr>
        <p:txBody>
          <a:bodyPr vert="horz" anchor="b">
            <a:noAutofit/>
          </a:bodyPr>
          <a:lstStyle>
            <a:lvl1pPr rtl="0">
              <a:defRPr sz="4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Insert your section header title here maximum of </a:t>
            </a:r>
            <a:r>
              <a:rPr lang="en-US"/>
              <a:t>three lines</a:t>
            </a:r>
            <a:endParaRPr lang="en-US" dirty="0"/>
          </a:p>
        </p:txBody>
      </p:sp>
      <p:pic>
        <p:nvPicPr>
          <p:cNvPr id="9" name="NIQ GFK Lockup" hidden="1">
            <a:extLst>
              <a:ext uri="{FF2B5EF4-FFF2-40B4-BE49-F238E27FC236}">
                <a16:creationId xmlns:a16="http://schemas.microsoft.com/office/drawing/2014/main" id="{F72C93F2-029A-F706-FCA1-C00C6620AA84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5"/>
          <a:srcRect l="23" r="23"/>
          <a:stretch/>
        </p:blipFill>
        <p:spPr>
          <a:xfrm>
            <a:off x="302626" y="6462285"/>
            <a:ext cx="906224" cy="329184"/>
          </a:xfrm>
          <a:prstGeom prst="rect">
            <a:avLst/>
          </a:prstGeom>
        </p:spPr>
      </p:pic>
      <p:pic>
        <p:nvPicPr>
          <p:cNvPr id="24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30EA2721-2669-7CC1-263F-E48ACB34B73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130" y="6495154"/>
            <a:ext cx="781433" cy="269593"/>
          </a:xfrm>
          <a:prstGeom prst="rect">
            <a:avLst/>
          </a:prstGeom>
        </p:spPr>
      </p:pic>
      <p:pic>
        <p:nvPicPr>
          <p:cNvPr id="22" name="NIQ Logo">
            <a:extLst>
              <a:ext uri="{FF2B5EF4-FFF2-40B4-BE49-F238E27FC236}">
                <a16:creationId xmlns:a16="http://schemas.microsoft.com/office/drawing/2014/main" id="{C2F586F8-1BDB-2AFF-F8FE-C01DC3808778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92100" y="6495101"/>
            <a:ext cx="645459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789748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Sideba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6B35FEB-89A4-EBA1-3E8A-19F70AE61A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419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6B35FEB-89A4-EBA1-3E8A-19F70AE61A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tatic Light Bkgd">
            <a:extLst>
              <a:ext uri="{FF2B5EF4-FFF2-40B4-BE49-F238E27FC236}">
                <a16:creationId xmlns:a16="http://schemas.microsoft.com/office/drawing/2014/main" id="{D1093FDC-ACBE-C97A-79EC-30B506F3513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1" name="Block Bkgd">
            <a:extLst>
              <a:ext uri="{FF2B5EF4-FFF2-40B4-BE49-F238E27FC236}">
                <a16:creationId xmlns:a16="http://schemas.microsoft.com/office/drawing/2014/main" id="{61051253-1566-C6AD-277E-C41693FE3B9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400291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US" dirty="0"/>
          </a:p>
        </p:txBody>
      </p:sp>
      <p:cxnSp>
        <p:nvCxnSpPr>
          <p:cNvPr id="16" name="Base Rule">
            <a:extLst>
              <a:ext uri="{FF2B5EF4-FFF2-40B4-BE49-F238E27FC236}">
                <a16:creationId xmlns:a16="http://schemas.microsoft.com/office/drawing/2014/main" id="{A76E5B64-AFD0-1002-8187-608F612A25A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4237038" y="6395755"/>
            <a:ext cx="7662863" cy="0"/>
          </a:xfrm>
          <a:prstGeom prst="line">
            <a:avLst/>
          </a:prstGeom>
          <a:ln w="12700">
            <a:solidFill>
              <a:srgbClr val="5555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lide Number Placeholder">
            <a:extLst>
              <a:ext uri="{FF2B5EF4-FFF2-40B4-BE49-F238E27FC236}">
                <a16:creationId xmlns:a16="http://schemas.microsoft.com/office/drawing/2014/main" id="{6FB508FF-12E5-30CD-260F-1D79AD32367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85399"/>
            <a:ext cx="404321" cy="282957"/>
          </a:xfrm>
        </p:spPr>
        <p:txBody>
          <a:bodyPr/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Copyright Line">
            <a:extLst>
              <a:ext uri="{FF2B5EF4-FFF2-40B4-BE49-F238E27FC236}">
                <a16:creationId xmlns:a16="http://schemas.microsoft.com/office/drawing/2014/main" id="{148E64DD-C38D-F907-E20C-F3A4311DD32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09" y="6526850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Nielsen Consumer LLC. All Rights Reserved.</a:t>
            </a:r>
          </a:p>
        </p:txBody>
      </p:sp>
      <p:sp>
        <p:nvSpPr>
          <p:cNvPr id="14" name="Confidential disclaimer">
            <a:extLst>
              <a:ext uri="{FF2B5EF4-FFF2-40B4-BE49-F238E27FC236}">
                <a16:creationId xmlns:a16="http://schemas.microsoft.com/office/drawing/2014/main" id="{8190ED14-46E2-2B63-6E09-DC52ACE59C3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26" name="Footer Placeholder">
            <a:extLst>
              <a:ext uri="{FF2B5EF4-FFF2-40B4-BE49-F238E27FC236}">
                <a16:creationId xmlns:a16="http://schemas.microsoft.com/office/drawing/2014/main" id="{E183FCE9-1380-C908-3210-D1CC81C316C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4237038" y="6485399"/>
            <a:ext cx="3056524" cy="282957"/>
          </a:xfrm>
        </p:spPr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10" name="Source Placeholder">
            <a:extLst>
              <a:ext uri="{FF2B5EF4-FFF2-40B4-BE49-F238E27FC236}">
                <a16:creationId xmlns:a16="http://schemas.microsoft.com/office/drawing/2014/main" id="{77FED749-9C39-81DD-7428-E91EAF740A9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4237036" y="6108700"/>
            <a:ext cx="7662864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13" name="Content Placeholder">
            <a:extLst>
              <a:ext uri="{FF2B5EF4-FFF2-40B4-BE49-F238E27FC236}">
                <a16:creationId xmlns:a16="http://schemas.microsoft.com/office/drawing/2014/main" id="{4EA26CDB-5FFD-8E65-BB9F-B583607F097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5"/>
          </p:nvPr>
        </p:nvSpPr>
        <p:spPr>
          <a:xfrm>
            <a:off x="4237038" y="1219200"/>
            <a:ext cx="7662862" cy="44577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811C7246-8A71-F257-DB0D-3E1F23CE69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0" y="3945964"/>
            <a:ext cx="3409043" cy="1500187"/>
          </a:xfrm>
        </p:spPr>
        <p:txBody>
          <a:bodyPr>
            <a:noAutofit/>
          </a:bodyPr>
          <a:lstStyle>
            <a:lvl1pPr marL="0" indent="0" rtl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subtitle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D9E3A23B-F3DB-B7EF-DCB8-D944C23E6D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1219200"/>
            <a:ext cx="3409043" cy="2401887"/>
          </a:xfrm>
        </p:spPr>
        <p:txBody>
          <a:bodyPr vert="horz" anchor="b">
            <a:noAutofit/>
          </a:bodyPr>
          <a:lstStyle>
            <a:lvl1pPr rtl="0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header</a:t>
            </a:r>
            <a:endParaRPr lang="en-US" dirty="0"/>
          </a:p>
        </p:txBody>
      </p:sp>
      <p:pic>
        <p:nvPicPr>
          <p:cNvPr id="4" name="NIQ GFK Lockup" hidden="1">
            <a:extLst>
              <a:ext uri="{FF2B5EF4-FFF2-40B4-BE49-F238E27FC236}">
                <a16:creationId xmlns:a16="http://schemas.microsoft.com/office/drawing/2014/main" id="{EA4F8456-F302-1F9F-CB79-F96F7FF403B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02626" y="6462285"/>
            <a:ext cx="906224" cy="329184"/>
          </a:xfrm>
          <a:prstGeom prst="rect">
            <a:avLst/>
          </a:prstGeom>
        </p:spPr>
      </p:pic>
      <p:pic>
        <p:nvPicPr>
          <p:cNvPr id="5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E5214B10-6ABB-0EB3-4E33-9E9E477DD15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130" y="6495154"/>
            <a:ext cx="781433" cy="269593"/>
          </a:xfrm>
          <a:prstGeom prst="rect">
            <a:avLst/>
          </a:prstGeom>
        </p:spPr>
      </p:pic>
      <p:pic>
        <p:nvPicPr>
          <p:cNvPr id="6" name="NIQ Logo">
            <a:extLst>
              <a:ext uri="{FF2B5EF4-FFF2-40B4-BE49-F238E27FC236}">
                <a16:creationId xmlns:a16="http://schemas.microsoft.com/office/drawing/2014/main" id="{A9B1FD76-BF8D-8EEE-6EC7-E0AC284E58CD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92100" y="6495101"/>
            <a:ext cx="645459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2277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Blue Sideba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F23F2A6-A2E8-5EFA-38DD-5C102FB652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562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23F2A6-A2E8-5EFA-38DD-5C102FB652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tatic Light Bkgd">
            <a:extLst>
              <a:ext uri="{FF2B5EF4-FFF2-40B4-BE49-F238E27FC236}">
                <a16:creationId xmlns:a16="http://schemas.microsoft.com/office/drawing/2014/main" id="{D1093FDC-ACBE-C97A-79EC-30B506F3513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1" name="Block Bkgd">
            <a:extLst>
              <a:ext uri="{FF2B5EF4-FFF2-40B4-BE49-F238E27FC236}">
                <a16:creationId xmlns:a16="http://schemas.microsoft.com/office/drawing/2014/main" id="{61051253-1566-C6AD-277E-C41693FE3B9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400291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US" dirty="0"/>
          </a:p>
        </p:txBody>
      </p:sp>
      <p:cxnSp>
        <p:nvCxnSpPr>
          <p:cNvPr id="16" name="Base Rule">
            <a:extLst>
              <a:ext uri="{FF2B5EF4-FFF2-40B4-BE49-F238E27FC236}">
                <a16:creationId xmlns:a16="http://schemas.microsoft.com/office/drawing/2014/main" id="{A76E5B64-AFD0-1002-8187-608F612A25A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4237038" y="6395755"/>
            <a:ext cx="7662863" cy="0"/>
          </a:xfrm>
          <a:prstGeom prst="line">
            <a:avLst/>
          </a:prstGeom>
          <a:ln w="12700">
            <a:solidFill>
              <a:srgbClr val="5555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lide Number Placeholder">
            <a:extLst>
              <a:ext uri="{FF2B5EF4-FFF2-40B4-BE49-F238E27FC236}">
                <a16:creationId xmlns:a16="http://schemas.microsoft.com/office/drawing/2014/main" id="{6FB508FF-12E5-30CD-260F-1D79AD32367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pyright Line">
            <a:extLst>
              <a:ext uri="{FF2B5EF4-FFF2-40B4-BE49-F238E27FC236}">
                <a16:creationId xmlns:a16="http://schemas.microsoft.com/office/drawing/2014/main" id="{785C4202-84F8-8C2C-1D92-57E97078C48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09" y="6526850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Nielsen Consumer LLC. All Rights Reserved.</a:t>
            </a:r>
          </a:p>
        </p:txBody>
      </p:sp>
      <p:sp>
        <p:nvSpPr>
          <p:cNvPr id="13" name="Confidential disclaimer">
            <a:extLst>
              <a:ext uri="{FF2B5EF4-FFF2-40B4-BE49-F238E27FC236}">
                <a16:creationId xmlns:a16="http://schemas.microsoft.com/office/drawing/2014/main" id="{E096164C-17A9-3CC9-A52F-D0B4EEA62BD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26" name="Footer Placeholder">
            <a:extLst>
              <a:ext uri="{FF2B5EF4-FFF2-40B4-BE49-F238E27FC236}">
                <a16:creationId xmlns:a16="http://schemas.microsoft.com/office/drawing/2014/main" id="{E183FCE9-1380-C908-3210-D1CC81C316C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4237038" y="6485399"/>
            <a:ext cx="3056523" cy="282957"/>
          </a:xfrm>
        </p:spPr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4" name="Source Placeholder">
            <a:extLst>
              <a:ext uri="{FF2B5EF4-FFF2-40B4-BE49-F238E27FC236}">
                <a16:creationId xmlns:a16="http://schemas.microsoft.com/office/drawing/2014/main" id="{7336FA02-79CA-726F-511F-D79250B8761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4237036" y="6108700"/>
            <a:ext cx="7662864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10" name="Content Placeholder">
            <a:extLst>
              <a:ext uri="{FF2B5EF4-FFF2-40B4-BE49-F238E27FC236}">
                <a16:creationId xmlns:a16="http://schemas.microsoft.com/office/drawing/2014/main" id="{F249C353-5497-424D-4C80-DA025B85CF0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5"/>
          </p:nvPr>
        </p:nvSpPr>
        <p:spPr>
          <a:xfrm>
            <a:off x="4237038" y="1219200"/>
            <a:ext cx="7662862" cy="44577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811C7246-8A71-F257-DB0D-3E1F23CE69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0" y="3945964"/>
            <a:ext cx="3409043" cy="1500187"/>
          </a:xfrm>
        </p:spPr>
        <p:txBody>
          <a:bodyPr>
            <a:noAutofit/>
          </a:bodyPr>
          <a:lstStyle>
            <a:lvl1pPr marL="0" indent="0" rtl="0">
              <a:buNone/>
              <a:defRPr sz="2000">
                <a:solidFill>
                  <a:srgbClr val="FFFFFF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subtitle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D9E3A23B-F3DB-B7EF-DCB8-D944C23E6D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1219200"/>
            <a:ext cx="3409043" cy="2401887"/>
          </a:xfrm>
        </p:spPr>
        <p:txBody>
          <a:bodyPr vert="horz" anchor="b">
            <a:noAutofit/>
          </a:bodyPr>
          <a:lstStyle>
            <a:lvl1pPr rtl="0">
              <a:defRPr sz="4400">
                <a:solidFill>
                  <a:srgbClr val="FFFFFF"/>
                </a:solidFill>
              </a:defRPr>
            </a:lvl1pPr>
          </a:lstStyle>
          <a:p>
            <a:r>
              <a:rPr lang="en-US"/>
              <a:t>Section header</a:t>
            </a:r>
            <a:endParaRPr lang="en-US" dirty="0"/>
          </a:p>
        </p:txBody>
      </p:sp>
      <p:pic>
        <p:nvPicPr>
          <p:cNvPr id="6" name="NIQ GFK Lockup" hidden="1">
            <a:extLst>
              <a:ext uri="{FF2B5EF4-FFF2-40B4-BE49-F238E27FC236}">
                <a16:creationId xmlns:a16="http://schemas.microsoft.com/office/drawing/2014/main" id="{EF6F7CF4-822A-D8B2-DFDA-1C3EAA869029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5"/>
          <a:srcRect l="23" r="23"/>
          <a:stretch/>
        </p:blipFill>
        <p:spPr>
          <a:xfrm>
            <a:off x="302626" y="6462285"/>
            <a:ext cx="906224" cy="329184"/>
          </a:xfrm>
          <a:prstGeom prst="rect">
            <a:avLst/>
          </a:prstGeom>
        </p:spPr>
      </p:pic>
      <p:pic>
        <p:nvPicPr>
          <p:cNvPr id="5" name="NielsenIQ logo+wordmark" hidden="1">
            <a:extLst>
              <a:ext uri="{FF2B5EF4-FFF2-40B4-BE49-F238E27FC236}">
                <a16:creationId xmlns:a16="http://schemas.microsoft.com/office/drawing/2014/main" id="{32C28E02-2118-88F0-2B78-22254A5F217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0132" y="6495154"/>
            <a:ext cx="781428" cy="269593"/>
          </a:xfrm>
          <a:prstGeom prst="rect">
            <a:avLst/>
          </a:prstGeom>
        </p:spPr>
      </p:pic>
      <p:pic>
        <p:nvPicPr>
          <p:cNvPr id="9" name="NIQ Logo">
            <a:extLst>
              <a:ext uri="{FF2B5EF4-FFF2-40B4-BE49-F238E27FC236}">
                <a16:creationId xmlns:a16="http://schemas.microsoft.com/office/drawing/2014/main" id="{557F1CC3-9C99-3BC3-AD92-FB8503D927CF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92100" y="6495101"/>
            <a:ext cx="645459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3867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Dark Sideba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97881D55-01F1-0EC3-5DD4-BBB3E75FC2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4707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881D55-01F1-0EC3-5DD4-BBB3E75FC2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tatic Light Bkgd">
            <a:extLst>
              <a:ext uri="{FF2B5EF4-FFF2-40B4-BE49-F238E27FC236}">
                <a16:creationId xmlns:a16="http://schemas.microsoft.com/office/drawing/2014/main" id="{D1093FDC-ACBE-C97A-79EC-30B506F3513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1" name="Block Bkgd">
            <a:extLst>
              <a:ext uri="{FF2B5EF4-FFF2-40B4-BE49-F238E27FC236}">
                <a16:creationId xmlns:a16="http://schemas.microsoft.com/office/drawing/2014/main" id="{61051253-1566-C6AD-277E-C41693FE3B9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4002916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US" dirty="0"/>
          </a:p>
        </p:txBody>
      </p:sp>
      <p:cxnSp>
        <p:nvCxnSpPr>
          <p:cNvPr id="16" name="Base Rule">
            <a:extLst>
              <a:ext uri="{FF2B5EF4-FFF2-40B4-BE49-F238E27FC236}">
                <a16:creationId xmlns:a16="http://schemas.microsoft.com/office/drawing/2014/main" id="{A76E5B64-AFD0-1002-8187-608F612A25A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4237038" y="6395755"/>
            <a:ext cx="7662863" cy="0"/>
          </a:xfrm>
          <a:prstGeom prst="line">
            <a:avLst/>
          </a:prstGeom>
          <a:ln w="12700">
            <a:solidFill>
              <a:srgbClr val="5555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lide Number Placeholder">
            <a:extLst>
              <a:ext uri="{FF2B5EF4-FFF2-40B4-BE49-F238E27FC236}">
                <a16:creationId xmlns:a16="http://schemas.microsoft.com/office/drawing/2014/main" id="{6FB508FF-12E5-30CD-260F-1D79AD32367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pyright Line">
            <a:extLst>
              <a:ext uri="{FF2B5EF4-FFF2-40B4-BE49-F238E27FC236}">
                <a16:creationId xmlns:a16="http://schemas.microsoft.com/office/drawing/2014/main" id="{ABBC6E03-863D-FD63-7C57-491D7ADA71A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09" y="6526850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Nielsen Consumer LLC. All Rights Reserved.</a:t>
            </a:r>
          </a:p>
        </p:txBody>
      </p:sp>
      <p:sp>
        <p:nvSpPr>
          <p:cNvPr id="4" name="Confidential disclaimer">
            <a:extLst>
              <a:ext uri="{FF2B5EF4-FFF2-40B4-BE49-F238E27FC236}">
                <a16:creationId xmlns:a16="http://schemas.microsoft.com/office/drawing/2014/main" id="{C0846810-8BC5-01F8-F631-25773D83754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26" name="Footer Placeholder">
            <a:extLst>
              <a:ext uri="{FF2B5EF4-FFF2-40B4-BE49-F238E27FC236}">
                <a16:creationId xmlns:a16="http://schemas.microsoft.com/office/drawing/2014/main" id="{E183FCE9-1380-C908-3210-D1CC81C316C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4237038" y="6485399"/>
            <a:ext cx="3056524" cy="282957"/>
          </a:xfrm>
        </p:spPr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10" name="Source Placeholder">
            <a:extLst>
              <a:ext uri="{FF2B5EF4-FFF2-40B4-BE49-F238E27FC236}">
                <a16:creationId xmlns:a16="http://schemas.microsoft.com/office/drawing/2014/main" id="{77FED749-9C39-81DD-7428-E91EAF740A9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4237036" y="6108700"/>
            <a:ext cx="7662864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13" name="Content Placeholder">
            <a:extLst>
              <a:ext uri="{FF2B5EF4-FFF2-40B4-BE49-F238E27FC236}">
                <a16:creationId xmlns:a16="http://schemas.microsoft.com/office/drawing/2014/main" id="{4EA26CDB-5FFD-8E65-BB9F-B583607F097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5"/>
          </p:nvPr>
        </p:nvSpPr>
        <p:spPr>
          <a:xfrm>
            <a:off x="4237038" y="1219200"/>
            <a:ext cx="7662862" cy="44577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811C7246-8A71-F257-DB0D-3E1F23CE69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0" y="3945964"/>
            <a:ext cx="3409043" cy="1500187"/>
          </a:xfrm>
        </p:spPr>
        <p:txBody>
          <a:bodyPr>
            <a:noAutofit/>
          </a:bodyPr>
          <a:lstStyle>
            <a:lvl1pPr marL="0" indent="0" rtl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subtitle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D9E3A23B-F3DB-B7EF-DCB8-D944C23E6D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1219200"/>
            <a:ext cx="3409043" cy="2401887"/>
          </a:xfrm>
        </p:spPr>
        <p:txBody>
          <a:bodyPr vert="horz" anchor="b">
            <a:noAutofit/>
          </a:bodyPr>
          <a:lstStyle>
            <a:lvl1pPr rtl="0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header</a:t>
            </a:r>
            <a:endParaRPr lang="en-US" dirty="0"/>
          </a:p>
        </p:txBody>
      </p:sp>
      <p:pic>
        <p:nvPicPr>
          <p:cNvPr id="8" name="NIQ GFK Lockup" hidden="1">
            <a:extLst>
              <a:ext uri="{FF2B5EF4-FFF2-40B4-BE49-F238E27FC236}">
                <a16:creationId xmlns:a16="http://schemas.microsoft.com/office/drawing/2014/main" id="{23E903F1-B6FB-BED6-3501-293C1130DA4F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5"/>
          <a:srcRect l="23" r="23"/>
          <a:stretch/>
        </p:blipFill>
        <p:spPr>
          <a:xfrm>
            <a:off x="302626" y="6462285"/>
            <a:ext cx="906224" cy="329184"/>
          </a:xfrm>
          <a:prstGeom prst="rect">
            <a:avLst/>
          </a:prstGeom>
        </p:spPr>
      </p:pic>
      <p:pic>
        <p:nvPicPr>
          <p:cNvPr id="5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E5214B10-6ABB-0EB3-4E33-9E9E477DD15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130" y="6495154"/>
            <a:ext cx="781433" cy="269593"/>
          </a:xfrm>
          <a:prstGeom prst="rect">
            <a:avLst/>
          </a:prstGeom>
        </p:spPr>
      </p:pic>
      <p:pic>
        <p:nvPicPr>
          <p:cNvPr id="6" name="NIQ Logo">
            <a:extLst>
              <a:ext uri="{FF2B5EF4-FFF2-40B4-BE49-F238E27FC236}">
                <a16:creationId xmlns:a16="http://schemas.microsoft.com/office/drawing/2014/main" id="{A9B1FD76-BF8D-8EEE-6EC7-E0AC284E58CD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92100" y="6495101"/>
            <a:ext cx="645459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3205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99599416-E7F1-742D-5C3D-3738CEEF44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2564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599416-E7F1-742D-5C3D-3738CEEF44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48587361-5CC7-9C7F-BD1C-0A8CE32B90E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889C55DD-275C-EFE2-8883-9CF82493650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Date Placeholder">
            <a:extLst>
              <a:ext uri="{FF2B5EF4-FFF2-40B4-BE49-F238E27FC236}">
                <a16:creationId xmlns:a16="http://schemas.microsoft.com/office/drawing/2014/main" id="{66F49418-AA9F-5CA7-31F1-168499F3D8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12" name="Source Placeholder">
            <a:extLst>
              <a:ext uri="{FF2B5EF4-FFF2-40B4-BE49-F238E27FC236}">
                <a16:creationId xmlns:a16="http://schemas.microsoft.com/office/drawing/2014/main" id="{E0FBE8A5-CBE4-7896-370D-0C351238E6E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6" name="Content 2 Placeholder">
            <a:extLst>
              <a:ext uri="{FF2B5EF4-FFF2-40B4-BE49-F238E27FC236}">
                <a16:creationId xmlns:a16="http://schemas.microsoft.com/office/drawing/2014/main" id="{F2EB2B90-CA72-0453-8C46-7140538197A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4" hasCustomPrompt="1"/>
          </p:nvPr>
        </p:nvSpPr>
        <p:spPr>
          <a:xfrm>
            <a:off x="6210300" y="2019300"/>
            <a:ext cx="5673720" cy="36576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Header 2 Placeholder">
            <a:extLst>
              <a:ext uri="{FF2B5EF4-FFF2-40B4-BE49-F238E27FC236}">
                <a16:creationId xmlns:a16="http://schemas.microsoft.com/office/drawing/2014/main" id="{ADF8391B-E110-2D12-ED6A-D8681E86875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" hasCustomPrompt="1"/>
          </p:nvPr>
        </p:nvSpPr>
        <p:spPr>
          <a:xfrm>
            <a:off x="6210300" y="1308100"/>
            <a:ext cx="5689598" cy="620525"/>
          </a:xfrm>
        </p:spPr>
        <p:txBody>
          <a:bodyPr anchor="b">
            <a:noAutofit/>
          </a:bodyPr>
          <a:lstStyle>
            <a:lvl1pPr marL="0" indent="0" rtl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column header</a:t>
            </a:r>
          </a:p>
        </p:txBody>
      </p:sp>
      <p:sp>
        <p:nvSpPr>
          <p:cNvPr id="4" name="Content 1 Placeholder">
            <a:extLst>
              <a:ext uri="{FF2B5EF4-FFF2-40B4-BE49-F238E27FC236}">
                <a16:creationId xmlns:a16="http://schemas.microsoft.com/office/drawing/2014/main" id="{984C70C1-C2F6-EFE6-3AEB-EEEE97D8D82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292101" y="2019300"/>
            <a:ext cx="5673721" cy="36576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Header 1 Placeholder">
            <a:extLst>
              <a:ext uri="{FF2B5EF4-FFF2-40B4-BE49-F238E27FC236}">
                <a16:creationId xmlns:a16="http://schemas.microsoft.com/office/drawing/2014/main" id="{E16F9965-5453-60FF-D1EB-3A608CF7F7B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1" y="1308100"/>
            <a:ext cx="5689598" cy="620525"/>
          </a:xfrm>
        </p:spPr>
        <p:txBody>
          <a:bodyPr anchor="b">
            <a:noAutofit/>
          </a:bodyPr>
          <a:lstStyle>
            <a:lvl1pPr marL="0" indent="0" rtl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column header</a:t>
            </a:r>
          </a:p>
        </p:txBody>
      </p:sp>
      <p:sp>
        <p:nvSpPr>
          <p:cNvPr id="14" name="Subtitle Placeholder">
            <a:extLst>
              <a:ext uri="{FF2B5EF4-FFF2-40B4-BE49-F238E27FC236}">
                <a16:creationId xmlns:a16="http://schemas.microsoft.com/office/drawing/2014/main" id="{3C3EBBEC-21F2-1AF3-1FA2-6C8052756C7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13" name="Title Placeholder">
            <a:extLst>
              <a:ext uri="{FF2B5EF4-FFF2-40B4-BE49-F238E27FC236}">
                <a16:creationId xmlns:a16="http://schemas.microsoft.com/office/drawing/2014/main" id="{31A8EC3A-084E-1F49-0F96-E9263F03E1F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7448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768">
          <p15:clr>
            <a:srgbClr val="A4A3A4"/>
          </p15:clr>
        </p15:guide>
        <p15:guide id="5" pos="3912">
          <p15:clr>
            <a:srgbClr val="A4A3A4"/>
          </p15:clr>
        </p15:guide>
      </p15:sldGuideLst>
    </p:ext>
  </p:extLs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1A652F77-C855-13B2-B8AF-F08C8B5B07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1735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52F77-C855-13B2-B8AF-F08C8B5B07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E94EA2D6-F376-E5FB-864F-2472964B121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4898322A-6CDF-75C0-CCAE-9F91633E2F5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Date Placeholder">
            <a:extLst>
              <a:ext uri="{FF2B5EF4-FFF2-40B4-BE49-F238E27FC236}">
                <a16:creationId xmlns:a16="http://schemas.microsoft.com/office/drawing/2014/main" id="{339D1539-DC5B-675F-DCC6-5BBCE25FC7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2EA71DC4-3628-4313-321C-9A95F89CAB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4" name="Content 2 Placeholder">
            <a:extLst>
              <a:ext uri="{FF2B5EF4-FFF2-40B4-BE49-F238E27FC236}">
                <a16:creationId xmlns:a16="http://schemas.microsoft.com/office/drawing/2014/main" id="{5D43A841-AD92-4556-21E4-9939D57FC0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6211892" y="1638301"/>
            <a:ext cx="5688008" cy="40386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conten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1 Placeholder">
            <a:extLst>
              <a:ext uri="{FF2B5EF4-FFF2-40B4-BE49-F238E27FC236}">
                <a16:creationId xmlns:a16="http://schemas.microsoft.com/office/drawing/2014/main" id="{BBF77ABD-CA9D-F0FB-47F7-ABF58A85B72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" hasCustomPrompt="1"/>
          </p:nvPr>
        </p:nvSpPr>
        <p:spPr>
          <a:xfrm>
            <a:off x="292100" y="1638301"/>
            <a:ext cx="5688010" cy="40386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conten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ubtitle Placeholder">
            <a:extLst>
              <a:ext uri="{FF2B5EF4-FFF2-40B4-BE49-F238E27FC236}">
                <a16:creationId xmlns:a16="http://schemas.microsoft.com/office/drawing/2014/main" id="{4DF2806F-470A-D63D-6287-2D96392FDB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330527F2-4E92-075E-0582-2535F1B4C69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05091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680">
          <p15:clr>
            <a:srgbClr val="FBAE40"/>
          </p15:clr>
        </p15:guide>
        <p15:guide id="4" pos="3768">
          <p15:clr>
            <a:srgbClr val="A4A3A4"/>
          </p15:clr>
        </p15:guide>
        <p15:guide id="5" pos="3912">
          <p15:clr>
            <a:srgbClr val="A4A3A4"/>
          </p15:clr>
        </p15:guide>
        <p15:guide id="6" pos="7495">
          <p15:clr>
            <a:srgbClr val="FBAE40"/>
          </p15:clr>
        </p15:guide>
      </p15:sldGuideLst>
    </p:ext>
  </p:extLs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F8017FC9-E5A2-9A86-585E-B5FA42E86B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879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017FC9-E5A2-9A86-585E-B5FA42E86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E94EA2D6-F376-E5FB-864F-2472964B121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4898322A-6CDF-75C0-CCAE-9F91633E2F5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Date Placeholder">
            <a:extLst>
              <a:ext uri="{FF2B5EF4-FFF2-40B4-BE49-F238E27FC236}">
                <a16:creationId xmlns:a16="http://schemas.microsoft.com/office/drawing/2014/main" id="{339D1539-DC5B-675F-DCC6-5BBCE25FC7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2EA71DC4-3628-4313-321C-9A95F89CAB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4" name="Content 2 Placeholder">
            <a:extLst>
              <a:ext uri="{FF2B5EF4-FFF2-40B4-BE49-F238E27FC236}">
                <a16:creationId xmlns:a16="http://schemas.microsoft.com/office/drawing/2014/main" id="{5D43A841-AD92-4556-21E4-9939D57FC0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6211892" y="3771899"/>
            <a:ext cx="5688008" cy="1905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conten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Image/Content 2 Placeholder">
            <a:extLst>
              <a:ext uri="{FF2B5EF4-FFF2-40B4-BE49-F238E27FC236}">
                <a16:creationId xmlns:a16="http://schemas.microsoft.com/office/drawing/2014/main" id="{F551C892-6720-FE2B-D337-A46B9C4D713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6" hasCustomPrompt="1"/>
          </p:nvPr>
        </p:nvSpPr>
        <p:spPr>
          <a:xfrm>
            <a:off x="6211892" y="1638300"/>
            <a:ext cx="5688009" cy="1905000"/>
          </a:xfrm>
          <a:solidFill>
            <a:srgbClr val="F0F0F0"/>
          </a:solidFill>
        </p:spPr>
        <p:txBody>
          <a:bodyPr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lvl="0"/>
            <a:r>
              <a:rPr lang="en-US"/>
              <a:t>Insert content</a:t>
            </a:r>
            <a:endParaRPr lang="en-US" dirty="0"/>
          </a:p>
        </p:txBody>
      </p:sp>
      <p:sp>
        <p:nvSpPr>
          <p:cNvPr id="3" name="Content 1 Placeholder">
            <a:extLst>
              <a:ext uri="{FF2B5EF4-FFF2-40B4-BE49-F238E27FC236}">
                <a16:creationId xmlns:a16="http://schemas.microsoft.com/office/drawing/2014/main" id="{BBF77ABD-CA9D-F0FB-47F7-ABF58A85B72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" hasCustomPrompt="1"/>
          </p:nvPr>
        </p:nvSpPr>
        <p:spPr>
          <a:xfrm>
            <a:off x="292100" y="3771899"/>
            <a:ext cx="5688010" cy="1905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conten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Image/Content 1 Placeholder">
            <a:extLst>
              <a:ext uri="{FF2B5EF4-FFF2-40B4-BE49-F238E27FC236}">
                <a16:creationId xmlns:a16="http://schemas.microsoft.com/office/drawing/2014/main" id="{A3759FC6-112A-A989-2E57-F664AD59A35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5" hasCustomPrompt="1"/>
          </p:nvPr>
        </p:nvSpPr>
        <p:spPr>
          <a:xfrm>
            <a:off x="292100" y="1638300"/>
            <a:ext cx="5688009" cy="1905000"/>
          </a:xfrm>
          <a:solidFill>
            <a:srgbClr val="F0F0F0"/>
          </a:solidFill>
        </p:spPr>
        <p:txBody>
          <a:bodyPr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lvl="0"/>
            <a:r>
              <a:rPr lang="en-US"/>
              <a:t>Insert content</a:t>
            </a:r>
            <a:endParaRPr lang="en-US" dirty="0"/>
          </a:p>
        </p:txBody>
      </p:sp>
      <p:sp>
        <p:nvSpPr>
          <p:cNvPr id="10" name="Subtitle Placeholder">
            <a:extLst>
              <a:ext uri="{FF2B5EF4-FFF2-40B4-BE49-F238E27FC236}">
                <a16:creationId xmlns:a16="http://schemas.microsoft.com/office/drawing/2014/main" id="{4DF2806F-470A-D63D-6287-2D96392FDB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330527F2-4E92-075E-0582-2535F1B4C69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4839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680">
          <p15:clr>
            <a:srgbClr val="FBAE40"/>
          </p15:clr>
        </p15:guide>
        <p15:guide id="4" pos="3768">
          <p15:clr>
            <a:srgbClr val="A4A3A4"/>
          </p15:clr>
        </p15:guide>
        <p15:guide id="5" pos="3912">
          <p15:clr>
            <a:srgbClr val="A4A3A4"/>
          </p15:clr>
        </p15:guide>
        <p15:guide id="6" pos="7495">
          <p15:clr>
            <a:srgbClr val="FBAE40"/>
          </p15:clr>
        </p15:guide>
        <p15:guide id="7" orient="horz" pos="2232">
          <p15:clr>
            <a:srgbClr val="A4A3A4"/>
          </p15:clr>
        </p15:guide>
        <p15:guide id="8" orient="horz" pos="2376">
          <p15:clr>
            <a:srgbClr val="A4A3A4"/>
          </p15:clr>
        </p15:guide>
        <p15:guide id="9" orient="horz" pos="2304">
          <p15:clr>
            <a:srgbClr val="A4A3A4"/>
          </p15:clr>
        </p15:guide>
      </p15:sldGuideLst>
    </p:ext>
  </p:extLs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Half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57BEF86-48AC-41F8-C88E-C343CF2BE7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1485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7BEF86-48AC-41F8-C88E-C343CF2BE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lock Bkgd">
            <a:extLst>
              <a:ext uri="{FF2B5EF4-FFF2-40B4-BE49-F238E27FC236}">
                <a16:creationId xmlns:a16="http://schemas.microsoft.com/office/drawing/2014/main" id="{EF28BEE6-A3B9-F3EC-053D-F000E1C0334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E94EA2D6-F376-E5FB-864F-2472964B121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pyright Line">
            <a:extLst>
              <a:ext uri="{FF2B5EF4-FFF2-40B4-BE49-F238E27FC236}">
                <a16:creationId xmlns:a16="http://schemas.microsoft.com/office/drawing/2014/main" id="{9C89E4B4-9DF8-8FBA-0988-31F1C70E415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09" y="6536551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BBBBBB"/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rgbClr val="BBBBBB"/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dirty="0">
                <a:solidFill>
                  <a:srgbClr val="BBBBBB"/>
                </a:solidFill>
              </a:rPr>
              <a:t> Nielsen Consumer LLC. All Rights Reserved.</a:t>
            </a:r>
          </a:p>
        </p:txBody>
      </p:sp>
      <p:sp>
        <p:nvSpPr>
          <p:cNvPr id="12" name="Confidential disclaimer">
            <a:extLst>
              <a:ext uri="{FF2B5EF4-FFF2-40B4-BE49-F238E27FC236}">
                <a16:creationId xmlns:a16="http://schemas.microsoft.com/office/drawing/2014/main" id="{96AB6125-A385-529E-E151-BDF1D0C7EF7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id="{E1297F61-9D45-2558-68F0-C18078DF95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3251200" y="6495102"/>
            <a:ext cx="2551110" cy="282957"/>
          </a:xfrm>
        </p:spPr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Date Placeholder">
            <a:extLst>
              <a:ext uri="{FF2B5EF4-FFF2-40B4-BE49-F238E27FC236}">
                <a16:creationId xmlns:a16="http://schemas.microsoft.com/office/drawing/2014/main" id="{339D1539-DC5B-675F-DCC6-5BBCE25FC7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cxnSp>
        <p:nvCxnSpPr>
          <p:cNvPr id="17" name="Base Rule">
            <a:extLst>
              <a:ext uri="{FF2B5EF4-FFF2-40B4-BE49-F238E27FC236}">
                <a16:creationId xmlns:a16="http://schemas.microsoft.com/office/drawing/2014/main" id="{0DFE5D64-C53A-A500-F0A7-C09857B818AB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292100" y="6395755"/>
            <a:ext cx="1160780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2EA71DC4-3628-4313-321C-9A95F89CAB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4" name="Content 2 Placeholder">
            <a:extLst>
              <a:ext uri="{FF2B5EF4-FFF2-40B4-BE49-F238E27FC236}">
                <a16:creationId xmlns:a16="http://schemas.microsoft.com/office/drawing/2014/main" id="{5D43A841-AD92-4556-21E4-9939D57FC0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6388100" y="1638301"/>
            <a:ext cx="5511800" cy="40386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conten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Subtitle 2 Placeholder">
            <a:extLst>
              <a:ext uri="{FF2B5EF4-FFF2-40B4-BE49-F238E27FC236}">
                <a16:creationId xmlns:a16="http://schemas.microsoft.com/office/drawing/2014/main" id="{9B24A1DB-1E99-30C3-D014-5A6DEDB3C66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 hasCustomPrompt="1"/>
          </p:nvPr>
        </p:nvSpPr>
        <p:spPr>
          <a:xfrm>
            <a:off x="6388895" y="579495"/>
            <a:ext cx="5511005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11" name="Title 2 Placeholder">
            <a:extLst>
              <a:ext uri="{FF2B5EF4-FFF2-40B4-BE49-F238E27FC236}">
                <a16:creationId xmlns:a16="http://schemas.microsoft.com/office/drawing/2014/main" id="{A1808D7B-A584-646A-5554-EA7041352FF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6383895" y="274634"/>
            <a:ext cx="5514418" cy="295756"/>
          </a:xfrm>
        </p:spPr>
        <p:txBody>
          <a:bodyPr anchor="t" anchorCtr="0">
            <a:noAutofit/>
          </a:bodyPr>
          <a:lstStyle>
            <a:lvl1pPr marL="0" indent="0" rtl="0">
              <a:buFont typeface="Arial" panose="020B0604020202020204" pitchFamily="34" charset="0"/>
              <a:buNone/>
              <a:defRPr sz="2000" b="1"/>
            </a:lvl1pPr>
          </a:lstStyle>
          <a:p>
            <a:pPr lvl="0"/>
            <a:r>
              <a:rPr lang="en-US" dirty="0"/>
              <a:t>Insert your slide title in Arial Bold 20pt</a:t>
            </a:r>
          </a:p>
        </p:txBody>
      </p:sp>
      <p:sp>
        <p:nvSpPr>
          <p:cNvPr id="3" name="Content 1 Placeholder">
            <a:extLst>
              <a:ext uri="{FF2B5EF4-FFF2-40B4-BE49-F238E27FC236}">
                <a16:creationId xmlns:a16="http://schemas.microsoft.com/office/drawing/2014/main" id="{BBF77ABD-CA9D-F0FB-47F7-ABF58A85B72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" hasCustomPrompt="1"/>
          </p:nvPr>
        </p:nvSpPr>
        <p:spPr>
          <a:xfrm>
            <a:off x="292100" y="1638301"/>
            <a:ext cx="5510210" cy="40386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conten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ubtitle 1 Placeholder">
            <a:extLst>
              <a:ext uri="{FF2B5EF4-FFF2-40B4-BE49-F238E27FC236}">
                <a16:creationId xmlns:a16="http://schemas.microsoft.com/office/drawing/2014/main" id="{4DF2806F-470A-D63D-6287-2D96392FDB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5511005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2" name="Title 1 Placeholder">
            <a:extLst>
              <a:ext uri="{FF2B5EF4-FFF2-40B4-BE49-F238E27FC236}">
                <a16:creationId xmlns:a16="http://schemas.microsoft.com/office/drawing/2014/main" id="{330527F2-4E92-075E-0582-2535F1B4C69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5513623" cy="26559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2180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680">
          <p15:clr>
            <a:srgbClr val="FBAE40"/>
          </p15:clr>
        </p15:guide>
        <p15:guide id="4" pos="3768">
          <p15:clr>
            <a:srgbClr val="A4A3A4"/>
          </p15:clr>
        </p15:guide>
        <p15:guide id="5" pos="3912">
          <p15:clr>
            <a:srgbClr val="A4A3A4"/>
          </p15:clr>
        </p15:guide>
        <p15:guide id="6" pos="7495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">
            <a:extLst>
              <a:ext uri="{FF2B5EF4-FFF2-40B4-BE49-F238E27FC236}">
                <a16:creationId xmlns:a16="http://schemas.microsoft.com/office/drawing/2014/main" id="{F9147370-4CB5-4DED-AFC1-3924091C14B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" y="0"/>
            <a:ext cx="7824192" cy="6858000"/>
          </a:xfrm>
          <a:custGeom>
            <a:avLst/>
            <a:gdLst>
              <a:gd name="connsiteX0" fmla="*/ 0 w 8112125"/>
              <a:gd name="connsiteY0" fmla="*/ 0 h 6858000"/>
              <a:gd name="connsiteX1" fmla="*/ 8112125 w 8112125"/>
              <a:gd name="connsiteY1" fmla="*/ 0 h 6858000"/>
              <a:gd name="connsiteX2" fmla="*/ 8112125 w 8112125"/>
              <a:gd name="connsiteY2" fmla="*/ 6858000 h 6858000"/>
              <a:gd name="connsiteX3" fmla="*/ 0 w 811212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12125" h="6858000">
                <a:moveTo>
                  <a:pt x="0" y="0"/>
                </a:moveTo>
                <a:lnTo>
                  <a:pt x="8112125" y="0"/>
                </a:lnTo>
                <a:lnTo>
                  <a:pt x="811212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6D9DC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8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sp>
        <p:nvSpPr>
          <p:cNvPr id="22" name="Content">
            <a:extLst>
              <a:ext uri="{FF2B5EF4-FFF2-40B4-BE49-F238E27FC236}">
                <a16:creationId xmlns:a16="http://schemas.microsoft.com/office/drawing/2014/main" id="{93536E9D-E5E2-4B0C-91F6-B80985E0540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400256" y="1484784"/>
            <a:ext cx="2880320" cy="4608512"/>
          </a:xfrm>
          <a:solidFill>
            <a:schemeClr val="bg1"/>
          </a:solidFill>
        </p:spPr>
        <p:txBody>
          <a:bodyPr lIns="0" tIns="0" rIns="0" bIns="0"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13D68D4-6ACC-C20D-4759-F19E61D9AB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7D4DE04-EB8A-4568-B340-993550858F77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D2D84D-6F02-C357-984C-E85E1F7C68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9F18E5F-9F75-692D-6F83-2EBE624C80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11654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Half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691163E4-D4F9-3200-995A-29DBC47605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4183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1163E4-D4F9-3200-995A-29DBC47605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lock Bkgd">
            <a:extLst>
              <a:ext uri="{FF2B5EF4-FFF2-40B4-BE49-F238E27FC236}">
                <a16:creationId xmlns:a16="http://schemas.microsoft.com/office/drawing/2014/main" id="{EF28BEE6-A3B9-F3EC-053D-F000E1C0334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E94EA2D6-F376-E5FB-864F-2472964B121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85399"/>
            <a:ext cx="404321" cy="282957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pyright Line">
            <a:extLst>
              <a:ext uri="{FF2B5EF4-FFF2-40B4-BE49-F238E27FC236}">
                <a16:creationId xmlns:a16="http://schemas.microsoft.com/office/drawing/2014/main" id="{9C89E4B4-9DF8-8FBA-0988-31F1C70E415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09" y="6536551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Nielsen Consumer LLC. All Rights Reserved.</a:t>
            </a:r>
          </a:p>
        </p:txBody>
      </p:sp>
      <p:sp>
        <p:nvSpPr>
          <p:cNvPr id="8" name="Confidential disclaimer">
            <a:extLst>
              <a:ext uri="{FF2B5EF4-FFF2-40B4-BE49-F238E27FC236}">
                <a16:creationId xmlns:a16="http://schemas.microsoft.com/office/drawing/2014/main" id="{23E65464-19C9-DB30-2F4C-D472D2E89EB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id="{E1297F61-9D45-2558-68F0-C18078DF95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3251200" y="6485399"/>
            <a:ext cx="2551110" cy="282957"/>
          </a:xfrm>
        </p:spPr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Date Placeholder">
            <a:extLst>
              <a:ext uri="{FF2B5EF4-FFF2-40B4-BE49-F238E27FC236}">
                <a16:creationId xmlns:a16="http://schemas.microsoft.com/office/drawing/2014/main" id="{339D1539-DC5B-675F-DCC6-5BBCE25FC7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85399"/>
            <a:ext cx="757238" cy="282957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cxnSp>
        <p:nvCxnSpPr>
          <p:cNvPr id="17" name="Base Rule">
            <a:extLst>
              <a:ext uri="{FF2B5EF4-FFF2-40B4-BE49-F238E27FC236}">
                <a16:creationId xmlns:a16="http://schemas.microsoft.com/office/drawing/2014/main" id="{0DFE5D64-C53A-A500-F0A7-C09857B818AB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6096000" y="6395755"/>
            <a:ext cx="580390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2EA71DC4-3628-4313-321C-9A95F89CAB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4" name="Content 2 Placeholder">
            <a:extLst>
              <a:ext uri="{FF2B5EF4-FFF2-40B4-BE49-F238E27FC236}">
                <a16:creationId xmlns:a16="http://schemas.microsoft.com/office/drawing/2014/main" id="{5D43A841-AD92-4556-21E4-9939D57FC0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6388100" y="1638301"/>
            <a:ext cx="5511800" cy="4038600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conten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Subtitle 2 Placeholder">
            <a:extLst>
              <a:ext uri="{FF2B5EF4-FFF2-40B4-BE49-F238E27FC236}">
                <a16:creationId xmlns:a16="http://schemas.microsoft.com/office/drawing/2014/main" id="{9B24A1DB-1E99-30C3-D014-5A6DEDB3C66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 hasCustomPrompt="1"/>
          </p:nvPr>
        </p:nvSpPr>
        <p:spPr>
          <a:xfrm>
            <a:off x="6388895" y="579495"/>
            <a:ext cx="5511005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6" name="Title 2 Placeholder">
            <a:extLst>
              <a:ext uri="{FF2B5EF4-FFF2-40B4-BE49-F238E27FC236}">
                <a16:creationId xmlns:a16="http://schemas.microsoft.com/office/drawing/2014/main" id="{A36FABAF-7E80-EFD2-0E01-79E8B041B9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6383895" y="274634"/>
            <a:ext cx="5514418" cy="295756"/>
          </a:xfrm>
        </p:spPr>
        <p:txBody>
          <a:bodyPr anchor="t" anchorCtr="0">
            <a:noAutofit/>
          </a:bodyPr>
          <a:lstStyle>
            <a:lvl1pPr marL="0" indent="0" rtl="0">
              <a:buFont typeface="Arial" panose="020B0604020202020204" pitchFamily="34" charset="0"/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your slide title in Arial Bold 20pt</a:t>
            </a:r>
          </a:p>
        </p:txBody>
      </p:sp>
      <p:sp>
        <p:nvSpPr>
          <p:cNvPr id="3" name="Content 1 Placeholder">
            <a:extLst>
              <a:ext uri="{FF2B5EF4-FFF2-40B4-BE49-F238E27FC236}">
                <a16:creationId xmlns:a16="http://schemas.microsoft.com/office/drawing/2014/main" id="{BBF77ABD-CA9D-F0FB-47F7-ABF58A85B72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" hasCustomPrompt="1"/>
          </p:nvPr>
        </p:nvSpPr>
        <p:spPr>
          <a:xfrm>
            <a:off x="292100" y="1638301"/>
            <a:ext cx="5510210" cy="40386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conten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ubtitle 1 Placeholder">
            <a:extLst>
              <a:ext uri="{FF2B5EF4-FFF2-40B4-BE49-F238E27FC236}">
                <a16:creationId xmlns:a16="http://schemas.microsoft.com/office/drawing/2014/main" id="{4DF2806F-470A-D63D-6287-2D96392FDB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5511005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2" name="Title 1 Placeholder">
            <a:extLst>
              <a:ext uri="{FF2B5EF4-FFF2-40B4-BE49-F238E27FC236}">
                <a16:creationId xmlns:a16="http://schemas.microsoft.com/office/drawing/2014/main" id="{330527F2-4E92-075E-0582-2535F1B4C69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5513623" cy="26559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44234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680">
          <p15:clr>
            <a:srgbClr val="FBAE40"/>
          </p15:clr>
        </p15:guide>
        <p15:guide id="4" pos="3768">
          <p15:clr>
            <a:srgbClr val="A4A3A4"/>
          </p15:clr>
        </p15:guide>
        <p15:guide id="5" pos="3912">
          <p15:clr>
            <a:srgbClr val="A4A3A4"/>
          </p15:clr>
        </p15:guide>
        <p15:guide id="6" pos="7495">
          <p15:clr>
            <a:srgbClr val="FBAE40"/>
          </p15:clr>
        </p15:guide>
      </p15:sldGuideLst>
    </p:ext>
  </p:extLs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Half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427D224E-0376-E20D-B4F5-86B2CDEE20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6258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7D224E-0376-E20D-B4F5-86B2CDEE2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lock Bkgd">
            <a:extLst>
              <a:ext uri="{FF2B5EF4-FFF2-40B4-BE49-F238E27FC236}">
                <a16:creationId xmlns:a16="http://schemas.microsoft.com/office/drawing/2014/main" id="{EF28BEE6-A3B9-F3EC-053D-F000E1C0334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E94EA2D6-F376-E5FB-864F-2472964B121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pyright Line">
            <a:extLst>
              <a:ext uri="{FF2B5EF4-FFF2-40B4-BE49-F238E27FC236}">
                <a16:creationId xmlns:a16="http://schemas.microsoft.com/office/drawing/2014/main" id="{9C89E4B4-9DF8-8FBA-0988-31F1C70E415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09" y="6536551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Nielsen Consumer LLC. All Rights Reserved.</a:t>
            </a:r>
          </a:p>
        </p:txBody>
      </p:sp>
      <p:sp>
        <p:nvSpPr>
          <p:cNvPr id="8" name="Confidential disclaimer">
            <a:extLst>
              <a:ext uri="{FF2B5EF4-FFF2-40B4-BE49-F238E27FC236}">
                <a16:creationId xmlns:a16="http://schemas.microsoft.com/office/drawing/2014/main" id="{96D5C3C7-B3B0-FB86-5907-4E244DADEAE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id="{E1297F61-9D45-2558-68F0-C18078DF95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3251200" y="6485399"/>
            <a:ext cx="2551110" cy="282957"/>
          </a:xfrm>
        </p:spPr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Date Placeholder">
            <a:extLst>
              <a:ext uri="{FF2B5EF4-FFF2-40B4-BE49-F238E27FC236}">
                <a16:creationId xmlns:a16="http://schemas.microsoft.com/office/drawing/2014/main" id="{339D1539-DC5B-675F-DCC6-5BBCE25FC7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cxnSp>
        <p:nvCxnSpPr>
          <p:cNvPr id="17" name="Base Rule">
            <a:extLst>
              <a:ext uri="{FF2B5EF4-FFF2-40B4-BE49-F238E27FC236}">
                <a16:creationId xmlns:a16="http://schemas.microsoft.com/office/drawing/2014/main" id="{0DFE5D64-C53A-A500-F0A7-C09857B818AB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6096000" y="6395755"/>
            <a:ext cx="580390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2EA71DC4-3628-4313-321C-9A95F89CAB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4" name="Content 2 Placeholder">
            <a:extLst>
              <a:ext uri="{FF2B5EF4-FFF2-40B4-BE49-F238E27FC236}">
                <a16:creationId xmlns:a16="http://schemas.microsoft.com/office/drawing/2014/main" id="{5D43A841-AD92-4556-21E4-9939D57FC0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6388100" y="1638301"/>
            <a:ext cx="5511800" cy="4038600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conten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Subtitle 2 Placeholder">
            <a:extLst>
              <a:ext uri="{FF2B5EF4-FFF2-40B4-BE49-F238E27FC236}">
                <a16:creationId xmlns:a16="http://schemas.microsoft.com/office/drawing/2014/main" id="{9B24A1DB-1E99-30C3-D014-5A6DEDB3C66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 hasCustomPrompt="1"/>
          </p:nvPr>
        </p:nvSpPr>
        <p:spPr>
          <a:xfrm>
            <a:off x="6388895" y="579495"/>
            <a:ext cx="5511005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6" name="Title 2 Placeholder">
            <a:extLst>
              <a:ext uri="{FF2B5EF4-FFF2-40B4-BE49-F238E27FC236}">
                <a16:creationId xmlns:a16="http://schemas.microsoft.com/office/drawing/2014/main" id="{2D03B6C0-C08D-EDFA-F4C8-01772C443E6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 hasCustomPrompt="1"/>
          </p:nvPr>
        </p:nvSpPr>
        <p:spPr>
          <a:xfrm>
            <a:off x="6383895" y="274634"/>
            <a:ext cx="5514418" cy="295756"/>
          </a:xfrm>
        </p:spPr>
        <p:txBody>
          <a:bodyPr anchor="t" anchorCtr="0">
            <a:noAutofit/>
          </a:bodyPr>
          <a:lstStyle>
            <a:lvl1pPr marL="0" indent="0" rtl="0">
              <a:buFont typeface="Arial" panose="020B0604020202020204" pitchFamily="34" charset="0"/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your slide title in Arial Bold 20pt</a:t>
            </a:r>
          </a:p>
        </p:txBody>
      </p:sp>
      <p:sp>
        <p:nvSpPr>
          <p:cNvPr id="3" name="Content 1 Placeholder">
            <a:extLst>
              <a:ext uri="{FF2B5EF4-FFF2-40B4-BE49-F238E27FC236}">
                <a16:creationId xmlns:a16="http://schemas.microsoft.com/office/drawing/2014/main" id="{BBF77ABD-CA9D-F0FB-47F7-ABF58A85B72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" hasCustomPrompt="1"/>
          </p:nvPr>
        </p:nvSpPr>
        <p:spPr>
          <a:xfrm>
            <a:off x="292100" y="1638301"/>
            <a:ext cx="5510210" cy="40386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conten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ubtitle 1 Placeholder">
            <a:extLst>
              <a:ext uri="{FF2B5EF4-FFF2-40B4-BE49-F238E27FC236}">
                <a16:creationId xmlns:a16="http://schemas.microsoft.com/office/drawing/2014/main" id="{4DF2806F-470A-D63D-6287-2D96392FDB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5511005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2" name="Title 1 Placeholder">
            <a:extLst>
              <a:ext uri="{FF2B5EF4-FFF2-40B4-BE49-F238E27FC236}">
                <a16:creationId xmlns:a16="http://schemas.microsoft.com/office/drawing/2014/main" id="{330527F2-4E92-075E-0582-2535F1B4C69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5513623" cy="26559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4995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680">
          <p15:clr>
            <a:srgbClr val="FBAE40"/>
          </p15:clr>
        </p15:guide>
        <p15:guide id="4" pos="3768">
          <p15:clr>
            <a:srgbClr val="A4A3A4"/>
          </p15:clr>
        </p15:guide>
        <p15:guide id="5" pos="3912">
          <p15:clr>
            <a:srgbClr val="A4A3A4"/>
          </p15:clr>
        </p15:guide>
        <p15:guide id="6" pos="7495">
          <p15:clr>
            <a:srgbClr val="FBAE40"/>
          </p15:clr>
        </p15:guide>
      </p15:sldGuideLst>
    </p:ext>
  </p:extLs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A974BA6-B27C-48A4-3DC7-4D656DC604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6133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974BA6-B27C-48A4-3DC7-4D656DC60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ule Block">
            <a:extLst>
              <a:ext uri="{FF2B5EF4-FFF2-40B4-BE49-F238E27FC236}">
                <a16:creationId xmlns:a16="http://schemas.microsoft.com/office/drawing/2014/main" id="{658D6E94-1F36-94B6-33A7-7C708E049D3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5802310" y="6299199"/>
            <a:ext cx="293690" cy="1861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US" dirty="0"/>
          </a:p>
        </p:txBody>
      </p:sp>
      <p:sp>
        <p:nvSpPr>
          <p:cNvPr id="12" name="Picture Placeholder">
            <a:extLst>
              <a:ext uri="{FF2B5EF4-FFF2-40B4-BE49-F238E27FC236}">
                <a16:creationId xmlns:a16="http://schemas.microsoft.com/office/drawing/2014/main" id="{7A78F6A2-6801-C5FD-6F85-67A9BBDEF53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7" hasCustomPrompt="1"/>
          </p:nvPr>
        </p:nvSpPr>
        <p:spPr>
          <a:xfrm>
            <a:off x="6096000" y="0"/>
            <a:ext cx="6096000" cy="6858000"/>
          </a:xfrm>
          <a:solidFill>
            <a:schemeClr val="tx1">
              <a:lumMod val="60000"/>
              <a:lumOff val="40000"/>
            </a:schemeClr>
          </a:solidFill>
        </p:spPr>
        <p:txBody>
          <a:bodyPr lIns="182880" tIns="91440" rIns="274320" anchor="t">
            <a:normAutofit/>
          </a:bodyPr>
          <a:lstStyle>
            <a:lvl1pPr marL="174625" indent="-174625" algn="l" rtl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rgbClr val="FFFF00"/>
                </a:solidFill>
              </a:defRPr>
            </a:lvl1pPr>
          </a:lstStyle>
          <a:p>
            <a:r>
              <a:rPr lang="en-US" dirty="0"/>
              <a:t>To add image: </a:t>
            </a:r>
            <a:br>
              <a:rPr lang="en-US" dirty="0"/>
            </a:br>
            <a:r>
              <a:rPr lang="en-US" dirty="0"/>
              <a:t>1. Select image placeholder </a:t>
            </a:r>
            <a:br>
              <a:rPr lang="en-US" dirty="0"/>
            </a:br>
            <a:r>
              <a:rPr lang="en-US" dirty="0"/>
              <a:t>2. Drag/drop file or copy/paste image into slide (.jpg, .gif, .</a:t>
            </a:r>
            <a:r>
              <a:rPr lang="en-US" dirty="0" err="1"/>
              <a:t>png</a:t>
            </a:r>
            <a:r>
              <a:rPr lang="en-US" dirty="0"/>
              <a:t>) </a:t>
            </a:r>
            <a:br>
              <a:rPr lang="en-US" dirty="0"/>
            </a:br>
            <a:r>
              <a:rPr lang="en-US" dirty="0"/>
              <a:t>3. Right-click image and “Send to back”</a:t>
            </a:r>
          </a:p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E94EA2D6-F376-E5FB-864F-2472964B121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pyright Line">
            <a:extLst>
              <a:ext uri="{FF2B5EF4-FFF2-40B4-BE49-F238E27FC236}">
                <a16:creationId xmlns:a16="http://schemas.microsoft.com/office/drawing/2014/main" id="{9C89E4B4-9DF8-8FBA-0988-31F1C70E415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09" y="6536551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Nielsen Consumer LLC. All Rights Reserved.</a:t>
            </a:r>
          </a:p>
        </p:txBody>
      </p:sp>
      <p:sp>
        <p:nvSpPr>
          <p:cNvPr id="8" name="Confidential disclaimer">
            <a:extLst>
              <a:ext uri="{FF2B5EF4-FFF2-40B4-BE49-F238E27FC236}">
                <a16:creationId xmlns:a16="http://schemas.microsoft.com/office/drawing/2014/main" id="{96D5C3C7-B3B0-FB86-5907-4E244DADEAE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id="{E1297F61-9D45-2558-68F0-C18078DF95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3251200" y="6485399"/>
            <a:ext cx="2551110" cy="282957"/>
          </a:xfrm>
        </p:spPr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Date Placeholder">
            <a:extLst>
              <a:ext uri="{FF2B5EF4-FFF2-40B4-BE49-F238E27FC236}">
                <a16:creationId xmlns:a16="http://schemas.microsoft.com/office/drawing/2014/main" id="{339D1539-DC5B-675F-DCC6-5BBCE25FC7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2EA71DC4-3628-4313-321C-9A95F89CAB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551021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3" name="Content 1 Placeholder">
            <a:extLst>
              <a:ext uri="{FF2B5EF4-FFF2-40B4-BE49-F238E27FC236}">
                <a16:creationId xmlns:a16="http://schemas.microsoft.com/office/drawing/2014/main" id="{BBF77ABD-CA9D-F0FB-47F7-ABF58A85B72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" hasCustomPrompt="1"/>
          </p:nvPr>
        </p:nvSpPr>
        <p:spPr>
          <a:xfrm>
            <a:off x="292100" y="1638301"/>
            <a:ext cx="5510210" cy="40386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conten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ubtitle 1 Placeholder">
            <a:extLst>
              <a:ext uri="{FF2B5EF4-FFF2-40B4-BE49-F238E27FC236}">
                <a16:creationId xmlns:a16="http://schemas.microsoft.com/office/drawing/2014/main" id="{4DF2806F-470A-D63D-6287-2D96392FDB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5511005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2" name="Title 1 Placeholder">
            <a:extLst>
              <a:ext uri="{FF2B5EF4-FFF2-40B4-BE49-F238E27FC236}">
                <a16:creationId xmlns:a16="http://schemas.microsoft.com/office/drawing/2014/main" id="{330527F2-4E92-075E-0582-2535F1B4C69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5513623" cy="26559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  <p:sp>
        <p:nvSpPr>
          <p:cNvPr id="22" name="Off-slide Instructions">
            <a:extLst>
              <a:ext uri="{FF2B5EF4-FFF2-40B4-BE49-F238E27FC236}">
                <a16:creationId xmlns:a16="http://schemas.microsoft.com/office/drawing/2014/main" id="{960CB651-6B1A-3200-5D2F-A4891428ED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2338614" y="0"/>
            <a:ext cx="2812486" cy="2373888"/>
          </a:xfrm>
          <a:prstGeom prst="bracketPair">
            <a:avLst>
              <a:gd name="adj" fmla="val 4083"/>
            </a:avLst>
          </a:prstGeom>
          <a:solidFill>
            <a:srgbClr val="FFFF00">
              <a:alpha val="80000"/>
            </a:srgbClr>
          </a:solidFill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spAutoFit/>
          </a:bodyPr>
          <a:lstStyle/>
          <a:p>
            <a:pPr marL="0" indent="0" algn="l" defTabSz="914400" rtl="0" eaLnBrk="1" latinLnBrk="0" hangingPunct="1">
              <a:spcAft>
                <a:spcPts val="400"/>
              </a:spcAft>
              <a:buFont typeface="+mj-lt"/>
              <a:buNone/>
            </a:pPr>
            <a:r>
              <a:rPr lang="en-US" sz="1200" b="1" kern="1200" dirty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If copyright line, disclaimer, slide #, etc. are missing:</a:t>
            </a:r>
          </a:p>
          <a:p>
            <a:pPr marL="177800" lvl="0" indent="-177800" rtl="0">
              <a:spcAft>
                <a:spcPts val="400"/>
              </a:spcAft>
              <a:buFont typeface="+mj-lt"/>
              <a:buAutoNum type="arabicPeriod"/>
            </a:pPr>
            <a:r>
              <a:rPr lang="en-US" sz="800" dirty="0">
                <a:solidFill>
                  <a:srgbClr val="000000"/>
                </a:solidFill>
              </a:rPr>
              <a:t>Go to </a:t>
            </a:r>
            <a:r>
              <a:rPr lang="en-US" sz="800" b="1" dirty="0">
                <a:solidFill>
                  <a:srgbClr val="000000"/>
                </a:solidFill>
              </a:rPr>
              <a:t>View &gt; Slide Master</a:t>
            </a:r>
          </a:p>
          <a:p>
            <a:pPr marL="177800" lvl="0" indent="-177800" rtl="0">
              <a:spcAft>
                <a:spcPts val="400"/>
              </a:spcAft>
              <a:buFont typeface="+mj-lt"/>
              <a:buAutoNum type="arabicPeriod"/>
            </a:pPr>
            <a:r>
              <a:rPr lang="en-US" sz="800" dirty="0">
                <a:solidFill>
                  <a:srgbClr val="000000"/>
                </a:solidFill>
              </a:rPr>
              <a:t>Copy missing elements from Layout Master</a:t>
            </a:r>
          </a:p>
          <a:p>
            <a:pPr marL="177800" lvl="0" indent="-177800" rtl="0">
              <a:spcAft>
                <a:spcPts val="400"/>
              </a:spcAft>
              <a:buFont typeface="+mj-lt"/>
              <a:buAutoNum type="arabicPeriod"/>
            </a:pPr>
            <a:r>
              <a:rPr lang="en-US" sz="800" dirty="0">
                <a:solidFill>
                  <a:srgbClr val="000000"/>
                </a:solidFill>
              </a:rPr>
              <a:t>Close Master View</a:t>
            </a:r>
          </a:p>
          <a:p>
            <a:pPr marL="177800" lvl="0" indent="-177800" rtl="0">
              <a:spcAft>
                <a:spcPts val="400"/>
              </a:spcAft>
              <a:buFont typeface="+mj-lt"/>
              <a:buAutoNum type="arabicPeriod"/>
            </a:pPr>
            <a:r>
              <a:rPr lang="en-US" sz="800" dirty="0">
                <a:solidFill>
                  <a:srgbClr val="000000"/>
                </a:solidFill>
              </a:rPr>
              <a:t>Paste on slide</a:t>
            </a:r>
            <a:endParaRPr lang="en-US" sz="1200" b="1" dirty="0">
              <a:solidFill>
                <a:srgbClr val="000000"/>
              </a:solidFill>
            </a:endParaRPr>
          </a:p>
          <a:p>
            <a:pPr rtl="0">
              <a:spcAft>
                <a:spcPts val="400"/>
              </a:spcAft>
            </a:pPr>
            <a:endParaRPr lang="en-US" sz="1200" b="1" dirty="0">
              <a:solidFill>
                <a:srgbClr val="000000"/>
              </a:solidFill>
            </a:endParaRPr>
          </a:p>
          <a:p>
            <a:pPr rtl="0">
              <a:spcAft>
                <a:spcPts val="400"/>
              </a:spcAft>
            </a:pPr>
            <a:r>
              <a:rPr lang="en-US" sz="1200" b="1" dirty="0">
                <a:solidFill>
                  <a:srgbClr val="000000"/>
                </a:solidFill>
              </a:rPr>
              <a:t>To replace existing image:</a:t>
            </a:r>
          </a:p>
          <a:p>
            <a:pPr marL="174625" indent="-174625" rtl="0">
              <a:spcAft>
                <a:spcPts val="400"/>
              </a:spcAft>
              <a:buFont typeface="+mj-lt"/>
              <a:buAutoNum type="arabicPeriod"/>
            </a:pPr>
            <a:r>
              <a:rPr lang="en-US" sz="800" dirty="0">
                <a:solidFill>
                  <a:srgbClr val="000000"/>
                </a:solidFill>
              </a:rPr>
              <a:t>Right-click image placeholder</a:t>
            </a:r>
          </a:p>
          <a:p>
            <a:pPr marL="174625" indent="-174625" rtl="0">
              <a:spcAft>
                <a:spcPts val="400"/>
              </a:spcAft>
              <a:buFont typeface="+mj-lt"/>
              <a:buAutoNum type="arabicPeriod"/>
            </a:pPr>
            <a:r>
              <a:rPr lang="en-US" sz="800" dirty="0">
                <a:solidFill>
                  <a:srgbClr val="000000"/>
                </a:solidFill>
              </a:rPr>
              <a:t>Select </a:t>
            </a:r>
            <a:r>
              <a:rPr lang="en-US" sz="800" b="1" dirty="0">
                <a:solidFill>
                  <a:srgbClr val="000000"/>
                </a:solidFill>
              </a:rPr>
              <a:t>Change Picture</a:t>
            </a:r>
          </a:p>
          <a:p>
            <a:pPr marL="174625" indent="-174625" rtl="0">
              <a:spcAft>
                <a:spcPts val="400"/>
              </a:spcAft>
              <a:buFont typeface="+mj-lt"/>
              <a:buAutoNum type="arabicPeriod"/>
            </a:pPr>
            <a:r>
              <a:rPr lang="en-US" sz="800" dirty="0">
                <a:solidFill>
                  <a:srgbClr val="000000"/>
                </a:solidFill>
              </a:rPr>
              <a:t>Select</a:t>
            </a:r>
            <a:r>
              <a:rPr lang="en-US" sz="800" b="1" dirty="0">
                <a:solidFill>
                  <a:srgbClr val="000000"/>
                </a:solidFill>
              </a:rPr>
              <a:t> desired </a:t>
            </a:r>
            <a:r>
              <a:rPr lang="en-US" sz="800" dirty="0">
                <a:solidFill>
                  <a:srgbClr val="000000"/>
                </a:solidFill>
              </a:rPr>
              <a:t>image file (.jpg, .</a:t>
            </a:r>
            <a:r>
              <a:rPr lang="en-US" sz="800" dirty="0" err="1">
                <a:solidFill>
                  <a:srgbClr val="000000"/>
                </a:solidFill>
              </a:rPr>
              <a:t>png</a:t>
            </a:r>
            <a:r>
              <a:rPr lang="en-US" sz="800" dirty="0">
                <a:solidFill>
                  <a:srgbClr val="000000"/>
                </a:solidFill>
              </a:rPr>
              <a:t>, .gif)</a:t>
            </a:r>
          </a:p>
          <a:p>
            <a:pPr marL="174625" indent="-174625" rtl="0">
              <a:spcAft>
                <a:spcPts val="400"/>
              </a:spcAft>
              <a:buFont typeface="+mj-lt"/>
              <a:buAutoNum type="arabicPeriod"/>
            </a:pPr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52510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680">
          <p15:clr>
            <a:srgbClr val="FBAE40"/>
          </p15:clr>
        </p15:guide>
        <p15:guide id="4" pos="3768">
          <p15:clr>
            <a:srgbClr val="A4A3A4"/>
          </p15:clr>
        </p15:guide>
        <p15:guide id="5" pos="3912">
          <p15:clr>
            <a:srgbClr val="A4A3A4"/>
          </p15:clr>
        </p15:guide>
        <p15:guide id="6" pos="7495">
          <p15:clr>
            <a:srgbClr val="FBAE40"/>
          </p15:clr>
        </p15:guide>
      </p15:sldGuideLst>
    </p:ext>
  </p:extLs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6C245516-1891-24A0-5498-189871303C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1037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245516-1891-24A0-5498-189871303C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334999CC-B0E8-932E-3334-1667B3798F0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CFA438E1-E88D-115E-D3AC-C02C6E11C4B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3" name="Date Placeholder">
            <a:extLst>
              <a:ext uri="{FF2B5EF4-FFF2-40B4-BE49-F238E27FC236}">
                <a16:creationId xmlns:a16="http://schemas.microsoft.com/office/drawing/2014/main" id="{A9C7E5F4-8ACB-AE44-BEFF-CFE9E0596F3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12" name="Source Placeholder">
            <a:extLst>
              <a:ext uri="{FF2B5EF4-FFF2-40B4-BE49-F238E27FC236}">
                <a16:creationId xmlns:a16="http://schemas.microsoft.com/office/drawing/2014/main" id="{C3339F06-F87A-3EB3-4646-D4F9A9AC27A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6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11" name="Content 3 Placeholder">
            <a:extLst>
              <a:ext uri="{FF2B5EF4-FFF2-40B4-BE49-F238E27FC236}">
                <a16:creationId xmlns:a16="http://schemas.microsoft.com/office/drawing/2014/main" id="{F0ADA552-6794-0F4D-013E-A6DA97DBFF4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5" hasCustomPrompt="1"/>
          </p:nvPr>
        </p:nvSpPr>
        <p:spPr>
          <a:xfrm>
            <a:off x="8199441" y="2019300"/>
            <a:ext cx="3700459" cy="36576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Header 3 Placeholder">
            <a:extLst>
              <a:ext uri="{FF2B5EF4-FFF2-40B4-BE49-F238E27FC236}">
                <a16:creationId xmlns:a16="http://schemas.microsoft.com/office/drawing/2014/main" id="{2E94C2A3-89CF-36E6-BD07-E465D92FB48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8199441" y="1308100"/>
            <a:ext cx="3710815" cy="620525"/>
          </a:xfrm>
        </p:spPr>
        <p:txBody>
          <a:bodyPr anchor="b">
            <a:noAutofit/>
          </a:bodyPr>
          <a:lstStyle>
            <a:lvl1pPr marL="0" indent="0" rtl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column header</a:t>
            </a:r>
          </a:p>
        </p:txBody>
      </p:sp>
      <p:sp>
        <p:nvSpPr>
          <p:cNvPr id="9" name="Content 2 Placeholder">
            <a:extLst>
              <a:ext uri="{FF2B5EF4-FFF2-40B4-BE49-F238E27FC236}">
                <a16:creationId xmlns:a16="http://schemas.microsoft.com/office/drawing/2014/main" id="{EEE356A3-4F73-532E-E901-63F8001F850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4" hasCustomPrompt="1"/>
          </p:nvPr>
        </p:nvSpPr>
        <p:spPr>
          <a:xfrm>
            <a:off x="4245770" y="2019300"/>
            <a:ext cx="3700459" cy="36576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Header 2 Placeholder">
            <a:extLst>
              <a:ext uri="{FF2B5EF4-FFF2-40B4-BE49-F238E27FC236}">
                <a16:creationId xmlns:a16="http://schemas.microsoft.com/office/drawing/2014/main" id="{BC5A4612-F020-83E1-2D4D-D6D0BB5148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" hasCustomPrompt="1"/>
          </p:nvPr>
        </p:nvSpPr>
        <p:spPr>
          <a:xfrm>
            <a:off x="4240592" y="1308100"/>
            <a:ext cx="3710815" cy="620525"/>
          </a:xfrm>
        </p:spPr>
        <p:txBody>
          <a:bodyPr anchor="b">
            <a:noAutofit/>
          </a:bodyPr>
          <a:lstStyle>
            <a:lvl1pPr marL="0" indent="0" rtl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column header</a:t>
            </a:r>
          </a:p>
        </p:txBody>
      </p:sp>
      <p:sp>
        <p:nvSpPr>
          <p:cNvPr id="7" name="Content 1 Placeholder">
            <a:extLst>
              <a:ext uri="{FF2B5EF4-FFF2-40B4-BE49-F238E27FC236}">
                <a16:creationId xmlns:a16="http://schemas.microsoft.com/office/drawing/2014/main" id="{2EA745BA-CA14-8FD0-05BA-8977508264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292101" y="2019300"/>
            <a:ext cx="3700460" cy="36576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Header 1 Placeholder">
            <a:extLst>
              <a:ext uri="{FF2B5EF4-FFF2-40B4-BE49-F238E27FC236}">
                <a16:creationId xmlns:a16="http://schemas.microsoft.com/office/drawing/2014/main" id="{97696C2F-B753-BD09-3B16-F91EAC65E0F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1" y="1308100"/>
            <a:ext cx="3710815" cy="620525"/>
          </a:xfrm>
        </p:spPr>
        <p:txBody>
          <a:bodyPr anchor="b">
            <a:noAutofit/>
          </a:bodyPr>
          <a:lstStyle>
            <a:lvl1pPr marL="0" indent="0" rtl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column header</a:t>
            </a:r>
          </a:p>
        </p:txBody>
      </p:sp>
      <p:sp>
        <p:nvSpPr>
          <p:cNvPr id="28" name="Subtitle Placeholder">
            <a:extLst>
              <a:ext uri="{FF2B5EF4-FFF2-40B4-BE49-F238E27FC236}">
                <a16:creationId xmlns:a16="http://schemas.microsoft.com/office/drawing/2014/main" id="{8C1BA443-5E48-08B0-7F06-D0960B1340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54DD3914-9029-5BF1-3AFD-5FCA9538DDA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54587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525">
          <p15:clr>
            <a:srgbClr val="FDE53C"/>
          </p15:clr>
        </p15:guide>
        <p15:guide id="11" pos="2669">
          <p15:clr>
            <a:srgbClr val="FDE53C"/>
          </p15:clr>
        </p15:guide>
        <p15:guide id="18" pos="5010">
          <p15:clr>
            <a:srgbClr val="FDE53C"/>
          </p15:clr>
        </p15:guide>
        <p15:guide id="19" pos="5154">
          <p15:clr>
            <a:srgbClr val="FDE53C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0FE55B5-7C95-0BCF-F358-EAE128A129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9179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FE55B5-7C95-0BCF-F358-EAE128A129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">
            <a:extLst>
              <a:ext uri="{FF2B5EF4-FFF2-40B4-BE49-F238E27FC236}">
                <a16:creationId xmlns:a16="http://schemas.microsoft.com/office/drawing/2014/main" id="{12CCAFAE-C3C1-93DF-1738-B04D08AAA19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95100"/>
            <a:ext cx="404321" cy="282957"/>
          </a:xfrm>
        </p:spPr>
        <p:txBody>
          <a:bodyPr/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">
            <a:extLst>
              <a:ext uri="{FF2B5EF4-FFF2-40B4-BE49-F238E27FC236}">
                <a16:creationId xmlns:a16="http://schemas.microsoft.com/office/drawing/2014/main" id="{55FFC31E-E405-EE5D-84F4-271FC2E1F99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7" y="6495102"/>
            <a:ext cx="3716341" cy="282957"/>
          </a:xfrm>
        </p:spPr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12" name="Date Placeholder">
            <a:extLst>
              <a:ext uri="{FF2B5EF4-FFF2-40B4-BE49-F238E27FC236}">
                <a16:creationId xmlns:a16="http://schemas.microsoft.com/office/drawing/2014/main" id="{96FC01CD-E391-B88C-4294-55474F60DE8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2"/>
            <a:ext cx="757238" cy="282957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16" name="Source Placeholder">
            <a:extLst>
              <a:ext uri="{FF2B5EF4-FFF2-40B4-BE49-F238E27FC236}">
                <a16:creationId xmlns:a16="http://schemas.microsoft.com/office/drawing/2014/main" id="{DC33EFBA-9F80-C4A6-4F52-04BD9D8AD5B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6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17" name="Content 3 Placeholder">
            <a:extLst>
              <a:ext uri="{FF2B5EF4-FFF2-40B4-BE49-F238E27FC236}">
                <a16:creationId xmlns:a16="http://schemas.microsoft.com/office/drawing/2014/main" id="{19AC42AA-357A-BBCD-7082-438C23F9891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7" hasCustomPrompt="1"/>
          </p:nvPr>
        </p:nvSpPr>
        <p:spPr>
          <a:xfrm>
            <a:off x="8199441" y="3771900"/>
            <a:ext cx="3700459" cy="19050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Image/Content 3 Placeholder">
            <a:extLst>
              <a:ext uri="{FF2B5EF4-FFF2-40B4-BE49-F238E27FC236}">
                <a16:creationId xmlns:a16="http://schemas.microsoft.com/office/drawing/2014/main" id="{F0ADA552-6794-0F4D-013E-A6DA97DBFF4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5" hasCustomPrompt="1"/>
          </p:nvPr>
        </p:nvSpPr>
        <p:spPr>
          <a:xfrm>
            <a:off x="8199441" y="1638300"/>
            <a:ext cx="3700459" cy="1905000"/>
          </a:xfrm>
          <a:solidFill>
            <a:srgbClr val="F0F0F0"/>
          </a:solidFill>
        </p:spPr>
        <p:txBody>
          <a:bodyPr vert="horz" lIns="0" tIns="0" rIns="0" bIns="0" rtlCol="0" anchor="ctr">
            <a:noAutofit/>
          </a:bodyPr>
          <a:lstStyle>
            <a:lvl1pPr rtl="0">
              <a:defRPr lang="en-US" dirty="0"/>
            </a:lvl1pPr>
            <a:lvl2pPr marL="285750" indent="0">
              <a:buNone/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0" lvl="0" indent="0" algn="ctr">
              <a:buNone/>
            </a:pPr>
            <a:r>
              <a:rPr lang="en-US" dirty="0"/>
              <a:t>Insert your copy here</a:t>
            </a:r>
          </a:p>
        </p:txBody>
      </p:sp>
      <p:sp>
        <p:nvSpPr>
          <p:cNvPr id="18" name="Content 2 Placeholder">
            <a:extLst>
              <a:ext uri="{FF2B5EF4-FFF2-40B4-BE49-F238E27FC236}">
                <a16:creationId xmlns:a16="http://schemas.microsoft.com/office/drawing/2014/main" id="{91174CB4-C42A-BB81-5C74-7EAE27158E3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8" hasCustomPrompt="1"/>
          </p:nvPr>
        </p:nvSpPr>
        <p:spPr>
          <a:xfrm>
            <a:off x="4245770" y="3771900"/>
            <a:ext cx="3700459" cy="19050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Image/Content 2 Placeholder">
            <a:extLst>
              <a:ext uri="{FF2B5EF4-FFF2-40B4-BE49-F238E27FC236}">
                <a16:creationId xmlns:a16="http://schemas.microsoft.com/office/drawing/2014/main" id="{EEE356A3-4F73-532E-E901-63F8001F850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4" hasCustomPrompt="1"/>
          </p:nvPr>
        </p:nvSpPr>
        <p:spPr>
          <a:xfrm>
            <a:off x="4245770" y="1638300"/>
            <a:ext cx="3700459" cy="1905000"/>
          </a:xfrm>
          <a:solidFill>
            <a:srgbClr val="F0F0F0"/>
          </a:solidFill>
        </p:spPr>
        <p:txBody>
          <a:bodyPr vert="horz" lIns="0" tIns="0" rIns="0" bIns="0" rtlCol="0" anchor="ctr">
            <a:noAutofit/>
          </a:bodyPr>
          <a:lstStyle>
            <a:lvl1pPr rtl="0"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0" lvl="0" indent="0" algn="ctr">
              <a:buNone/>
            </a:pPr>
            <a:r>
              <a:rPr lang="en-US" dirty="0"/>
              <a:t>Insert your copy here</a:t>
            </a:r>
          </a:p>
        </p:txBody>
      </p:sp>
      <p:sp>
        <p:nvSpPr>
          <p:cNvPr id="19" name="Content 1 Placeholder">
            <a:extLst>
              <a:ext uri="{FF2B5EF4-FFF2-40B4-BE49-F238E27FC236}">
                <a16:creationId xmlns:a16="http://schemas.microsoft.com/office/drawing/2014/main" id="{20DCDE7D-AA2C-B7B3-8FBD-202D432B2BC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9" hasCustomPrompt="1"/>
          </p:nvPr>
        </p:nvSpPr>
        <p:spPr>
          <a:xfrm>
            <a:off x="292101" y="3771900"/>
            <a:ext cx="3700460" cy="19050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Image/Content 1 Placeholder">
            <a:extLst>
              <a:ext uri="{FF2B5EF4-FFF2-40B4-BE49-F238E27FC236}">
                <a16:creationId xmlns:a16="http://schemas.microsoft.com/office/drawing/2014/main" id="{2EA745BA-CA14-8FD0-05BA-8977508264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292101" y="1638300"/>
            <a:ext cx="3700460" cy="1905000"/>
          </a:xfrm>
          <a:solidFill>
            <a:srgbClr val="F0F0F0"/>
          </a:solidFill>
        </p:spPr>
        <p:txBody>
          <a:bodyPr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lvl="0"/>
            <a:r>
              <a:rPr lang="en-US"/>
              <a:t>Insert content</a:t>
            </a:r>
            <a:endParaRPr lang="en-US" dirty="0"/>
          </a:p>
        </p:txBody>
      </p:sp>
      <p:sp>
        <p:nvSpPr>
          <p:cNvPr id="20" name="Subtitle Placeholder">
            <a:extLst>
              <a:ext uri="{FF2B5EF4-FFF2-40B4-BE49-F238E27FC236}">
                <a16:creationId xmlns:a16="http://schemas.microsoft.com/office/drawing/2014/main" id="{54C4B065-17A6-1D25-422B-92271767584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21" name="Title Placeholder">
            <a:extLst>
              <a:ext uri="{FF2B5EF4-FFF2-40B4-BE49-F238E27FC236}">
                <a16:creationId xmlns:a16="http://schemas.microsoft.com/office/drawing/2014/main" id="{F79F3FC7-37DD-5A7A-D505-4F22DDE2487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11613314" cy="26559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7210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525">
          <p15:clr>
            <a:srgbClr val="FDE53C"/>
          </p15:clr>
        </p15:guide>
        <p15:guide id="11" pos="2669">
          <p15:clr>
            <a:srgbClr val="FDE53C"/>
          </p15:clr>
        </p15:guide>
        <p15:guide id="18" pos="5010">
          <p15:clr>
            <a:srgbClr val="FDE53C"/>
          </p15:clr>
        </p15:guide>
        <p15:guide id="19" pos="5154">
          <p15:clr>
            <a:srgbClr val="FDE53C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17958B4-2D54-1E46-0C3F-FFDBC0457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5213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7958B4-2D54-1E46-0C3F-FFDBC0457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Slide Number Placeholder">
            <a:extLst>
              <a:ext uri="{FF2B5EF4-FFF2-40B4-BE49-F238E27FC236}">
                <a16:creationId xmlns:a16="http://schemas.microsoft.com/office/drawing/2014/main" id="{D495B8CC-E8CB-7F1A-1316-9781EDA1285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95100"/>
            <a:ext cx="40432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ooter Placeholder">
            <a:extLst>
              <a:ext uri="{FF2B5EF4-FFF2-40B4-BE49-F238E27FC236}">
                <a16:creationId xmlns:a16="http://schemas.microsoft.com/office/drawing/2014/main" id="{755874C6-354E-0479-18AF-0B5B6F2D8DB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7" y="6495102"/>
            <a:ext cx="371634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17" name="Date Placeholder">
            <a:extLst>
              <a:ext uri="{FF2B5EF4-FFF2-40B4-BE49-F238E27FC236}">
                <a16:creationId xmlns:a16="http://schemas.microsoft.com/office/drawing/2014/main" id="{7C2D774A-7DFB-C505-8D80-D8FC261E954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2"/>
            <a:ext cx="757238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18" name="Source Placeholder">
            <a:extLst>
              <a:ext uri="{FF2B5EF4-FFF2-40B4-BE49-F238E27FC236}">
                <a16:creationId xmlns:a16="http://schemas.microsoft.com/office/drawing/2014/main" id="{1D1442CA-AA80-3CCA-30CB-BC1CBF625A1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6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27" name="Content 4 Placeholder">
            <a:extLst>
              <a:ext uri="{FF2B5EF4-FFF2-40B4-BE49-F238E27FC236}">
                <a16:creationId xmlns:a16="http://schemas.microsoft.com/office/drawing/2014/main" id="{7C2B5AD6-A6E3-3B28-9679-4CAA49FFC4B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7" hasCustomPrompt="1"/>
          </p:nvPr>
        </p:nvSpPr>
        <p:spPr>
          <a:xfrm>
            <a:off x="9169401" y="2019300"/>
            <a:ext cx="2725320" cy="36576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Header 4 Placeholder">
            <a:extLst>
              <a:ext uri="{FF2B5EF4-FFF2-40B4-BE49-F238E27FC236}">
                <a16:creationId xmlns:a16="http://schemas.microsoft.com/office/drawing/2014/main" id="{46CE2237-C386-E5C2-9850-234FCD6F556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8" hasCustomPrompt="1"/>
          </p:nvPr>
        </p:nvSpPr>
        <p:spPr>
          <a:xfrm>
            <a:off x="9169401" y="1308100"/>
            <a:ext cx="2730499" cy="620525"/>
          </a:xfrm>
        </p:spPr>
        <p:txBody>
          <a:bodyPr anchor="b">
            <a:noAutofit/>
          </a:bodyPr>
          <a:lstStyle>
            <a:lvl1pPr marL="0" indent="0" rtl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column header</a:t>
            </a:r>
          </a:p>
        </p:txBody>
      </p:sp>
      <p:sp>
        <p:nvSpPr>
          <p:cNvPr id="19" name="Content 3 Placeholder">
            <a:extLst>
              <a:ext uri="{FF2B5EF4-FFF2-40B4-BE49-F238E27FC236}">
                <a16:creationId xmlns:a16="http://schemas.microsoft.com/office/drawing/2014/main" id="{9D282216-D102-1092-A42F-C09C78C616B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5" hasCustomPrompt="1"/>
          </p:nvPr>
        </p:nvSpPr>
        <p:spPr>
          <a:xfrm>
            <a:off x="6215481" y="2019300"/>
            <a:ext cx="2725320" cy="36576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Header 3 Placeholder">
            <a:extLst>
              <a:ext uri="{FF2B5EF4-FFF2-40B4-BE49-F238E27FC236}">
                <a16:creationId xmlns:a16="http://schemas.microsoft.com/office/drawing/2014/main" id="{DF86DE8F-0F64-3718-C7A3-3C0DA008E36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6215481" y="1308100"/>
            <a:ext cx="2730499" cy="620525"/>
          </a:xfrm>
        </p:spPr>
        <p:txBody>
          <a:bodyPr anchor="b">
            <a:noAutofit/>
          </a:bodyPr>
          <a:lstStyle>
            <a:lvl1pPr marL="0" indent="0" rtl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column header</a:t>
            </a:r>
          </a:p>
        </p:txBody>
      </p:sp>
      <p:sp>
        <p:nvSpPr>
          <p:cNvPr id="21" name="Content 2 Placeholder">
            <a:extLst>
              <a:ext uri="{FF2B5EF4-FFF2-40B4-BE49-F238E27FC236}">
                <a16:creationId xmlns:a16="http://schemas.microsoft.com/office/drawing/2014/main" id="{0C107B28-6253-BBE5-A677-D106A288FC6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4" hasCustomPrompt="1"/>
          </p:nvPr>
        </p:nvSpPr>
        <p:spPr>
          <a:xfrm>
            <a:off x="3251201" y="2019300"/>
            <a:ext cx="2725320" cy="36576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er 2 Placeholder">
            <a:extLst>
              <a:ext uri="{FF2B5EF4-FFF2-40B4-BE49-F238E27FC236}">
                <a16:creationId xmlns:a16="http://schemas.microsoft.com/office/drawing/2014/main" id="{F576DA41-4177-FBCB-15CA-5D5CFC03D6E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3" hasCustomPrompt="1"/>
          </p:nvPr>
        </p:nvSpPr>
        <p:spPr>
          <a:xfrm>
            <a:off x="3251201" y="1308100"/>
            <a:ext cx="2730499" cy="620525"/>
          </a:xfrm>
        </p:spPr>
        <p:txBody>
          <a:bodyPr anchor="b">
            <a:noAutofit/>
          </a:bodyPr>
          <a:lstStyle>
            <a:lvl1pPr marL="0" indent="0" rtl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column header</a:t>
            </a:r>
          </a:p>
        </p:txBody>
      </p:sp>
      <p:sp>
        <p:nvSpPr>
          <p:cNvPr id="23" name="Content 1 Placeholder">
            <a:extLst>
              <a:ext uri="{FF2B5EF4-FFF2-40B4-BE49-F238E27FC236}">
                <a16:creationId xmlns:a16="http://schemas.microsoft.com/office/drawing/2014/main" id="{798BF9BC-09E8-98E1-3853-58189E5CB99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292101" y="2019300"/>
            <a:ext cx="2725321" cy="36576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Header 1 Placeholder">
            <a:extLst>
              <a:ext uri="{FF2B5EF4-FFF2-40B4-BE49-F238E27FC236}">
                <a16:creationId xmlns:a16="http://schemas.microsoft.com/office/drawing/2014/main" id="{3DBA9534-E843-A204-0F9A-0F01FA42573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1" y="1308100"/>
            <a:ext cx="2730499" cy="620525"/>
          </a:xfrm>
        </p:spPr>
        <p:txBody>
          <a:bodyPr anchor="b">
            <a:noAutofit/>
          </a:bodyPr>
          <a:lstStyle>
            <a:lvl1pPr marL="0" indent="0" rtl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column header</a:t>
            </a:r>
          </a:p>
        </p:txBody>
      </p:sp>
      <p:sp>
        <p:nvSpPr>
          <p:cNvPr id="25" name="Subtitle Placeholder">
            <a:extLst>
              <a:ext uri="{FF2B5EF4-FFF2-40B4-BE49-F238E27FC236}">
                <a16:creationId xmlns:a16="http://schemas.microsoft.com/office/drawing/2014/main" id="{F84E48B2-4370-582F-FBFE-E1DA1A8B91C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26" name="Title Placeholder">
            <a:extLst>
              <a:ext uri="{FF2B5EF4-FFF2-40B4-BE49-F238E27FC236}">
                <a16:creationId xmlns:a16="http://schemas.microsoft.com/office/drawing/2014/main" id="{3E0B6312-F182-139F-C3A4-F69C900CC48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11613314" cy="265590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9170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904">
          <p15:clr>
            <a:srgbClr val="5ACBF0"/>
          </p15:clr>
        </p15:guide>
        <p15:guide id="9" pos="2048">
          <p15:clr>
            <a:srgbClr val="5ACBF0"/>
          </p15:clr>
        </p15:guide>
        <p15:guide id="14" pos="3768">
          <p15:clr>
            <a:srgbClr val="A4A3A4"/>
          </p15:clr>
        </p15:guide>
        <p15:guide id="15" pos="3912">
          <p15:clr>
            <a:srgbClr val="A4A3A4"/>
          </p15:clr>
        </p15:guide>
        <p15:guide id="20" pos="5631">
          <p15:clr>
            <a:srgbClr val="5ACBF0"/>
          </p15:clr>
        </p15:guide>
        <p15:guide id="21" pos="5775">
          <p15:clr>
            <a:srgbClr val="5ACBF0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6BC2DB1-1C82-E3DD-722F-70C4EB5557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2159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BC2DB1-1C82-E3DD-722F-70C4EB5557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">
            <a:extLst>
              <a:ext uri="{FF2B5EF4-FFF2-40B4-BE49-F238E27FC236}">
                <a16:creationId xmlns:a16="http://schemas.microsoft.com/office/drawing/2014/main" id="{63BBECEB-ADAD-567C-0E7F-32D5DD73D22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95100"/>
            <a:ext cx="40432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">
            <a:extLst>
              <a:ext uri="{FF2B5EF4-FFF2-40B4-BE49-F238E27FC236}">
                <a16:creationId xmlns:a16="http://schemas.microsoft.com/office/drawing/2014/main" id="{4CE5B1DD-3293-4063-F7F1-B70B9765EBB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7" y="6495102"/>
            <a:ext cx="371634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12" name="Date Placeholder">
            <a:extLst>
              <a:ext uri="{FF2B5EF4-FFF2-40B4-BE49-F238E27FC236}">
                <a16:creationId xmlns:a16="http://schemas.microsoft.com/office/drawing/2014/main" id="{2B42008E-A492-279B-2ED3-A175F4B4468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2"/>
            <a:ext cx="757238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18" name="Source Placeholder">
            <a:extLst>
              <a:ext uri="{FF2B5EF4-FFF2-40B4-BE49-F238E27FC236}">
                <a16:creationId xmlns:a16="http://schemas.microsoft.com/office/drawing/2014/main" id="{B58D918B-E5ED-CEFD-AC78-E2B63F48FCB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6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27" name="Content 4 Placeholder">
            <a:extLst>
              <a:ext uri="{FF2B5EF4-FFF2-40B4-BE49-F238E27FC236}">
                <a16:creationId xmlns:a16="http://schemas.microsoft.com/office/drawing/2014/main" id="{144A1808-BD26-954C-7A7D-83EEA82BA69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20" hasCustomPrompt="1"/>
          </p:nvPr>
        </p:nvSpPr>
        <p:spPr>
          <a:xfrm>
            <a:off x="9169398" y="3771900"/>
            <a:ext cx="2730499" cy="19050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Image/Content 4 Placeholder">
            <a:extLst>
              <a:ext uri="{FF2B5EF4-FFF2-40B4-BE49-F238E27FC236}">
                <a16:creationId xmlns:a16="http://schemas.microsoft.com/office/drawing/2014/main" id="{8FC58B79-91D4-E705-AA46-09881D8F6B6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21" hasCustomPrompt="1"/>
          </p:nvPr>
        </p:nvSpPr>
        <p:spPr>
          <a:xfrm>
            <a:off x="9169398" y="1638300"/>
            <a:ext cx="2730499" cy="1905000"/>
          </a:xfrm>
          <a:solidFill>
            <a:srgbClr val="F0F0F0"/>
          </a:solidFill>
        </p:spPr>
        <p:txBody>
          <a:bodyPr vert="horz" lIns="0" tIns="0" rIns="0" bIns="0" rtlCol="0" anchor="ctr">
            <a:noAutofit/>
          </a:bodyPr>
          <a:lstStyle>
            <a:lvl1pPr rtl="0">
              <a:defRPr lang="en-US" dirty="0"/>
            </a:lvl1pPr>
            <a:lvl2pPr marL="285750" indent="0">
              <a:buNone/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0" lvl="0" indent="0" algn="ctr">
              <a:buNone/>
            </a:pPr>
            <a:r>
              <a:rPr lang="en-US" dirty="0"/>
              <a:t>Insert your copy here</a:t>
            </a:r>
          </a:p>
        </p:txBody>
      </p:sp>
      <p:sp>
        <p:nvSpPr>
          <p:cNvPr id="19" name="Content 3 Placeholder">
            <a:extLst>
              <a:ext uri="{FF2B5EF4-FFF2-40B4-BE49-F238E27FC236}">
                <a16:creationId xmlns:a16="http://schemas.microsoft.com/office/drawing/2014/main" id="{1C68F5D6-927B-1890-8237-531EC33D821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7" hasCustomPrompt="1"/>
          </p:nvPr>
        </p:nvSpPr>
        <p:spPr>
          <a:xfrm>
            <a:off x="6210300" y="3771900"/>
            <a:ext cx="2730499" cy="19050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Image/Content 3 Placeholder">
            <a:extLst>
              <a:ext uri="{FF2B5EF4-FFF2-40B4-BE49-F238E27FC236}">
                <a16:creationId xmlns:a16="http://schemas.microsoft.com/office/drawing/2014/main" id="{6A6CF041-3B02-7A63-A899-5A7D01696A1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5" hasCustomPrompt="1"/>
          </p:nvPr>
        </p:nvSpPr>
        <p:spPr>
          <a:xfrm>
            <a:off x="6210300" y="1638300"/>
            <a:ext cx="2730499" cy="1905000"/>
          </a:xfrm>
          <a:solidFill>
            <a:srgbClr val="F0F0F0"/>
          </a:solidFill>
        </p:spPr>
        <p:txBody>
          <a:bodyPr vert="horz" lIns="0" tIns="0" rIns="0" bIns="0" rtlCol="0" anchor="ctr">
            <a:noAutofit/>
          </a:bodyPr>
          <a:lstStyle>
            <a:lvl1pPr rtl="0">
              <a:defRPr lang="en-US" dirty="0"/>
            </a:lvl1pPr>
            <a:lvl2pPr marL="285750" indent="0">
              <a:buNone/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0" lvl="0" indent="0" algn="ctr">
              <a:buNone/>
            </a:pPr>
            <a:r>
              <a:rPr lang="en-US" dirty="0"/>
              <a:t>Insert your copy here</a:t>
            </a:r>
          </a:p>
        </p:txBody>
      </p:sp>
      <p:sp>
        <p:nvSpPr>
          <p:cNvPr id="21" name="Content 2 Placeholder">
            <a:extLst>
              <a:ext uri="{FF2B5EF4-FFF2-40B4-BE49-F238E27FC236}">
                <a16:creationId xmlns:a16="http://schemas.microsoft.com/office/drawing/2014/main" id="{D738D949-C558-6B16-B96A-624CAABF5C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8" hasCustomPrompt="1"/>
          </p:nvPr>
        </p:nvSpPr>
        <p:spPr>
          <a:xfrm>
            <a:off x="3251202" y="3771900"/>
            <a:ext cx="2730499" cy="19050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Image/Content 2 Placeholder">
            <a:extLst>
              <a:ext uri="{FF2B5EF4-FFF2-40B4-BE49-F238E27FC236}">
                <a16:creationId xmlns:a16="http://schemas.microsoft.com/office/drawing/2014/main" id="{5F2A25EF-6714-B247-2DB2-B0DC035CA2A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4" hasCustomPrompt="1"/>
          </p:nvPr>
        </p:nvSpPr>
        <p:spPr>
          <a:xfrm>
            <a:off x="3251202" y="1638300"/>
            <a:ext cx="2730499" cy="1905000"/>
          </a:xfrm>
          <a:solidFill>
            <a:srgbClr val="F0F0F0"/>
          </a:solidFill>
        </p:spPr>
        <p:txBody>
          <a:bodyPr vert="horz" lIns="0" tIns="0" rIns="0" bIns="0" rtlCol="0" anchor="ctr">
            <a:noAutofit/>
          </a:bodyPr>
          <a:lstStyle>
            <a:lvl1pPr rtl="0"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0" lvl="0" indent="0" algn="ctr">
              <a:buNone/>
            </a:pPr>
            <a:r>
              <a:rPr lang="en-US" dirty="0"/>
              <a:t>Insert your copy here</a:t>
            </a:r>
          </a:p>
        </p:txBody>
      </p:sp>
      <p:sp>
        <p:nvSpPr>
          <p:cNvPr id="23" name="Content 1 Placeholder">
            <a:extLst>
              <a:ext uri="{FF2B5EF4-FFF2-40B4-BE49-F238E27FC236}">
                <a16:creationId xmlns:a16="http://schemas.microsoft.com/office/drawing/2014/main" id="{9B7A0767-D64A-2252-7ED8-79BDD2A285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9" hasCustomPrompt="1"/>
          </p:nvPr>
        </p:nvSpPr>
        <p:spPr>
          <a:xfrm>
            <a:off x="292101" y="3771900"/>
            <a:ext cx="2730500" cy="19050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Image/Content 1 Placeholder">
            <a:extLst>
              <a:ext uri="{FF2B5EF4-FFF2-40B4-BE49-F238E27FC236}">
                <a16:creationId xmlns:a16="http://schemas.microsoft.com/office/drawing/2014/main" id="{ACCC2EE9-2558-5373-EC90-280A39D1898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292101" y="1638300"/>
            <a:ext cx="2730500" cy="1905000"/>
          </a:xfrm>
          <a:solidFill>
            <a:srgbClr val="F0F0F0"/>
          </a:solidFill>
        </p:spPr>
        <p:txBody>
          <a:bodyPr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lvl="0"/>
            <a:r>
              <a:rPr lang="en-US"/>
              <a:t>Insert content</a:t>
            </a:r>
            <a:endParaRPr lang="en-US" dirty="0"/>
          </a:p>
        </p:txBody>
      </p:sp>
      <p:sp>
        <p:nvSpPr>
          <p:cNvPr id="25" name="Subtitle Placeholder">
            <a:extLst>
              <a:ext uri="{FF2B5EF4-FFF2-40B4-BE49-F238E27FC236}">
                <a16:creationId xmlns:a16="http://schemas.microsoft.com/office/drawing/2014/main" id="{377C48EF-B0F0-FB83-53E1-3E98D8DF928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26" name="Title Placeholder">
            <a:extLst>
              <a:ext uri="{FF2B5EF4-FFF2-40B4-BE49-F238E27FC236}">
                <a16:creationId xmlns:a16="http://schemas.microsoft.com/office/drawing/2014/main" id="{11AA0F79-4C10-AAB7-4E1A-A1143BCD44D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11613314" cy="265590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35166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904">
          <p15:clr>
            <a:srgbClr val="5ACBF0"/>
          </p15:clr>
        </p15:guide>
        <p15:guide id="9" pos="2048">
          <p15:clr>
            <a:srgbClr val="5ACBF0"/>
          </p15:clr>
        </p15:guide>
        <p15:guide id="14" pos="3768">
          <p15:clr>
            <a:srgbClr val="A4A3A4"/>
          </p15:clr>
        </p15:guide>
        <p15:guide id="15" pos="3912">
          <p15:clr>
            <a:srgbClr val="A4A3A4"/>
          </p15:clr>
        </p15:guide>
        <p15:guide id="20" pos="5631">
          <p15:clr>
            <a:srgbClr val="5ACBF0"/>
          </p15:clr>
        </p15:guide>
        <p15:guide id="21" pos="5775">
          <p15:clr>
            <a:srgbClr val="5ACBF0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44DE25-F6D1-7FFA-7FB1-53B808DB6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681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44DE25-F6D1-7FFA-7FB1-53B808DB6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Laptop Frame">
            <a:extLst>
              <a:ext uri="{FF2B5EF4-FFF2-40B4-BE49-F238E27FC236}">
                <a16:creationId xmlns:a16="http://schemas.microsoft.com/office/drawing/2014/main" id="{28CA7E52-1DEF-001D-23AD-F3A1C94F9472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4124687" y="1638300"/>
            <a:ext cx="7893777" cy="4138018"/>
            <a:chOff x="3936001" y="1448418"/>
            <a:chExt cx="8256000" cy="4327900"/>
          </a:xfrm>
        </p:grpSpPr>
        <p:pic>
          <p:nvPicPr>
            <p:cNvPr id="13" name="Shape">
              <a:extLst>
                <a:ext uri="{FF2B5EF4-FFF2-40B4-BE49-F238E27FC236}">
                  <a16:creationId xmlns:a16="http://schemas.microsoft.com/office/drawing/2014/main" id="{2AB0D041-303A-5AF4-862E-A74ACD791CB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3936001" y="1448418"/>
              <a:ext cx="8256000" cy="4327900"/>
            </a:xfrm>
            <a:prstGeom prst="rect">
              <a:avLst/>
            </a:prstGeom>
          </p:spPr>
        </p:pic>
        <p:sp>
          <p:nvSpPr>
            <p:cNvPr id="14" name="Redact">
              <a:extLst>
                <a:ext uri="{FF2B5EF4-FFF2-40B4-BE49-F238E27FC236}">
                  <a16:creationId xmlns:a16="http://schemas.microsoft.com/office/drawing/2014/main" id="{A4E3EFDE-C5ED-BDD5-F21C-80D4CA71AD8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7892321" y="5403954"/>
              <a:ext cx="329784" cy="74951"/>
            </a:xfrm>
            <a:prstGeom prst="rect">
              <a:avLst/>
            </a:prstGeom>
            <a:solidFill>
              <a:srgbClr val="2D2D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rtl="0"/>
              <a:endParaRPr lang="en-US" dirty="0"/>
            </a:p>
          </p:txBody>
        </p:sp>
      </p:grpSp>
      <p:sp>
        <p:nvSpPr>
          <p:cNvPr id="15" name="Picture Placeholder">
            <a:extLst>
              <a:ext uri="{FF2B5EF4-FFF2-40B4-BE49-F238E27FC236}">
                <a16:creationId xmlns:a16="http://schemas.microsoft.com/office/drawing/2014/main" id="{74F0AE2B-B9B7-3100-37FB-FCDFB48EDE7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7" hasCustomPrompt="1"/>
          </p:nvPr>
        </p:nvSpPr>
        <p:spPr bwMode="gray">
          <a:xfrm>
            <a:off x="5290128" y="1739900"/>
            <a:ext cx="5566620" cy="3619500"/>
          </a:xfrm>
          <a:prstGeom prst="roundRect">
            <a:avLst>
              <a:gd name="adj" fmla="val 1482"/>
            </a:avLst>
          </a:prstGeom>
          <a:solidFill>
            <a:schemeClr val="tx1"/>
          </a:solidFill>
        </p:spPr>
        <p:txBody>
          <a:bodyPr anchor="ctr" anchorCtr="0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 Click picture icon to add photo</a:t>
            </a:r>
            <a:endParaRPr lang="en-US" dirty="0"/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F40ED59A-96CE-38E9-B955-808CAC1BBE9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95100"/>
            <a:ext cx="40432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">
            <a:extLst>
              <a:ext uri="{FF2B5EF4-FFF2-40B4-BE49-F238E27FC236}">
                <a16:creationId xmlns:a16="http://schemas.microsoft.com/office/drawing/2014/main" id="{12ABF694-3377-ED1E-A0A9-F03E499ECE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7" y="6495102"/>
            <a:ext cx="371634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11" name="Date Placeholder">
            <a:extLst>
              <a:ext uri="{FF2B5EF4-FFF2-40B4-BE49-F238E27FC236}">
                <a16:creationId xmlns:a16="http://schemas.microsoft.com/office/drawing/2014/main" id="{6C70B518-71FA-524B-8A6C-76B2F1192A0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2"/>
            <a:ext cx="757238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16" name="Source Placeholder">
            <a:extLst>
              <a:ext uri="{FF2B5EF4-FFF2-40B4-BE49-F238E27FC236}">
                <a16:creationId xmlns:a16="http://schemas.microsoft.com/office/drawing/2014/main" id="{92349AC3-43C9-A349-AF2E-C029A34491C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7" name="Content Placeholder">
            <a:extLst>
              <a:ext uri="{FF2B5EF4-FFF2-40B4-BE49-F238E27FC236}">
                <a16:creationId xmlns:a16="http://schemas.microsoft.com/office/drawing/2014/main" id="{2EA745BA-CA14-8FD0-05BA-8977508264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292101" y="2019300"/>
            <a:ext cx="3700460" cy="36576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Header Placeholder">
            <a:extLst>
              <a:ext uri="{FF2B5EF4-FFF2-40B4-BE49-F238E27FC236}">
                <a16:creationId xmlns:a16="http://schemas.microsoft.com/office/drawing/2014/main" id="{97696C2F-B753-BD09-3B16-F91EAC65E0F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1" y="1308100"/>
            <a:ext cx="3710815" cy="620525"/>
          </a:xfrm>
        </p:spPr>
        <p:txBody>
          <a:bodyPr anchor="b">
            <a:noAutofit/>
          </a:bodyPr>
          <a:lstStyle>
            <a:lvl1pPr marL="0" indent="0" rtl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column header</a:t>
            </a:r>
          </a:p>
        </p:txBody>
      </p:sp>
      <p:sp>
        <p:nvSpPr>
          <p:cNvPr id="17" name="Subtitle Placeholder">
            <a:extLst>
              <a:ext uri="{FF2B5EF4-FFF2-40B4-BE49-F238E27FC236}">
                <a16:creationId xmlns:a16="http://schemas.microsoft.com/office/drawing/2014/main" id="{73234507-5FFE-AB0B-1739-6DC3FB8BBDB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18" name="Title Placeholder">
            <a:extLst>
              <a:ext uri="{FF2B5EF4-FFF2-40B4-BE49-F238E27FC236}">
                <a16:creationId xmlns:a16="http://schemas.microsoft.com/office/drawing/2014/main" id="{173559CA-3B9C-F323-35EC-DBADE1584BE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11613314" cy="265590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99819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525">
          <p15:clr>
            <a:srgbClr val="FDE53C"/>
          </p15:clr>
        </p15:guide>
        <p15:guide id="11" pos="2669">
          <p15:clr>
            <a:srgbClr val="FDE53C"/>
          </p15:clr>
        </p15:guide>
        <p15:guide id="18" pos="5010">
          <p15:clr>
            <a:srgbClr val="FDE53C"/>
          </p15:clr>
        </p15:guide>
        <p15:guide id="19" pos="5154">
          <p15:clr>
            <a:srgbClr val="FDE53C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3BB4BB8-EE21-1719-014C-3C5F087E96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9418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BB4BB8-EE21-1719-014C-3C5F087E96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">
            <a:extLst>
              <a:ext uri="{FF2B5EF4-FFF2-40B4-BE49-F238E27FC236}">
                <a16:creationId xmlns:a16="http://schemas.microsoft.com/office/drawing/2014/main" id="{D855F1A0-B3DE-8CBB-753A-EBAB8DE25C2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95100"/>
            <a:ext cx="40432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">
            <a:extLst>
              <a:ext uri="{FF2B5EF4-FFF2-40B4-BE49-F238E27FC236}">
                <a16:creationId xmlns:a16="http://schemas.microsoft.com/office/drawing/2014/main" id="{ED39D506-68E8-D832-DF39-5B6BE145087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7" y="6495102"/>
            <a:ext cx="371634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14" name="Date Placeholder">
            <a:extLst>
              <a:ext uri="{FF2B5EF4-FFF2-40B4-BE49-F238E27FC236}">
                <a16:creationId xmlns:a16="http://schemas.microsoft.com/office/drawing/2014/main" id="{462487FC-31D3-3400-936D-53E132CBF69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2"/>
            <a:ext cx="757238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15" name="Source Placeholder">
            <a:extLst>
              <a:ext uri="{FF2B5EF4-FFF2-40B4-BE49-F238E27FC236}">
                <a16:creationId xmlns:a16="http://schemas.microsoft.com/office/drawing/2014/main" id="{99790FFB-129C-6DB8-7083-44E68EB4BF7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pic>
        <p:nvPicPr>
          <p:cNvPr id="9" name="Tablet Frame">
            <a:extLst>
              <a:ext uri="{FF2B5EF4-FFF2-40B4-BE49-F238E27FC236}">
                <a16:creationId xmlns:a16="http://schemas.microsoft.com/office/drawing/2014/main" id="{9489571B-A37B-8754-6A0A-0144963120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767"/>
          <a:stretch/>
        </p:blipFill>
        <p:spPr bwMode="gray">
          <a:xfrm>
            <a:off x="3784635" y="1606014"/>
            <a:ext cx="8139891" cy="4434024"/>
          </a:xfrm>
          <a:prstGeom prst="rect">
            <a:avLst/>
          </a:prstGeom>
        </p:spPr>
      </p:pic>
      <p:sp>
        <p:nvSpPr>
          <p:cNvPr id="10" name="Picture Placeholder">
            <a:extLst>
              <a:ext uri="{FF2B5EF4-FFF2-40B4-BE49-F238E27FC236}">
                <a16:creationId xmlns:a16="http://schemas.microsoft.com/office/drawing/2014/main" id="{2B100C95-A8AE-9316-439D-4F2A091DD08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7" hasCustomPrompt="1"/>
          </p:nvPr>
        </p:nvSpPr>
        <p:spPr bwMode="gray">
          <a:xfrm>
            <a:off x="5149851" y="1765300"/>
            <a:ext cx="5753100" cy="3797300"/>
          </a:xfrm>
          <a:prstGeom prst="roundRect">
            <a:avLst>
              <a:gd name="adj" fmla="val 5312"/>
            </a:avLst>
          </a:prstGeom>
          <a:solidFill>
            <a:schemeClr val="tx1"/>
          </a:solidFill>
        </p:spPr>
        <p:txBody>
          <a:bodyPr vert="horz" lIns="0" tIns="0" rIns="0" bIns="0" rtlCol="0" anchor="ctr" anchorCtr="0">
            <a:noAutofit/>
          </a:bodyPr>
          <a:lstStyle>
            <a:lvl1pPr rtl="0">
              <a:defRPr lang="en-GB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 Click to add photo</a:t>
            </a:r>
            <a:endParaRPr lang="en-US" dirty="0"/>
          </a:p>
        </p:txBody>
      </p:sp>
      <p:sp>
        <p:nvSpPr>
          <p:cNvPr id="7" name="Content Placeholder">
            <a:extLst>
              <a:ext uri="{FF2B5EF4-FFF2-40B4-BE49-F238E27FC236}">
                <a16:creationId xmlns:a16="http://schemas.microsoft.com/office/drawing/2014/main" id="{2EA745BA-CA14-8FD0-05BA-8977508264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292101" y="2019300"/>
            <a:ext cx="3700460" cy="36576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Header Placeholder">
            <a:extLst>
              <a:ext uri="{FF2B5EF4-FFF2-40B4-BE49-F238E27FC236}">
                <a16:creationId xmlns:a16="http://schemas.microsoft.com/office/drawing/2014/main" id="{97696C2F-B753-BD09-3B16-F91EAC65E0F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1" y="1308100"/>
            <a:ext cx="3710815" cy="620525"/>
          </a:xfrm>
        </p:spPr>
        <p:txBody>
          <a:bodyPr anchor="b">
            <a:noAutofit/>
          </a:bodyPr>
          <a:lstStyle>
            <a:lvl1pPr marL="0" indent="0" rtl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column header</a:t>
            </a:r>
          </a:p>
        </p:txBody>
      </p:sp>
      <p:sp>
        <p:nvSpPr>
          <p:cNvPr id="16" name="Subtitle Placeholder">
            <a:extLst>
              <a:ext uri="{FF2B5EF4-FFF2-40B4-BE49-F238E27FC236}">
                <a16:creationId xmlns:a16="http://schemas.microsoft.com/office/drawing/2014/main" id="{54C4987E-C48B-8EC9-E43A-A8293855B44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17" name="Title Placeholder">
            <a:extLst>
              <a:ext uri="{FF2B5EF4-FFF2-40B4-BE49-F238E27FC236}">
                <a16:creationId xmlns:a16="http://schemas.microsoft.com/office/drawing/2014/main" id="{36465407-29C7-E82D-8FA8-8F0F4FCCD26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11613314" cy="265590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5130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525">
          <p15:clr>
            <a:srgbClr val="FDE53C"/>
          </p15:clr>
        </p15:guide>
        <p15:guide id="11" pos="2669">
          <p15:clr>
            <a:srgbClr val="FDE53C"/>
          </p15:clr>
        </p15:guide>
        <p15:guide id="18" pos="5010">
          <p15:clr>
            <a:srgbClr val="FDE53C"/>
          </p15:clr>
        </p15:guide>
        <p15:guide id="19" pos="5154">
          <p15:clr>
            <a:srgbClr val="FDE53C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5DCBAA2-1697-E5CD-3C62-B362633379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8451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DCBAA2-1697-E5CD-3C62-B362633379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0D075AAD-92E8-E876-C437-4DA760B06A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95100"/>
            <a:ext cx="40432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7F6973E-B506-459C-8409-EDC0F9FEB64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7" y="6495102"/>
            <a:ext cx="371634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11" name="Date Placeholder">
            <a:extLst>
              <a:ext uri="{FF2B5EF4-FFF2-40B4-BE49-F238E27FC236}">
                <a16:creationId xmlns:a16="http://schemas.microsoft.com/office/drawing/2014/main" id="{D92AE263-867A-3BFE-D77F-172427CCFD5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2"/>
            <a:ext cx="757238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15" name="Source Placeholder">
            <a:extLst>
              <a:ext uri="{FF2B5EF4-FFF2-40B4-BE49-F238E27FC236}">
                <a16:creationId xmlns:a16="http://schemas.microsoft.com/office/drawing/2014/main" id="{4CF2C7F5-1F44-0A19-3182-4B375AB6F89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pic>
        <p:nvPicPr>
          <p:cNvPr id="2" name="Smartphone Frame">
            <a:extLst>
              <a:ext uri="{FF2B5EF4-FFF2-40B4-BE49-F238E27FC236}">
                <a16:creationId xmlns:a16="http://schemas.microsoft.com/office/drawing/2014/main" id="{8FEE0E6E-6D89-CD10-D4A2-0D249DEDC1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500502" y="1197507"/>
            <a:ext cx="3096000" cy="4787820"/>
          </a:xfrm>
          <a:prstGeom prst="rect">
            <a:avLst/>
          </a:prstGeom>
        </p:spPr>
      </p:pic>
      <p:sp>
        <p:nvSpPr>
          <p:cNvPr id="10" name="Picture Placeholder">
            <a:extLst>
              <a:ext uri="{FF2B5EF4-FFF2-40B4-BE49-F238E27FC236}">
                <a16:creationId xmlns:a16="http://schemas.microsoft.com/office/drawing/2014/main" id="{7F98CD2C-62E2-FC8B-548B-D3ADCC2F9CD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7" hasCustomPrompt="1"/>
          </p:nvPr>
        </p:nvSpPr>
        <p:spPr bwMode="gray">
          <a:xfrm>
            <a:off x="8018062" y="1288629"/>
            <a:ext cx="2057400" cy="4450080"/>
          </a:xfrm>
          <a:prstGeom prst="roundRect">
            <a:avLst>
              <a:gd name="adj" fmla="val 12964"/>
            </a:avLst>
          </a:prstGeom>
          <a:solidFill>
            <a:schemeClr val="tx1"/>
          </a:solidFill>
        </p:spPr>
        <p:txBody>
          <a:bodyPr anchor="ctr" anchorCtr="0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 Click picture icon to add photo</a:t>
            </a:r>
            <a:endParaRPr lang="en-US" dirty="0"/>
          </a:p>
        </p:txBody>
      </p:sp>
      <p:sp>
        <p:nvSpPr>
          <p:cNvPr id="4" name="Content Placeholder">
            <a:extLst>
              <a:ext uri="{FF2B5EF4-FFF2-40B4-BE49-F238E27FC236}">
                <a16:creationId xmlns:a16="http://schemas.microsoft.com/office/drawing/2014/main" id="{984C70C1-C2F6-EFE6-3AEB-EEEE97D8D82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292101" y="2019300"/>
            <a:ext cx="5673721" cy="36576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Header Placeholder">
            <a:extLst>
              <a:ext uri="{FF2B5EF4-FFF2-40B4-BE49-F238E27FC236}">
                <a16:creationId xmlns:a16="http://schemas.microsoft.com/office/drawing/2014/main" id="{E16F9965-5453-60FF-D1EB-3A608CF7F7B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1" y="1308100"/>
            <a:ext cx="5689598" cy="620525"/>
          </a:xfrm>
        </p:spPr>
        <p:txBody>
          <a:bodyPr anchor="b">
            <a:noAutofit/>
          </a:bodyPr>
          <a:lstStyle>
            <a:lvl1pPr marL="0" indent="0" rtl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column header</a:t>
            </a:r>
          </a:p>
        </p:txBody>
      </p:sp>
      <p:sp>
        <p:nvSpPr>
          <p:cNvPr id="16" name="Subtitle Placeholder">
            <a:extLst>
              <a:ext uri="{FF2B5EF4-FFF2-40B4-BE49-F238E27FC236}">
                <a16:creationId xmlns:a16="http://schemas.microsoft.com/office/drawing/2014/main" id="{1177695A-5838-D1AD-85A0-C2DC4AE6192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17" name="Title Placeholder">
            <a:extLst>
              <a:ext uri="{FF2B5EF4-FFF2-40B4-BE49-F238E27FC236}">
                <a16:creationId xmlns:a16="http://schemas.microsoft.com/office/drawing/2014/main" id="{6438D16E-D0B0-429C-0E43-66D0F19014E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11613314" cy="265590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61987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768">
          <p15:clr>
            <a:srgbClr val="A4A3A4"/>
          </p15:clr>
        </p15:guide>
        <p15:guide id="5" pos="3912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0EA33E6C-B6EA-4396-A2D1-BF412B2609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7CD28B2C-FBA7-17AC-27BC-DFDFAA1A2D2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5" name="Picture 1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35360" y="1484783"/>
            <a:ext cx="5184378" cy="4608041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9" name="Picture 2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095999" y="1484313"/>
            <a:ext cx="5184775" cy="4608512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1" name="Source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6EC8BE7-F506-DD6E-D0BF-03869A5732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77F1D892-BF3A-4095-BFFD-F4089DAC1F08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D5AFD17-3544-54BD-6CA6-E32063B705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ACBA8D8-2C91-A9DC-0C32-8D2C0EAABE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5408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838">
          <p15:clr>
            <a:srgbClr val="FBAE40"/>
          </p15:clr>
        </p15:guide>
        <p15:guide id="3" pos="3840">
          <p15:clr>
            <a:srgbClr val="FBAE40"/>
          </p15:clr>
        </p15:guide>
        <p15:guide id="4" pos="3477">
          <p15:clr>
            <a:srgbClr val="FBAE40"/>
          </p15:clr>
        </p15:guide>
        <p15:guide id="5" pos="211">
          <p15:clr>
            <a:srgbClr val="FBAE40"/>
          </p15:clr>
        </p15:guide>
        <p15:guide id="6" pos="7106">
          <p15:clr>
            <a:srgbClr val="FBAE40"/>
          </p15:clr>
        </p15:guide>
      </p15:sldGuideLst>
    </p:ext>
  </p:extLs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A314AD2-4BC1-D805-E530-25D1014DC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7550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314AD2-4BC1-D805-E530-25D1014DC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">
            <a:extLst>
              <a:ext uri="{FF2B5EF4-FFF2-40B4-BE49-F238E27FC236}">
                <a16:creationId xmlns:a16="http://schemas.microsoft.com/office/drawing/2014/main" id="{7880336B-6551-8B18-CD4D-52CF1537E46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95100"/>
            <a:ext cx="40432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">
            <a:extLst>
              <a:ext uri="{FF2B5EF4-FFF2-40B4-BE49-F238E27FC236}">
                <a16:creationId xmlns:a16="http://schemas.microsoft.com/office/drawing/2014/main" id="{D5E23E6B-A969-B922-443C-DB4B673F14C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7" y="6495102"/>
            <a:ext cx="371634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12" name="Date Placeholder">
            <a:extLst>
              <a:ext uri="{FF2B5EF4-FFF2-40B4-BE49-F238E27FC236}">
                <a16:creationId xmlns:a16="http://schemas.microsoft.com/office/drawing/2014/main" id="{3E682D3C-E320-394E-C615-424A83B576A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2"/>
            <a:ext cx="757238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13" name="Source Placeholder">
            <a:extLst>
              <a:ext uri="{FF2B5EF4-FFF2-40B4-BE49-F238E27FC236}">
                <a16:creationId xmlns:a16="http://schemas.microsoft.com/office/drawing/2014/main" id="{F5E18C3F-FDED-E3BC-CB25-E414E35DA8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7" name="Content Placeholder">
            <a:extLst>
              <a:ext uri="{FF2B5EF4-FFF2-40B4-BE49-F238E27FC236}">
                <a16:creationId xmlns:a16="http://schemas.microsoft.com/office/drawing/2014/main" id="{2EA745BA-CA14-8FD0-05BA-8977508264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2" hasCustomPrompt="1"/>
          </p:nvPr>
        </p:nvSpPr>
        <p:spPr>
          <a:xfrm>
            <a:off x="8168315" y="2019300"/>
            <a:ext cx="3700460" cy="3657600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Header Placeholder">
            <a:extLst>
              <a:ext uri="{FF2B5EF4-FFF2-40B4-BE49-F238E27FC236}">
                <a16:creationId xmlns:a16="http://schemas.microsoft.com/office/drawing/2014/main" id="{97696C2F-B753-BD09-3B16-F91EAC65E0F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8168315" y="1308100"/>
            <a:ext cx="3710815" cy="620525"/>
          </a:xfrm>
        </p:spPr>
        <p:txBody>
          <a:bodyPr anchor="b">
            <a:noAutofit/>
          </a:bodyPr>
          <a:lstStyle>
            <a:lvl1pPr marL="0" indent="0" rtl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column header</a:t>
            </a:r>
          </a:p>
        </p:txBody>
      </p:sp>
      <p:sp>
        <p:nvSpPr>
          <p:cNvPr id="9" name="Image/Content Placeholder">
            <a:extLst>
              <a:ext uri="{FF2B5EF4-FFF2-40B4-BE49-F238E27FC236}">
                <a16:creationId xmlns:a16="http://schemas.microsoft.com/office/drawing/2014/main" id="{E7FED7F9-B9AF-8E1D-D4E4-E0925BDC1C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4" hasCustomPrompt="1"/>
          </p:nvPr>
        </p:nvSpPr>
        <p:spPr>
          <a:xfrm>
            <a:off x="292100" y="1638300"/>
            <a:ext cx="7661275" cy="4038600"/>
          </a:xfrm>
          <a:solidFill>
            <a:srgbClr val="F0F0F0"/>
          </a:solidFill>
        </p:spPr>
        <p:txBody>
          <a:bodyPr vert="horz" lIns="0" tIns="0" rIns="0" bIns="0" rtlCol="0" anchor="ctr">
            <a:noAutofit/>
          </a:bodyPr>
          <a:lstStyle>
            <a:lvl1pPr rtl="0"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0" lvl="0" indent="0" algn="ctr">
              <a:buNone/>
            </a:pPr>
            <a:r>
              <a:rPr lang="en-US" dirty="0"/>
              <a:t>Insert content</a:t>
            </a:r>
          </a:p>
        </p:txBody>
      </p:sp>
      <p:sp>
        <p:nvSpPr>
          <p:cNvPr id="14" name="Subtitle Placeholder">
            <a:extLst>
              <a:ext uri="{FF2B5EF4-FFF2-40B4-BE49-F238E27FC236}">
                <a16:creationId xmlns:a16="http://schemas.microsoft.com/office/drawing/2014/main" id="{F55BBEAC-F3EB-AF73-371A-E2F90A4E7CD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15" name="Title Placeholder">
            <a:extLst>
              <a:ext uri="{FF2B5EF4-FFF2-40B4-BE49-F238E27FC236}">
                <a16:creationId xmlns:a16="http://schemas.microsoft.com/office/drawing/2014/main" id="{A568B237-249F-A08F-E259-9BD8E276671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11613314" cy="265590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3560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525">
          <p15:clr>
            <a:srgbClr val="FDE53C"/>
          </p15:clr>
        </p15:guide>
        <p15:guide id="11" pos="2669">
          <p15:clr>
            <a:srgbClr val="FDE53C"/>
          </p15:clr>
        </p15:guide>
        <p15:guide id="18" pos="5010">
          <p15:clr>
            <a:srgbClr val="FDE53C"/>
          </p15:clr>
        </p15:guide>
        <p15:guide id="19" pos="5154">
          <p15:clr>
            <a:srgbClr val="FDE53C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D85A394-B8D7-9866-0659-37783B269F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4461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D85A394-B8D7-9866-0659-37783B269F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80A15201-F299-04EA-E6CE-E722641959C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95100"/>
            <a:ext cx="40432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8C02E2E7-130F-8E98-F5E2-0E052FB5C9B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7" y="6495102"/>
            <a:ext cx="371634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688318DD-F239-9F43-D086-9EBEC3E5402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2"/>
            <a:ext cx="757238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C6CEF957-D49F-C931-2F5D-3BEC205BBE4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r>
              <a:rPr lang="en-US" noProof="0" dirty="0"/>
              <a:t>Source: GfK Market Intelligence: Sales Tracking, comparison Black Friday 202</a:t>
            </a:r>
            <a:r>
              <a:rPr lang="en-US" dirty="0"/>
              <a:t>5</a:t>
            </a:r>
            <a:r>
              <a:rPr lang="en-US" noProof="0" dirty="0"/>
              <a:t> to 2024; sales value (NSP) EUR of all weekly tracked product groups for all displayed countries; tracked product groups differ between countries</a:t>
            </a:r>
          </a:p>
        </p:txBody>
      </p:sp>
      <p:sp>
        <p:nvSpPr>
          <p:cNvPr id="10" name="Subtitle Placeholder">
            <a:extLst>
              <a:ext uri="{FF2B5EF4-FFF2-40B4-BE49-F238E27FC236}">
                <a16:creationId xmlns:a16="http://schemas.microsoft.com/office/drawing/2014/main" id="{6C1C9672-42DD-57E9-416C-57C076682C6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11" name="Title Placeholder">
            <a:extLst>
              <a:ext uri="{FF2B5EF4-FFF2-40B4-BE49-F238E27FC236}">
                <a16:creationId xmlns:a16="http://schemas.microsoft.com/office/drawing/2014/main" id="{85B153CC-4B6C-85AB-FFEB-0F2CD0DA990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11613314" cy="265590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4977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904">
          <p15:clr>
            <a:srgbClr val="5ACBF0"/>
          </p15:clr>
        </p15:guide>
        <p15:guide id="9" pos="2048">
          <p15:clr>
            <a:srgbClr val="5ACBF0"/>
          </p15:clr>
        </p15:guide>
        <p15:guide id="10" pos="2525">
          <p15:clr>
            <a:srgbClr val="FDE53C"/>
          </p15:clr>
        </p15:guide>
        <p15:guide id="11" pos="2669">
          <p15:clr>
            <a:srgbClr val="FDE53C"/>
          </p15:clr>
        </p15:guide>
        <p15:guide id="14" pos="3768">
          <p15:clr>
            <a:srgbClr val="A4A3A4"/>
          </p15:clr>
        </p15:guide>
        <p15:guide id="15" pos="3912">
          <p15:clr>
            <a:srgbClr val="A4A3A4"/>
          </p15:clr>
        </p15:guide>
        <p15:guide id="18" pos="5010">
          <p15:clr>
            <a:srgbClr val="FDE53C"/>
          </p15:clr>
        </p15:guide>
        <p15:guide id="19" pos="5154">
          <p15:clr>
            <a:srgbClr val="FDE53C"/>
          </p15:clr>
        </p15:guide>
        <p15:guide id="20" pos="5631">
          <p15:clr>
            <a:srgbClr val="5ACBF0"/>
          </p15:clr>
        </p15:guide>
        <p15:guide id="21" pos="5775">
          <p15:clr>
            <a:srgbClr val="5ACBF0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922FFEC-233E-172C-E602-003A7B3F50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6535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22FFEC-233E-172C-E602-003A7B3F50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FF1CCD16-E874-4575-C807-467DA234694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95100"/>
            <a:ext cx="40432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B4915FF7-2EBE-0DA1-DDC3-CE3F3E028DF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7" y="6495102"/>
            <a:ext cx="371634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BC0175EF-749F-C86F-818F-8A61B862153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2"/>
            <a:ext cx="757238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3D2B748D-0569-6BAA-D751-0BE3B75C09E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2316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904">
          <p15:clr>
            <a:srgbClr val="5ACBF0"/>
          </p15:clr>
        </p15:guide>
        <p15:guide id="9" pos="2048">
          <p15:clr>
            <a:srgbClr val="5ACBF0"/>
          </p15:clr>
        </p15:guide>
        <p15:guide id="10" pos="2525">
          <p15:clr>
            <a:srgbClr val="FDE53C"/>
          </p15:clr>
        </p15:guide>
        <p15:guide id="11" pos="2669">
          <p15:clr>
            <a:srgbClr val="FDE53C"/>
          </p15:clr>
        </p15:guide>
        <p15:guide id="14" pos="3768">
          <p15:clr>
            <a:srgbClr val="A4A3A4"/>
          </p15:clr>
        </p15:guide>
        <p15:guide id="15" pos="3912">
          <p15:clr>
            <a:srgbClr val="A4A3A4"/>
          </p15:clr>
        </p15:guide>
        <p15:guide id="18" pos="5010">
          <p15:clr>
            <a:srgbClr val="FDE53C"/>
          </p15:clr>
        </p15:guide>
        <p15:guide id="19" pos="5154">
          <p15:clr>
            <a:srgbClr val="FDE53C"/>
          </p15:clr>
        </p15:guide>
        <p15:guide id="20" pos="5631">
          <p15:clr>
            <a:srgbClr val="5ACBF0"/>
          </p15:clr>
        </p15:guide>
        <p15:guide id="21" pos="5775">
          <p15:clr>
            <a:srgbClr val="5ACBF0"/>
          </p15:clr>
        </p15:guide>
        <p15:guide id="22" orient="horz" pos="2016">
          <p15:clr>
            <a:srgbClr val="A4A3A4"/>
          </p15:clr>
        </p15:guide>
        <p15:guide id="23" orient="horz" pos="2088">
          <p15:clr>
            <a:srgbClr val="A4A3A4"/>
          </p15:clr>
        </p15:guide>
        <p15:guide id="24" orient="horz" pos="1944">
          <p15:clr>
            <a:srgbClr val="A4A3A4"/>
          </p15:clr>
        </p15:guide>
      </p15:sldGuideLst>
    </p:ext>
  </p:extLs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-bleed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9EBF9AFB-11E3-40A7-CFF8-421D7CDE8D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0585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BF9AFB-11E3-40A7-CFF8-421D7CDE8D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4B940176-20BD-885B-C7DC-D045A7B5B0D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tx1">
              <a:lumMod val="60000"/>
              <a:lumOff val="40000"/>
            </a:schemeClr>
          </a:solidFill>
        </p:spPr>
        <p:txBody>
          <a:bodyPr vert="horz" lIns="9144000" tIns="91440" rIns="182880" bIns="0" rtlCol="0" anchor="t">
            <a:noAutofit/>
          </a:bodyPr>
          <a:lstStyle>
            <a:lvl1pPr marL="231775" indent="-231775" rtl="0">
              <a:buNone/>
              <a:defRPr lang="en-GB" sz="1400" b="1">
                <a:solidFill>
                  <a:srgbClr val="FFFF00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To add image: </a:t>
            </a:r>
            <a:br>
              <a:rPr lang="en-US" dirty="0"/>
            </a:br>
            <a:r>
              <a:rPr lang="en-US" dirty="0"/>
              <a:t>1. Select image placeholder</a:t>
            </a:r>
            <a:br>
              <a:rPr lang="en-US" dirty="0"/>
            </a:br>
            <a:r>
              <a:rPr lang="en-US" dirty="0"/>
              <a:t>2. Drag/drop file or copy/paste image into slide (.jpg, .gif, .</a:t>
            </a:r>
            <a:r>
              <a:rPr lang="en-US" dirty="0" err="1"/>
              <a:t>png</a:t>
            </a:r>
            <a:r>
              <a:rPr lang="en-US" dirty="0"/>
              <a:t>)</a:t>
            </a:r>
            <a:br>
              <a:rPr lang="en-US" dirty="0"/>
            </a:br>
            <a:r>
              <a:rPr lang="en-US" dirty="0"/>
              <a:t>3. Right-click image and “Send to back”</a:t>
            </a:r>
          </a:p>
          <a:p>
            <a:pPr marL="171450" lvl="0" indent="-171450"/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29AE0AC1-71EF-CCFC-AB5C-8DFA568CA5F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85399"/>
            <a:ext cx="404321" cy="282957"/>
          </a:xfrm>
        </p:spPr>
        <p:txBody>
          <a:bodyPr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Copyright Line">
            <a:extLst>
              <a:ext uri="{FF2B5EF4-FFF2-40B4-BE49-F238E27FC236}">
                <a16:creationId xmlns:a16="http://schemas.microsoft.com/office/drawing/2014/main" id="{B707803F-60FA-342A-DB2A-415C371CB04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09" y="6536551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bg1"/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chemeClr val="bg1"/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dirty="0">
                <a:solidFill>
                  <a:schemeClr val="bg1"/>
                </a:solidFill>
              </a:rPr>
              <a:t> Nielsen Consumer LLC. All Rights Reserved.</a:t>
            </a:r>
          </a:p>
        </p:txBody>
      </p:sp>
      <p:sp>
        <p:nvSpPr>
          <p:cNvPr id="6" name="Confidential disclaimer">
            <a:extLst>
              <a:ext uri="{FF2B5EF4-FFF2-40B4-BE49-F238E27FC236}">
                <a16:creationId xmlns:a16="http://schemas.microsoft.com/office/drawing/2014/main" id="{FCE25AF0-0C89-001E-06C2-AD51F5FC7DE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02D2B3EE-E70A-1DEB-939C-DC6B0065BF6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0"/>
          </p:nvPr>
        </p:nvSpPr>
        <p:spPr>
          <a:xfrm>
            <a:off x="3251197" y="6485399"/>
            <a:ext cx="3716341" cy="282957"/>
          </a:xfrm>
        </p:spPr>
        <p:txBody>
          <a:bodyPr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F13BEA8B-0F53-AC66-58D8-93A2E2ABD13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1"/>
          </p:nvPr>
        </p:nvSpPr>
        <p:spPr>
          <a:xfrm>
            <a:off x="2265363" y="6485399"/>
            <a:ext cx="757238" cy="282957"/>
          </a:xfrm>
        </p:spPr>
        <p:txBody>
          <a:bodyPr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cxnSp>
        <p:nvCxnSpPr>
          <p:cNvPr id="16" name="Base Rule">
            <a:extLst>
              <a:ext uri="{FF2B5EF4-FFF2-40B4-BE49-F238E27FC236}">
                <a16:creationId xmlns:a16="http://schemas.microsoft.com/office/drawing/2014/main" id="{A2E4D762-EABE-F9E8-A416-7B524EE5A5F3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292100" y="6395755"/>
            <a:ext cx="1160780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ED1AEB33-C846-8D27-B334-B80B72329C8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chemeClr val="bg1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pic>
        <p:nvPicPr>
          <p:cNvPr id="8" name="NIQ GFK Lockup" hidden="1">
            <a:extLst>
              <a:ext uri="{FF2B5EF4-FFF2-40B4-BE49-F238E27FC236}">
                <a16:creationId xmlns:a16="http://schemas.microsoft.com/office/drawing/2014/main" id="{5D3C3BE7-0356-CB3B-CA9F-9B23ECA7BDF9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5"/>
          <a:srcRect l="23" r="23"/>
          <a:stretch/>
        </p:blipFill>
        <p:spPr>
          <a:xfrm>
            <a:off x="302626" y="6462285"/>
            <a:ext cx="906224" cy="329184"/>
          </a:xfrm>
          <a:prstGeom prst="rect">
            <a:avLst/>
          </a:prstGeom>
        </p:spPr>
      </p:pic>
      <p:pic>
        <p:nvPicPr>
          <p:cNvPr id="2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3D2C78A3-1318-F9F9-A0FA-2E6F97A0A4AD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130" y="6495154"/>
            <a:ext cx="781433" cy="269593"/>
          </a:xfrm>
          <a:prstGeom prst="rect">
            <a:avLst/>
          </a:prstGeom>
        </p:spPr>
      </p:pic>
      <p:pic>
        <p:nvPicPr>
          <p:cNvPr id="18" name="NIQ Logo">
            <a:extLst>
              <a:ext uri="{FF2B5EF4-FFF2-40B4-BE49-F238E27FC236}">
                <a16:creationId xmlns:a16="http://schemas.microsoft.com/office/drawing/2014/main" id="{74EC100F-70B4-0E01-8BC9-6F09D73757D7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92100" y="6495101"/>
            <a:ext cx="645459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647812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CA9138C-6C40-94F1-8666-8AE8125EB9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7811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A9138C-6C40-94F1-8666-8AE8125EB9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Abstracted logo">
            <a:extLst>
              <a:ext uri="{FF2B5EF4-FFF2-40B4-BE49-F238E27FC236}">
                <a16:creationId xmlns:a16="http://schemas.microsoft.com/office/drawing/2014/main" id="{37C4672C-8363-CE87-84A0-A85A94F793F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1"/>
            <a:ext cx="11495577" cy="6496681"/>
          </a:xfrm>
          <a:custGeom>
            <a:avLst/>
            <a:gdLst>
              <a:gd name="connsiteX0" fmla="*/ 0 w 11495577"/>
              <a:gd name="connsiteY0" fmla="*/ 0 h 6496681"/>
              <a:gd name="connsiteX1" fmla="*/ 704099 w 11495577"/>
              <a:gd name="connsiteY1" fmla="*/ 0 h 6496681"/>
              <a:gd name="connsiteX2" fmla="*/ 741689 w 11495577"/>
              <a:gd name="connsiteY2" fmla="*/ 102812 h 6496681"/>
              <a:gd name="connsiteX3" fmla="*/ 3783129 w 11495577"/>
              <a:gd name="connsiteY3" fmla="*/ 2118000 h 6496681"/>
              <a:gd name="connsiteX4" fmla="*/ 6824569 w 11495577"/>
              <a:gd name="connsiteY4" fmla="*/ 102812 h 6496681"/>
              <a:gd name="connsiteX5" fmla="*/ 6862160 w 11495577"/>
              <a:gd name="connsiteY5" fmla="*/ 0 h 6496681"/>
              <a:gd name="connsiteX6" fmla="*/ 10037149 w 11495577"/>
              <a:gd name="connsiteY6" fmla="*/ 0 h 6496681"/>
              <a:gd name="connsiteX7" fmla="*/ 10016547 w 11495577"/>
              <a:gd name="connsiteY7" fmla="*/ 118329 h 6496681"/>
              <a:gd name="connsiteX8" fmla="*/ 9239892 w 11495577"/>
              <a:gd name="connsiteY8" fmla="*/ 2084828 h 6496681"/>
              <a:gd name="connsiteX9" fmla="*/ 11495577 w 11495577"/>
              <a:gd name="connsiteY9" fmla="*/ 4340512 h 6496681"/>
              <a:gd name="connsiteX10" fmla="*/ 9339409 w 11495577"/>
              <a:gd name="connsiteY10" fmla="*/ 6496681 h 6496681"/>
              <a:gd name="connsiteX11" fmla="*/ 7083724 w 11495577"/>
              <a:gd name="connsiteY11" fmla="*/ 4224410 h 6496681"/>
              <a:gd name="connsiteX12" fmla="*/ 3799716 w 11495577"/>
              <a:gd name="connsiteY12" fmla="*/ 5153221 h 6496681"/>
              <a:gd name="connsiteX13" fmla="*/ 2713 w 11495577"/>
              <a:gd name="connsiteY13" fmla="*/ 3888664 h 6496681"/>
              <a:gd name="connsiteX14" fmla="*/ 0 w 11495577"/>
              <a:gd name="connsiteY14" fmla="*/ 3886530 h 649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1495577" h="6496681">
                <a:moveTo>
                  <a:pt x="0" y="0"/>
                </a:moveTo>
                <a:lnTo>
                  <a:pt x="704099" y="0"/>
                </a:lnTo>
                <a:lnTo>
                  <a:pt x="741689" y="102812"/>
                </a:lnTo>
                <a:cubicBezTo>
                  <a:pt x="1242376" y="1287668"/>
                  <a:pt x="2414792" y="2118000"/>
                  <a:pt x="3783129" y="2118000"/>
                </a:cubicBezTo>
                <a:cubicBezTo>
                  <a:pt x="5151467" y="2118000"/>
                  <a:pt x="6323883" y="1287668"/>
                  <a:pt x="6824569" y="102812"/>
                </a:cubicBezTo>
                <a:lnTo>
                  <a:pt x="6862160" y="0"/>
                </a:lnTo>
                <a:lnTo>
                  <a:pt x="10037149" y="0"/>
                </a:lnTo>
                <a:lnTo>
                  <a:pt x="10016547" y="118329"/>
                </a:lnTo>
                <a:cubicBezTo>
                  <a:pt x="9868343" y="824040"/>
                  <a:pt x="9602709" y="1483589"/>
                  <a:pt x="9239892" y="2084828"/>
                </a:cubicBezTo>
                <a:lnTo>
                  <a:pt x="11495577" y="4340512"/>
                </a:lnTo>
                <a:lnTo>
                  <a:pt x="9339409" y="6496681"/>
                </a:lnTo>
                <a:lnTo>
                  <a:pt x="7083724" y="4224410"/>
                </a:lnTo>
                <a:cubicBezTo>
                  <a:pt x="6138328" y="4821503"/>
                  <a:pt x="5010486" y="5153221"/>
                  <a:pt x="3799716" y="5153221"/>
                </a:cubicBezTo>
                <a:cubicBezTo>
                  <a:pt x="2377992" y="5153221"/>
                  <a:pt x="1063024" y="4682402"/>
                  <a:pt x="2713" y="3888664"/>
                </a:cubicBezTo>
                <a:lnTo>
                  <a:pt x="0" y="388653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 w="16583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rtl="0"/>
            <a:endParaRPr lang="en-US" dirty="0"/>
          </a:p>
        </p:txBody>
      </p:sp>
      <p:sp>
        <p:nvSpPr>
          <p:cNvPr id="7" name="Confidential disclaimer">
            <a:extLst>
              <a:ext uri="{FF2B5EF4-FFF2-40B4-BE49-F238E27FC236}">
                <a16:creationId xmlns:a16="http://schemas.microsoft.com/office/drawing/2014/main" id="{8C7D221E-197F-4D9A-2DBE-264A762EB7A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798636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26" name="Footer Placeholder">
            <a:extLst>
              <a:ext uri="{FF2B5EF4-FFF2-40B4-BE49-F238E27FC236}">
                <a16:creationId xmlns:a16="http://schemas.microsoft.com/office/drawing/2014/main" id="{6DAF4C10-B884-4C63-31AE-C07181CF51A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3251197" y="6485399"/>
            <a:ext cx="3716341" cy="282957"/>
          </a:xfrm>
          <a:noFill/>
        </p:spPr>
        <p:txBody>
          <a:bodyPr>
            <a:noAutofit/>
          </a:bodyPr>
          <a:lstStyle>
            <a:lvl1pPr algn="l" rtl="0">
              <a:defRPr/>
            </a:lvl1pPr>
          </a:lstStyle>
          <a:p>
            <a:endParaRPr lang="en-US" dirty="0"/>
          </a:p>
        </p:txBody>
      </p:sp>
      <p:sp>
        <p:nvSpPr>
          <p:cNvPr id="16" name="Copyright Line">
            <a:extLst>
              <a:ext uri="{FF2B5EF4-FFF2-40B4-BE49-F238E27FC236}">
                <a16:creationId xmlns:a16="http://schemas.microsoft.com/office/drawing/2014/main" id="{8D552AA0-2719-EBF2-2C9E-A8D7C82BEB55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88558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13" name="Contact Info Placeholder">
            <a:extLst>
              <a:ext uri="{FF2B5EF4-FFF2-40B4-BE49-F238E27FC236}">
                <a16:creationId xmlns:a16="http://schemas.microsoft.com/office/drawing/2014/main" id="{C53A8FC6-F70F-155C-7171-C3706040B82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88559" y="4707481"/>
            <a:ext cx="8642082" cy="423465"/>
          </a:xfrm>
        </p:spPr>
        <p:txBody>
          <a:bodyPr t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ontact information</a:t>
            </a:r>
          </a:p>
        </p:txBody>
      </p:sp>
      <p:sp>
        <p:nvSpPr>
          <p:cNvPr id="12" name="Presenter Name Placeholder">
            <a:extLst>
              <a:ext uri="{FF2B5EF4-FFF2-40B4-BE49-F238E27FC236}">
                <a16:creationId xmlns:a16="http://schemas.microsoft.com/office/drawing/2014/main" id="{FDEBEBA6-435D-29FE-A7B2-7A24861035E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88559" y="4339347"/>
            <a:ext cx="8642082" cy="344384"/>
          </a:xfrm>
        </p:spPr>
        <p:txBody>
          <a:bodyPr tIns="0" bIns="0" anchor="b" anchorCtr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811C7246-8A71-F257-DB0D-3E1F23CE69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0" y="3136050"/>
            <a:ext cx="7121979" cy="829817"/>
          </a:xfrm>
        </p:spPr>
        <p:txBody>
          <a:bodyPr>
            <a:noAutofit/>
          </a:bodyPr>
          <a:lstStyle>
            <a:lvl1pPr marL="0" indent="0" rtl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 dirty="0"/>
              <a:t>[Call to action]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D9E3A23B-F3DB-B7EF-DCB8-D944C23E6D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953699"/>
            <a:ext cx="7121979" cy="1938435"/>
          </a:xfrm>
        </p:spPr>
        <p:txBody>
          <a:bodyPr vert="horz" anchor="b">
            <a:noAutofit/>
          </a:bodyPr>
          <a:lstStyle>
            <a:lvl1pPr rtl="0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Thank </a:t>
            </a:r>
            <a:r>
              <a:rPr lang="en-US"/>
              <a:t>you]</a:t>
            </a:r>
            <a:endParaRPr lang="en-US" dirty="0"/>
          </a:p>
        </p:txBody>
      </p:sp>
      <p:pic>
        <p:nvPicPr>
          <p:cNvPr id="4" name="NielsenIQ GFK lockup" hidden="1">
            <a:extLst>
              <a:ext uri="{FF2B5EF4-FFF2-40B4-BE49-F238E27FC236}">
                <a16:creationId xmlns:a16="http://schemas.microsoft.com/office/drawing/2014/main" id="{DCA6E8BC-B77A-54A1-C369-91956B34FEC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86122" y="5539740"/>
            <a:ext cx="3377876" cy="753596"/>
          </a:xfrm>
          <a:prstGeom prst="rect">
            <a:avLst/>
          </a:prstGeom>
        </p:spPr>
      </p:pic>
      <p:pic>
        <p:nvPicPr>
          <p:cNvPr id="22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B75E8267-9411-9919-62E4-BB9AB43721F4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558" y="5563212"/>
            <a:ext cx="2155411" cy="743616"/>
          </a:xfrm>
          <a:prstGeom prst="rect">
            <a:avLst/>
          </a:prstGeom>
        </p:spPr>
      </p:pic>
      <p:sp>
        <p:nvSpPr>
          <p:cNvPr id="5" name="Nielsen wordmark">
            <a:extLst>
              <a:ext uri="{FF2B5EF4-FFF2-40B4-BE49-F238E27FC236}">
                <a16:creationId xmlns:a16="http://schemas.microsoft.com/office/drawing/2014/main" id="{0A2688EF-BBA7-DD42-EAFC-01D7D42070A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95274" y="5686380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accent1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7204473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3874341-7955-2ED7-CC50-E65FB585FA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0559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874341-7955-2ED7-CC50-E65FB585FA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Abstracted logo">
            <a:extLst>
              <a:ext uri="{FF2B5EF4-FFF2-40B4-BE49-F238E27FC236}">
                <a16:creationId xmlns:a16="http://schemas.microsoft.com/office/drawing/2014/main" id="{37C4672C-8363-CE87-84A0-A85A94F793F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1"/>
            <a:ext cx="11495577" cy="6496681"/>
          </a:xfrm>
          <a:custGeom>
            <a:avLst/>
            <a:gdLst>
              <a:gd name="connsiteX0" fmla="*/ 0 w 11495577"/>
              <a:gd name="connsiteY0" fmla="*/ 0 h 6496681"/>
              <a:gd name="connsiteX1" fmla="*/ 704099 w 11495577"/>
              <a:gd name="connsiteY1" fmla="*/ 0 h 6496681"/>
              <a:gd name="connsiteX2" fmla="*/ 741689 w 11495577"/>
              <a:gd name="connsiteY2" fmla="*/ 102812 h 6496681"/>
              <a:gd name="connsiteX3" fmla="*/ 3783129 w 11495577"/>
              <a:gd name="connsiteY3" fmla="*/ 2118000 h 6496681"/>
              <a:gd name="connsiteX4" fmla="*/ 6824569 w 11495577"/>
              <a:gd name="connsiteY4" fmla="*/ 102812 h 6496681"/>
              <a:gd name="connsiteX5" fmla="*/ 6862160 w 11495577"/>
              <a:gd name="connsiteY5" fmla="*/ 0 h 6496681"/>
              <a:gd name="connsiteX6" fmla="*/ 10037149 w 11495577"/>
              <a:gd name="connsiteY6" fmla="*/ 0 h 6496681"/>
              <a:gd name="connsiteX7" fmla="*/ 10016547 w 11495577"/>
              <a:gd name="connsiteY7" fmla="*/ 118329 h 6496681"/>
              <a:gd name="connsiteX8" fmla="*/ 9239892 w 11495577"/>
              <a:gd name="connsiteY8" fmla="*/ 2084828 h 6496681"/>
              <a:gd name="connsiteX9" fmla="*/ 11495577 w 11495577"/>
              <a:gd name="connsiteY9" fmla="*/ 4340512 h 6496681"/>
              <a:gd name="connsiteX10" fmla="*/ 9339409 w 11495577"/>
              <a:gd name="connsiteY10" fmla="*/ 6496681 h 6496681"/>
              <a:gd name="connsiteX11" fmla="*/ 7083724 w 11495577"/>
              <a:gd name="connsiteY11" fmla="*/ 4224410 h 6496681"/>
              <a:gd name="connsiteX12" fmla="*/ 3799716 w 11495577"/>
              <a:gd name="connsiteY12" fmla="*/ 5153221 h 6496681"/>
              <a:gd name="connsiteX13" fmla="*/ 2713 w 11495577"/>
              <a:gd name="connsiteY13" fmla="*/ 3888664 h 6496681"/>
              <a:gd name="connsiteX14" fmla="*/ 0 w 11495577"/>
              <a:gd name="connsiteY14" fmla="*/ 3886530 h 649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1495577" h="6496681">
                <a:moveTo>
                  <a:pt x="0" y="0"/>
                </a:moveTo>
                <a:lnTo>
                  <a:pt x="704099" y="0"/>
                </a:lnTo>
                <a:lnTo>
                  <a:pt x="741689" y="102812"/>
                </a:lnTo>
                <a:cubicBezTo>
                  <a:pt x="1242376" y="1287668"/>
                  <a:pt x="2414792" y="2118000"/>
                  <a:pt x="3783129" y="2118000"/>
                </a:cubicBezTo>
                <a:cubicBezTo>
                  <a:pt x="5151467" y="2118000"/>
                  <a:pt x="6323883" y="1287668"/>
                  <a:pt x="6824569" y="102812"/>
                </a:cubicBezTo>
                <a:lnTo>
                  <a:pt x="6862160" y="0"/>
                </a:lnTo>
                <a:lnTo>
                  <a:pt x="10037149" y="0"/>
                </a:lnTo>
                <a:lnTo>
                  <a:pt x="10016547" y="118329"/>
                </a:lnTo>
                <a:cubicBezTo>
                  <a:pt x="9868343" y="824040"/>
                  <a:pt x="9602709" y="1483589"/>
                  <a:pt x="9239892" y="2084828"/>
                </a:cubicBezTo>
                <a:lnTo>
                  <a:pt x="11495577" y="4340512"/>
                </a:lnTo>
                <a:lnTo>
                  <a:pt x="9339409" y="6496681"/>
                </a:lnTo>
                <a:lnTo>
                  <a:pt x="7083724" y="4224410"/>
                </a:lnTo>
                <a:cubicBezTo>
                  <a:pt x="6138328" y="4821503"/>
                  <a:pt x="5010486" y="5153221"/>
                  <a:pt x="3799716" y="5153221"/>
                </a:cubicBezTo>
                <a:cubicBezTo>
                  <a:pt x="2377992" y="5153221"/>
                  <a:pt x="1063024" y="4682402"/>
                  <a:pt x="2713" y="3888664"/>
                </a:cubicBezTo>
                <a:lnTo>
                  <a:pt x="0" y="3886530"/>
                </a:lnTo>
                <a:close/>
              </a:path>
            </a:pathLst>
          </a:custGeom>
          <a:solidFill>
            <a:srgbClr val="1F2358"/>
          </a:solidFill>
          <a:ln w="16583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rtl="0"/>
            <a:endParaRPr lang="en-US" dirty="0"/>
          </a:p>
        </p:txBody>
      </p:sp>
      <p:sp>
        <p:nvSpPr>
          <p:cNvPr id="2" name="Confidential disclaimer">
            <a:extLst>
              <a:ext uri="{FF2B5EF4-FFF2-40B4-BE49-F238E27FC236}">
                <a16:creationId xmlns:a16="http://schemas.microsoft.com/office/drawing/2014/main" id="{CC2B4C36-E651-2950-6A7E-EA8C3223EAD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798636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6567EAC2-C7F5-1090-5CB4-EBD818C469A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3251197" y="6485399"/>
            <a:ext cx="3716341" cy="282957"/>
          </a:xfrm>
          <a:noFill/>
        </p:spPr>
        <p:txBody>
          <a:bodyPr>
            <a:noAutofit/>
          </a:bodyPr>
          <a:lstStyle>
            <a:lvl1pPr algn="l" rtl="0"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Copyright Line">
            <a:extLst>
              <a:ext uri="{FF2B5EF4-FFF2-40B4-BE49-F238E27FC236}">
                <a16:creationId xmlns:a16="http://schemas.microsoft.com/office/drawing/2014/main" id="{F7126EC3-8C35-EE2B-ADB1-C715FE7A9F8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88558" y="6536553"/>
            <a:ext cx="2458455" cy="200055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© </a:t>
            </a:r>
            <a:fld id="{8BFAE56B-6D08-4B3F-AB76-3783A8251C9C}" type="datetimeyyyy">
              <a:rPr lang="en-US" sz="700" kern="1200" smtClean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kern="1200" dirty="0">
                <a:solidFill>
                  <a:srgbClr val="BBBBBB"/>
                </a:solidFill>
                <a:latin typeface="+mn-lt"/>
                <a:ea typeface="+mn-ea"/>
                <a:cs typeface="+mn-cs"/>
              </a:rPr>
              <a:t> Nielsen Consumer LLC. All Rights Reserved.</a:t>
            </a:r>
          </a:p>
        </p:txBody>
      </p:sp>
      <p:sp>
        <p:nvSpPr>
          <p:cNvPr id="17" name="Contact Info Placeholder">
            <a:extLst>
              <a:ext uri="{FF2B5EF4-FFF2-40B4-BE49-F238E27FC236}">
                <a16:creationId xmlns:a16="http://schemas.microsoft.com/office/drawing/2014/main" id="{A3FB210C-3E75-B9CF-9D2B-068286A55F3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88559" y="4707481"/>
            <a:ext cx="8642082" cy="423465"/>
          </a:xfrm>
        </p:spPr>
        <p:txBody>
          <a:bodyPr t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ontact information</a:t>
            </a:r>
          </a:p>
        </p:txBody>
      </p:sp>
      <p:sp>
        <p:nvSpPr>
          <p:cNvPr id="24" name="Presenter Name Placeholder">
            <a:extLst>
              <a:ext uri="{FF2B5EF4-FFF2-40B4-BE49-F238E27FC236}">
                <a16:creationId xmlns:a16="http://schemas.microsoft.com/office/drawing/2014/main" id="{9CCE47FC-ABF8-A3D7-1819-33209FC9E53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88559" y="4339347"/>
            <a:ext cx="8642082" cy="344384"/>
          </a:xfrm>
        </p:spPr>
        <p:txBody>
          <a:bodyPr tIns="0" bIns="0" anchor="b" anchorCtr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200" b="1">
                <a:solidFill>
                  <a:schemeClr val="bg1"/>
                </a:solidFill>
              </a:defRPr>
            </a:lvl2pPr>
            <a:lvl3pPr marL="914400" indent="0">
              <a:buNone/>
              <a:defRPr sz="1200" b="1">
                <a:solidFill>
                  <a:schemeClr val="bg1"/>
                </a:solidFill>
              </a:defRPr>
            </a:lvl3pPr>
            <a:lvl4pPr marL="1371600" indent="0">
              <a:buNone/>
              <a:defRPr sz="1200" b="1">
                <a:solidFill>
                  <a:schemeClr val="bg1"/>
                </a:solidFill>
              </a:defRPr>
            </a:lvl4pPr>
            <a:lvl5pPr marL="1828800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25" name="Subtitle Placeholder">
            <a:extLst>
              <a:ext uri="{FF2B5EF4-FFF2-40B4-BE49-F238E27FC236}">
                <a16:creationId xmlns:a16="http://schemas.microsoft.com/office/drawing/2014/main" id="{10BFC0B4-2BF4-2A65-9425-84381B182E3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 hasCustomPrompt="1"/>
          </p:nvPr>
        </p:nvSpPr>
        <p:spPr>
          <a:xfrm>
            <a:off x="292100" y="3136050"/>
            <a:ext cx="7121979" cy="829817"/>
          </a:xfrm>
        </p:spPr>
        <p:txBody>
          <a:bodyPr>
            <a:no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 dirty="0"/>
              <a:t>[Call to action]</a:t>
            </a:r>
          </a:p>
        </p:txBody>
      </p:sp>
      <p:sp>
        <p:nvSpPr>
          <p:cNvPr id="27" name="Title Placeholder">
            <a:extLst>
              <a:ext uri="{FF2B5EF4-FFF2-40B4-BE49-F238E27FC236}">
                <a16:creationId xmlns:a16="http://schemas.microsoft.com/office/drawing/2014/main" id="{ABB00A9C-AB66-516A-550B-B734DF89C33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953699"/>
            <a:ext cx="7121979" cy="1938435"/>
          </a:xfrm>
        </p:spPr>
        <p:txBody>
          <a:bodyPr vert="horz" anchor="b">
            <a:noAutofit/>
          </a:bodyPr>
          <a:lstStyle>
            <a:lvl1pPr rtl="0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Thank </a:t>
            </a:r>
            <a:r>
              <a:rPr lang="en-US"/>
              <a:t>you]</a:t>
            </a:r>
            <a:endParaRPr lang="en-US" dirty="0"/>
          </a:p>
        </p:txBody>
      </p:sp>
      <p:pic>
        <p:nvPicPr>
          <p:cNvPr id="3" name="NielsenIQ GFK lockup" hidden="1">
            <a:extLst>
              <a:ext uri="{FF2B5EF4-FFF2-40B4-BE49-F238E27FC236}">
                <a16:creationId xmlns:a16="http://schemas.microsoft.com/office/drawing/2014/main" id="{8991D051-ABB0-DBF5-92EA-40EAAEB0F576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86122" y="5539740"/>
            <a:ext cx="3377876" cy="753596"/>
          </a:xfrm>
          <a:prstGeom prst="rect">
            <a:avLst/>
          </a:prstGeom>
        </p:spPr>
      </p:pic>
      <p:pic>
        <p:nvPicPr>
          <p:cNvPr id="22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B75E8267-9411-9919-62E4-BB9AB43721F4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558" y="5563212"/>
            <a:ext cx="2155411" cy="743616"/>
          </a:xfrm>
          <a:prstGeom prst="rect">
            <a:avLst/>
          </a:prstGeom>
        </p:spPr>
      </p:pic>
      <p:sp>
        <p:nvSpPr>
          <p:cNvPr id="28" name="Nielsen wordmark">
            <a:extLst>
              <a:ext uri="{FF2B5EF4-FFF2-40B4-BE49-F238E27FC236}">
                <a16:creationId xmlns:a16="http://schemas.microsoft.com/office/drawing/2014/main" id="{B8D9CC60-F1A1-B774-0169-5108239545D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95274" y="5686380"/>
            <a:ext cx="2855736" cy="516802"/>
          </a:xfrm>
          <a:custGeom>
            <a:avLst/>
            <a:gdLst>
              <a:gd name="connsiteX0" fmla="*/ 1628098 w 2855736"/>
              <a:gd name="connsiteY0" fmla="*/ 189308 h 516802"/>
              <a:gd name="connsiteX1" fmla="*/ 1598276 w 2855736"/>
              <a:gd name="connsiteY1" fmla="*/ 194730 h 516802"/>
              <a:gd name="connsiteX2" fmla="*/ 1576820 w 2855736"/>
              <a:gd name="connsiteY2" fmla="*/ 209524 h 516802"/>
              <a:gd name="connsiteX3" fmla="*/ 1563188 w 2855736"/>
              <a:gd name="connsiteY3" fmla="*/ 231368 h 516802"/>
              <a:gd name="connsiteX4" fmla="*/ 1563188 w 2855736"/>
              <a:gd name="connsiteY4" fmla="*/ 231290 h 516802"/>
              <a:gd name="connsiteX5" fmla="*/ 1557921 w 2855736"/>
              <a:gd name="connsiteY5" fmla="*/ 254838 h 516802"/>
              <a:gd name="connsiteX6" fmla="*/ 1694015 w 2855736"/>
              <a:gd name="connsiteY6" fmla="*/ 254838 h 516802"/>
              <a:gd name="connsiteX7" fmla="*/ 1678059 w 2855736"/>
              <a:gd name="connsiteY7" fmla="*/ 207201 h 516802"/>
              <a:gd name="connsiteX8" fmla="*/ 1628098 w 2855736"/>
              <a:gd name="connsiteY8" fmla="*/ 189308 h 516802"/>
              <a:gd name="connsiteX9" fmla="*/ 782717 w 2855736"/>
              <a:gd name="connsiteY9" fmla="*/ 189308 h 516802"/>
              <a:gd name="connsiteX10" fmla="*/ 752895 w 2855736"/>
              <a:gd name="connsiteY10" fmla="*/ 194730 h 516802"/>
              <a:gd name="connsiteX11" fmla="*/ 731439 w 2855736"/>
              <a:gd name="connsiteY11" fmla="*/ 209524 h 516802"/>
              <a:gd name="connsiteX12" fmla="*/ 717807 w 2855736"/>
              <a:gd name="connsiteY12" fmla="*/ 231368 h 516802"/>
              <a:gd name="connsiteX13" fmla="*/ 717807 w 2855736"/>
              <a:gd name="connsiteY13" fmla="*/ 231290 h 516802"/>
              <a:gd name="connsiteX14" fmla="*/ 712539 w 2855736"/>
              <a:gd name="connsiteY14" fmla="*/ 254838 h 516802"/>
              <a:gd name="connsiteX15" fmla="*/ 848634 w 2855736"/>
              <a:gd name="connsiteY15" fmla="*/ 254838 h 516802"/>
              <a:gd name="connsiteX16" fmla="*/ 832677 w 2855736"/>
              <a:gd name="connsiteY16" fmla="*/ 207201 h 516802"/>
              <a:gd name="connsiteX17" fmla="*/ 782717 w 2855736"/>
              <a:gd name="connsiteY17" fmla="*/ 189308 h 516802"/>
              <a:gd name="connsiteX18" fmla="*/ 476601 w 2855736"/>
              <a:gd name="connsiteY18" fmla="*/ 124553 h 516802"/>
              <a:gd name="connsiteX19" fmla="*/ 480087 w 2855736"/>
              <a:gd name="connsiteY19" fmla="*/ 124553 h 516802"/>
              <a:gd name="connsiteX20" fmla="*/ 569319 w 2855736"/>
              <a:gd name="connsiteY20" fmla="*/ 124553 h 516802"/>
              <a:gd name="connsiteX21" fmla="*/ 572882 w 2855736"/>
              <a:gd name="connsiteY21" fmla="*/ 124553 h 516802"/>
              <a:gd name="connsiteX22" fmla="*/ 572882 w 2855736"/>
              <a:gd name="connsiteY22" fmla="*/ 128116 h 516802"/>
              <a:gd name="connsiteX23" fmla="*/ 572804 w 2855736"/>
              <a:gd name="connsiteY23" fmla="*/ 466299 h 516802"/>
              <a:gd name="connsiteX24" fmla="*/ 569319 w 2855736"/>
              <a:gd name="connsiteY24" fmla="*/ 466299 h 516802"/>
              <a:gd name="connsiteX25" fmla="*/ 480087 w 2855736"/>
              <a:gd name="connsiteY25" fmla="*/ 466299 h 516802"/>
              <a:gd name="connsiteX26" fmla="*/ 476601 w 2855736"/>
              <a:gd name="connsiteY26" fmla="*/ 466299 h 516802"/>
              <a:gd name="connsiteX27" fmla="*/ 476601 w 2855736"/>
              <a:gd name="connsiteY27" fmla="*/ 127496 h 516802"/>
              <a:gd name="connsiteX28" fmla="*/ 2026544 w 2855736"/>
              <a:gd name="connsiteY28" fmla="*/ 116342 h 516802"/>
              <a:gd name="connsiteX29" fmla="*/ 2113220 w 2855736"/>
              <a:gd name="connsiteY29" fmla="*/ 147093 h 516802"/>
              <a:gd name="connsiteX30" fmla="*/ 2141569 w 2855736"/>
              <a:gd name="connsiteY30" fmla="*/ 242832 h 516802"/>
              <a:gd name="connsiteX31" fmla="*/ 2141569 w 2855736"/>
              <a:gd name="connsiteY31" fmla="*/ 466376 h 516802"/>
              <a:gd name="connsiteX32" fmla="*/ 2045366 w 2855736"/>
              <a:gd name="connsiteY32" fmla="*/ 466376 h 516802"/>
              <a:gd name="connsiteX33" fmla="*/ 2045366 w 2855736"/>
              <a:gd name="connsiteY33" fmla="*/ 254992 h 516802"/>
              <a:gd name="connsiteX34" fmla="*/ 2033050 w 2855736"/>
              <a:gd name="connsiteY34" fmla="*/ 209757 h 516802"/>
              <a:gd name="connsiteX35" fmla="*/ 1999820 w 2855736"/>
              <a:gd name="connsiteY35" fmla="*/ 197983 h 516802"/>
              <a:gd name="connsiteX36" fmla="*/ 1971548 w 2855736"/>
              <a:gd name="connsiteY36" fmla="*/ 202786 h 516802"/>
              <a:gd name="connsiteX37" fmla="*/ 1949472 w 2855736"/>
              <a:gd name="connsiteY37" fmla="*/ 216651 h 516802"/>
              <a:gd name="connsiteX38" fmla="*/ 1935143 w 2855736"/>
              <a:gd name="connsiteY38" fmla="*/ 237022 h 516802"/>
              <a:gd name="connsiteX39" fmla="*/ 1929411 w 2855736"/>
              <a:gd name="connsiteY39" fmla="*/ 262583 h 516802"/>
              <a:gd name="connsiteX40" fmla="*/ 1929411 w 2855736"/>
              <a:gd name="connsiteY40" fmla="*/ 466299 h 516802"/>
              <a:gd name="connsiteX41" fmla="*/ 1833130 w 2855736"/>
              <a:gd name="connsiteY41" fmla="*/ 466299 h 516802"/>
              <a:gd name="connsiteX42" fmla="*/ 1833130 w 2855736"/>
              <a:gd name="connsiteY42" fmla="*/ 124630 h 516802"/>
              <a:gd name="connsiteX43" fmla="*/ 1926855 w 2855736"/>
              <a:gd name="connsiteY43" fmla="*/ 124630 h 516802"/>
              <a:gd name="connsiteX44" fmla="*/ 1926855 w 2855736"/>
              <a:gd name="connsiteY44" fmla="*/ 165063 h 516802"/>
              <a:gd name="connsiteX45" fmla="*/ 1968605 w 2855736"/>
              <a:gd name="connsiteY45" fmla="*/ 130052 h 516802"/>
              <a:gd name="connsiteX46" fmla="*/ 2026544 w 2855736"/>
              <a:gd name="connsiteY46" fmla="*/ 116342 h 516802"/>
              <a:gd name="connsiteX47" fmla="*/ 1272176 w 2855736"/>
              <a:gd name="connsiteY47" fmla="*/ 115490 h 516802"/>
              <a:gd name="connsiteX48" fmla="*/ 1339410 w 2855736"/>
              <a:gd name="connsiteY48" fmla="*/ 123623 h 516802"/>
              <a:gd name="connsiteX49" fmla="*/ 1384258 w 2855736"/>
              <a:gd name="connsiteY49" fmla="*/ 145544 h 516802"/>
              <a:gd name="connsiteX50" fmla="*/ 1397194 w 2855736"/>
              <a:gd name="connsiteY50" fmla="*/ 157860 h 516802"/>
              <a:gd name="connsiteX51" fmla="*/ 1410749 w 2855736"/>
              <a:gd name="connsiteY51" fmla="*/ 178696 h 516802"/>
              <a:gd name="connsiteX52" fmla="*/ 1415319 w 2855736"/>
              <a:gd name="connsiteY52" fmla="*/ 189695 h 516802"/>
              <a:gd name="connsiteX53" fmla="*/ 1416171 w 2855736"/>
              <a:gd name="connsiteY53" fmla="*/ 192174 h 516802"/>
              <a:gd name="connsiteX54" fmla="*/ 1422755 w 2855736"/>
              <a:gd name="connsiteY54" fmla="*/ 222847 h 516802"/>
              <a:gd name="connsiteX55" fmla="*/ 1423065 w 2855736"/>
              <a:gd name="connsiteY55" fmla="*/ 226643 h 516802"/>
              <a:gd name="connsiteX56" fmla="*/ 1335382 w 2855736"/>
              <a:gd name="connsiteY56" fmla="*/ 226643 h 516802"/>
              <a:gd name="connsiteX57" fmla="*/ 1333058 w 2855736"/>
              <a:gd name="connsiteY57" fmla="*/ 218432 h 516802"/>
              <a:gd name="connsiteX58" fmla="*/ 1318109 w 2855736"/>
              <a:gd name="connsiteY58" fmla="*/ 198835 h 516802"/>
              <a:gd name="connsiteX59" fmla="*/ 1274035 w 2855736"/>
              <a:gd name="connsiteY59" fmla="*/ 188688 h 516802"/>
              <a:gd name="connsiteX60" fmla="*/ 1245220 w 2855736"/>
              <a:gd name="connsiteY60" fmla="*/ 191477 h 516802"/>
              <a:gd name="connsiteX61" fmla="*/ 1227870 w 2855736"/>
              <a:gd name="connsiteY61" fmla="*/ 198293 h 516802"/>
              <a:gd name="connsiteX62" fmla="*/ 1219504 w 2855736"/>
              <a:gd name="connsiteY62" fmla="*/ 207123 h 516802"/>
              <a:gd name="connsiteX63" fmla="*/ 1217025 w 2855736"/>
              <a:gd name="connsiteY63" fmla="*/ 216418 h 516802"/>
              <a:gd name="connsiteX64" fmla="*/ 1225469 w 2855736"/>
              <a:gd name="connsiteY64" fmla="*/ 236867 h 516802"/>
              <a:gd name="connsiteX65" fmla="*/ 1262494 w 2855736"/>
              <a:gd name="connsiteY65" fmla="*/ 248641 h 516802"/>
              <a:gd name="connsiteX66" fmla="*/ 1304553 w 2855736"/>
              <a:gd name="connsiteY66" fmla="*/ 255612 h 516802"/>
              <a:gd name="connsiteX67" fmla="*/ 1365513 w 2855736"/>
              <a:gd name="connsiteY67" fmla="*/ 270484 h 516802"/>
              <a:gd name="connsiteX68" fmla="*/ 1403313 w 2855736"/>
              <a:gd name="connsiteY68" fmla="*/ 293179 h 516802"/>
              <a:gd name="connsiteX69" fmla="*/ 1423375 w 2855736"/>
              <a:gd name="connsiteY69" fmla="*/ 325635 h 516802"/>
              <a:gd name="connsiteX70" fmla="*/ 1423375 w 2855736"/>
              <a:gd name="connsiteY70" fmla="*/ 325712 h 516802"/>
              <a:gd name="connsiteX71" fmla="*/ 1428952 w 2855736"/>
              <a:gd name="connsiteY71" fmla="*/ 368159 h 516802"/>
              <a:gd name="connsiteX72" fmla="*/ 1391927 w 2855736"/>
              <a:gd name="connsiteY72" fmla="*/ 446392 h 516802"/>
              <a:gd name="connsiteX73" fmla="*/ 1279534 w 2855736"/>
              <a:gd name="connsiteY73" fmla="*/ 475516 h 516802"/>
              <a:gd name="connsiteX74" fmla="*/ 1221828 w 2855736"/>
              <a:gd name="connsiteY74" fmla="*/ 470017 h 516802"/>
              <a:gd name="connsiteX75" fmla="*/ 1172255 w 2855736"/>
              <a:gd name="connsiteY75" fmla="*/ 450730 h 516802"/>
              <a:gd name="connsiteX76" fmla="*/ 1136081 w 2855736"/>
              <a:gd name="connsiteY76" fmla="*/ 413937 h 516802"/>
              <a:gd name="connsiteX77" fmla="*/ 1120280 w 2855736"/>
              <a:gd name="connsiteY77" fmla="*/ 360336 h 516802"/>
              <a:gd name="connsiteX78" fmla="*/ 1213230 w 2855736"/>
              <a:gd name="connsiteY78" fmla="*/ 360336 h 516802"/>
              <a:gd name="connsiteX79" fmla="*/ 1233911 w 2855736"/>
              <a:gd name="connsiteY79" fmla="*/ 391087 h 516802"/>
              <a:gd name="connsiteX80" fmla="*/ 1278295 w 2855736"/>
              <a:gd name="connsiteY80" fmla="*/ 399685 h 516802"/>
              <a:gd name="connsiteX81" fmla="*/ 1322059 w 2855736"/>
              <a:gd name="connsiteY81" fmla="*/ 392171 h 516802"/>
              <a:gd name="connsiteX82" fmla="*/ 1333988 w 2855736"/>
              <a:gd name="connsiteY82" fmla="*/ 369398 h 516802"/>
              <a:gd name="connsiteX83" fmla="*/ 1326319 w 2855736"/>
              <a:gd name="connsiteY83" fmla="*/ 349492 h 516802"/>
              <a:gd name="connsiteX84" fmla="*/ 1295568 w 2855736"/>
              <a:gd name="connsiteY84" fmla="*/ 337253 h 516802"/>
              <a:gd name="connsiteX85" fmla="*/ 1247467 w 2855736"/>
              <a:gd name="connsiteY85" fmla="*/ 329585 h 516802"/>
              <a:gd name="connsiteX86" fmla="*/ 1155678 w 2855736"/>
              <a:gd name="connsiteY86" fmla="*/ 296045 h 516802"/>
              <a:gd name="connsiteX87" fmla="*/ 1124695 w 2855736"/>
              <a:gd name="connsiteY87" fmla="*/ 222847 h 516802"/>
              <a:gd name="connsiteX88" fmla="*/ 1135617 w 2855736"/>
              <a:gd name="connsiteY88" fmla="*/ 177844 h 516802"/>
              <a:gd name="connsiteX89" fmla="*/ 1166290 w 2855736"/>
              <a:gd name="connsiteY89" fmla="*/ 144150 h 516802"/>
              <a:gd name="connsiteX90" fmla="*/ 1212920 w 2855736"/>
              <a:gd name="connsiteY90" fmla="*/ 122926 h 516802"/>
              <a:gd name="connsiteX91" fmla="*/ 1272176 w 2855736"/>
              <a:gd name="connsiteY91" fmla="*/ 115490 h 516802"/>
              <a:gd name="connsiteX92" fmla="*/ 1629957 w 2855736"/>
              <a:gd name="connsiteY92" fmla="*/ 115335 h 516802"/>
              <a:gd name="connsiteX93" fmla="*/ 1747616 w 2855736"/>
              <a:gd name="connsiteY93" fmla="*/ 160493 h 516802"/>
              <a:gd name="connsiteX94" fmla="*/ 1787043 w 2855736"/>
              <a:gd name="connsiteY94" fmla="*/ 281328 h 516802"/>
              <a:gd name="connsiteX95" fmla="*/ 1787043 w 2855736"/>
              <a:gd name="connsiteY95" fmla="*/ 320522 h 516802"/>
              <a:gd name="connsiteX96" fmla="*/ 1556526 w 2855736"/>
              <a:gd name="connsiteY96" fmla="*/ 320522 h 516802"/>
              <a:gd name="connsiteX97" fmla="*/ 1575968 w 2855736"/>
              <a:gd name="connsiteY97" fmla="*/ 377454 h 516802"/>
              <a:gd name="connsiteX98" fmla="*/ 1630654 w 2855736"/>
              <a:gd name="connsiteY98" fmla="*/ 398833 h 516802"/>
              <a:gd name="connsiteX99" fmla="*/ 1688825 w 2855736"/>
              <a:gd name="connsiteY99" fmla="*/ 360181 h 516802"/>
              <a:gd name="connsiteX100" fmla="*/ 1688903 w 2855736"/>
              <a:gd name="connsiteY100" fmla="*/ 360181 h 516802"/>
              <a:gd name="connsiteX101" fmla="*/ 1782937 w 2855736"/>
              <a:gd name="connsiteY101" fmla="*/ 360181 h 516802"/>
              <a:gd name="connsiteX102" fmla="*/ 1737082 w 2855736"/>
              <a:gd name="connsiteY102" fmla="*/ 445540 h 516802"/>
              <a:gd name="connsiteX103" fmla="*/ 1630034 w 2855736"/>
              <a:gd name="connsiteY103" fmla="*/ 475284 h 516802"/>
              <a:gd name="connsiteX104" fmla="*/ 1502848 w 2855736"/>
              <a:gd name="connsiteY104" fmla="*/ 428267 h 516802"/>
              <a:gd name="connsiteX105" fmla="*/ 1460168 w 2855736"/>
              <a:gd name="connsiteY105" fmla="*/ 295890 h 516802"/>
              <a:gd name="connsiteX106" fmla="*/ 1472484 w 2855736"/>
              <a:gd name="connsiteY106" fmla="*/ 219826 h 516802"/>
              <a:gd name="connsiteX107" fmla="*/ 1507340 w 2855736"/>
              <a:gd name="connsiteY107" fmla="*/ 162894 h 516802"/>
              <a:gd name="connsiteX108" fmla="*/ 1561174 w 2855736"/>
              <a:gd name="connsiteY108" fmla="*/ 127341 h 516802"/>
              <a:gd name="connsiteX109" fmla="*/ 1629957 w 2855736"/>
              <a:gd name="connsiteY109" fmla="*/ 115335 h 516802"/>
              <a:gd name="connsiteX110" fmla="*/ 784576 w 2855736"/>
              <a:gd name="connsiteY110" fmla="*/ 115335 h 516802"/>
              <a:gd name="connsiteX111" fmla="*/ 902235 w 2855736"/>
              <a:gd name="connsiteY111" fmla="*/ 160493 h 516802"/>
              <a:gd name="connsiteX112" fmla="*/ 941661 w 2855736"/>
              <a:gd name="connsiteY112" fmla="*/ 281328 h 516802"/>
              <a:gd name="connsiteX113" fmla="*/ 941661 w 2855736"/>
              <a:gd name="connsiteY113" fmla="*/ 320522 h 516802"/>
              <a:gd name="connsiteX114" fmla="*/ 711145 w 2855736"/>
              <a:gd name="connsiteY114" fmla="*/ 320522 h 516802"/>
              <a:gd name="connsiteX115" fmla="*/ 730587 w 2855736"/>
              <a:gd name="connsiteY115" fmla="*/ 377454 h 516802"/>
              <a:gd name="connsiteX116" fmla="*/ 785273 w 2855736"/>
              <a:gd name="connsiteY116" fmla="*/ 398833 h 516802"/>
              <a:gd name="connsiteX117" fmla="*/ 843444 w 2855736"/>
              <a:gd name="connsiteY117" fmla="*/ 360181 h 516802"/>
              <a:gd name="connsiteX118" fmla="*/ 843522 w 2855736"/>
              <a:gd name="connsiteY118" fmla="*/ 360181 h 516802"/>
              <a:gd name="connsiteX119" fmla="*/ 937556 w 2855736"/>
              <a:gd name="connsiteY119" fmla="*/ 360181 h 516802"/>
              <a:gd name="connsiteX120" fmla="*/ 891701 w 2855736"/>
              <a:gd name="connsiteY120" fmla="*/ 445540 h 516802"/>
              <a:gd name="connsiteX121" fmla="*/ 784653 w 2855736"/>
              <a:gd name="connsiteY121" fmla="*/ 475284 h 516802"/>
              <a:gd name="connsiteX122" fmla="*/ 657467 w 2855736"/>
              <a:gd name="connsiteY122" fmla="*/ 428267 h 516802"/>
              <a:gd name="connsiteX123" fmla="*/ 614787 w 2855736"/>
              <a:gd name="connsiteY123" fmla="*/ 295890 h 516802"/>
              <a:gd name="connsiteX124" fmla="*/ 627103 w 2855736"/>
              <a:gd name="connsiteY124" fmla="*/ 219826 h 516802"/>
              <a:gd name="connsiteX125" fmla="*/ 661959 w 2855736"/>
              <a:gd name="connsiteY125" fmla="*/ 162894 h 516802"/>
              <a:gd name="connsiteX126" fmla="*/ 715793 w 2855736"/>
              <a:gd name="connsiteY126" fmla="*/ 127341 h 516802"/>
              <a:gd name="connsiteX127" fmla="*/ 784576 w 2855736"/>
              <a:gd name="connsiteY127" fmla="*/ 115335 h 516802"/>
              <a:gd name="connsiteX128" fmla="*/ 2576886 w 2855736"/>
              <a:gd name="connsiteY128" fmla="*/ 97288 h 516802"/>
              <a:gd name="connsiteX129" fmla="*/ 2435834 w 2855736"/>
              <a:gd name="connsiteY129" fmla="*/ 238339 h 516802"/>
              <a:gd name="connsiteX130" fmla="*/ 2576886 w 2855736"/>
              <a:gd name="connsiteY130" fmla="*/ 379391 h 516802"/>
              <a:gd name="connsiteX131" fmla="*/ 2717938 w 2855736"/>
              <a:gd name="connsiteY131" fmla="*/ 238339 h 516802"/>
              <a:gd name="connsiteX132" fmla="*/ 2576886 w 2855736"/>
              <a:gd name="connsiteY132" fmla="*/ 97288 h 516802"/>
              <a:gd name="connsiteX133" fmla="*/ 2196642 w 2855736"/>
              <a:gd name="connsiteY133" fmla="*/ 10456 h 516802"/>
              <a:gd name="connsiteX134" fmla="*/ 2290522 w 2855736"/>
              <a:gd name="connsiteY134" fmla="*/ 10456 h 516802"/>
              <a:gd name="connsiteX135" fmla="*/ 2290522 w 2855736"/>
              <a:gd name="connsiteY135" fmla="*/ 466298 h 516802"/>
              <a:gd name="connsiteX136" fmla="*/ 2196642 w 2855736"/>
              <a:gd name="connsiteY136" fmla="*/ 466298 h 516802"/>
              <a:gd name="connsiteX137" fmla="*/ 986665 w 2855736"/>
              <a:gd name="connsiteY137" fmla="*/ 10456 h 516802"/>
              <a:gd name="connsiteX138" fmla="*/ 1080545 w 2855736"/>
              <a:gd name="connsiteY138" fmla="*/ 10456 h 516802"/>
              <a:gd name="connsiteX139" fmla="*/ 1080545 w 2855736"/>
              <a:gd name="connsiteY139" fmla="*/ 475593 h 516802"/>
              <a:gd name="connsiteX140" fmla="*/ 1065905 w 2855736"/>
              <a:gd name="connsiteY140" fmla="*/ 475593 h 516802"/>
              <a:gd name="connsiteX141" fmla="*/ 986665 w 2855736"/>
              <a:gd name="connsiteY141" fmla="*/ 394107 h 516802"/>
              <a:gd name="connsiteX142" fmla="*/ 476601 w 2855736"/>
              <a:gd name="connsiteY142" fmla="*/ 10456 h 516802"/>
              <a:gd name="connsiteX143" fmla="*/ 480087 w 2855736"/>
              <a:gd name="connsiteY143" fmla="*/ 10456 h 516802"/>
              <a:gd name="connsiteX144" fmla="*/ 569319 w 2855736"/>
              <a:gd name="connsiteY144" fmla="*/ 10456 h 516802"/>
              <a:gd name="connsiteX145" fmla="*/ 572882 w 2855736"/>
              <a:gd name="connsiteY145" fmla="*/ 10456 h 516802"/>
              <a:gd name="connsiteX146" fmla="*/ 572882 w 2855736"/>
              <a:gd name="connsiteY146" fmla="*/ 81330 h 516802"/>
              <a:gd name="connsiteX147" fmla="*/ 572882 w 2855736"/>
              <a:gd name="connsiteY147" fmla="*/ 84893 h 516802"/>
              <a:gd name="connsiteX148" fmla="*/ 569319 w 2855736"/>
              <a:gd name="connsiteY148" fmla="*/ 84893 h 516802"/>
              <a:gd name="connsiteX149" fmla="*/ 480087 w 2855736"/>
              <a:gd name="connsiteY149" fmla="*/ 84893 h 516802"/>
              <a:gd name="connsiteX150" fmla="*/ 476601 w 2855736"/>
              <a:gd name="connsiteY150" fmla="*/ 84893 h 516802"/>
              <a:gd name="connsiteX151" fmla="*/ 476601 w 2855736"/>
              <a:gd name="connsiteY151" fmla="*/ 81330 h 516802"/>
              <a:gd name="connsiteX152" fmla="*/ 58559 w 2855736"/>
              <a:gd name="connsiteY152" fmla="*/ 6331 h 516802"/>
              <a:gd name="connsiteX153" fmla="*/ 82648 w 2855736"/>
              <a:gd name="connsiteY153" fmla="*/ 20990 h 516802"/>
              <a:gd name="connsiteX154" fmla="*/ 326565 w 2855736"/>
              <a:gd name="connsiteY154" fmla="*/ 298911 h 516802"/>
              <a:gd name="connsiteX155" fmla="*/ 326565 w 2855736"/>
              <a:gd name="connsiteY155" fmla="*/ 10456 h 516802"/>
              <a:gd name="connsiteX156" fmla="*/ 421064 w 2855736"/>
              <a:gd name="connsiteY156" fmla="*/ 10456 h 516802"/>
              <a:gd name="connsiteX157" fmla="*/ 421064 w 2855736"/>
              <a:gd name="connsiteY157" fmla="*/ 424781 h 516802"/>
              <a:gd name="connsiteX158" fmla="*/ 390545 w 2855736"/>
              <a:gd name="connsiteY158" fmla="*/ 469397 h 516802"/>
              <a:gd name="connsiteX159" fmla="*/ 373814 w 2855736"/>
              <a:gd name="connsiteY159" fmla="*/ 472495 h 516802"/>
              <a:gd name="connsiteX160" fmla="*/ 338416 w 2855736"/>
              <a:gd name="connsiteY160" fmla="*/ 456461 h 516802"/>
              <a:gd name="connsiteX161" fmla="*/ 94499 w 2855736"/>
              <a:gd name="connsiteY161" fmla="*/ 178541 h 516802"/>
              <a:gd name="connsiteX162" fmla="*/ 94499 w 2855736"/>
              <a:gd name="connsiteY162" fmla="*/ 466298 h 516802"/>
              <a:gd name="connsiteX163" fmla="*/ 0 w 2855736"/>
              <a:gd name="connsiteY163" fmla="*/ 466298 h 516802"/>
              <a:gd name="connsiteX164" fmla="*/ 0 w 2855736"/>
              <a:gd name="connsiteY164" fmla="*/ 52748 h 516802"/>
              <a:gd name="connsiteX165" fmla="*/ 30519 w 2855736"/>
              <a:gd name="connsiteY165" fmla="*/ 8055 h 516802"/>
              <a:gd name="connsiteX166" fmla="*/ 58559 w 2855736"/>
              <a:gd name="connsiteY166" fmla="*/ 6331 h 516802"/>
              <a:gd name="connsiteX167" fmla="*/ 2576886 w 2855736"/>
              <a:gd name="connsiteY167" fmla="*/ 0 h 516802"/>
              <a:gd name="connsiteX168" fmla="*/ 2815303 w 2855736"/>
              <a:gd name="connsiteY168" fmla="*/ 238417 h 516802"/>
              <a:gd name="connsiteX169" fmla="*/ 2775489 w 2855736"/>
              <a:gd name="connsiteY169" fmla="*/ 370096 h 516802"/>
              <a:gd name="connsiteX170" fmla="*/ 2775412 w 2855736"/>
              <a:gd name="connsiteY170" fmla="*/ 370096 h 516802"/>
              <a:gd name="connsiteX171" fmla="*/ 2855736 w 2855736"/>
              <a:gd name="connsiteY171" fmla="*/ 450420 h 516802"/>
              <a:gd name="connsiteX172" fmla="*/ 2789354 w 2855736"/>
              <a:gd name="connsiteY172" fmla="*/ 516802 h 516802"/>
              <a:gd name="connsiteX173" fmla="*/ 2709108 w 2855736"/>
              <a:gd name="connsiteY173" fmla="*/ 436555 h 516802"/>
              <a:gd name="connsiteX174" fmla="*/ 2576886 w 2855736"/>
              <a:gd name="connsiteY174" fmla="*/ 476756 h 516802"/>
              <a:gd name="connsiteX175" fmla="*/ 2338469 w 2855736"/>
              <a:gd name="connsiteY175" fmla="*/ 238417 h 516802"/>
              <a:gd name="connsiteX176" fmla="*/ 2576886 w 2855736"/>
              <a:gd name="connsiteY176" fmla="*/ 0 h 51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2855736" h="516802">
                <a:moveTo>
                  <a:pt x="1628098" y="189308"/>
                </a:moveTo>
                <a:cubicBezTo>
                  <a:pt x="1616711" y="189308"/>
                  <a:pt x="1606719" y="191089"/>
                  <a:pt x="1598276" y="194730"/>
                </a:cubicBezTo>
                <a:cubicBezTo>
                  <a:pt x="1589833" y="198370"/>
                  <a:pt x="1582630" y="203328"/>
                  <a:pt x="1576820" y="209524"/>
                </a:cubicBezTo>
                <a:cubicBezTo>
                  <a:pt x="1571011" y="215798"/>
                  <a:pt x="1566441" y="223157"/>
                  <a:pt x="1563188" y="231368"/>
                </a:cubicBezTo>
                <a:lnTo>
                  <a:pt x="1563188" y="231290"/>
                </a:lnTo>
                <a:cubicBezTo>
                  <a:pt x="1560399" y="238571"/>
                  <a:pt x="1558618" y="246472"/>
                  <a:pt x="1557921" y="254838"/>
                </a:cubicBezTo>
                <a:lnTo>
                  <a:pt x="1694015" y="254838"/>
                </a:lnTo>
                <a:cubicBezTo>
                  <a:pt x="1693473" y="234621"/>
                  <a:pt x="1688128" y="218587"/>
                  <a:pt x="1678059" y="207201"/>
                </a:cubicBezTo>
                <a:cubicBezTo>
                  <a:pt x="1667524" y="195349"/>
                  <a:pt x="1650716" y="189308"/>
                  <a:pt x="1628098" y="189308"/>
                </a:cubicBezTo>
                <a:close/>
                <a:moveTo>
                  <a:pt x="782717" y="189308"/>
                </a:moveTo>
                <a:cubicBezTo>
                  <a:pt x="771330" y="189308"/>
                  <a:pt x="761338" y="191089"/>
                  <a:pt x="752895" y="194730"/>
                </a:cubicBezTo>
                <a:cubicBezTo>
                  <a:pt x="744452" y="198370"/>
                  <a:pt x="737249" y="203328"/>
                  <a:pt x="731439" y="209524"/>
                </a:cubicBezTo>
                <a:cubicBezTo>
                  <a:pt x="725630" y="215798"/>
                  <a:pt x="721060" y="223157"/>
                  <a:pt x="717807" y="231368"/>
                </a:cubicBezTo>
                <a:lnTo>
                  <a:pt x="717807" y="231290"/>
                </a:lnTo>
                <a:cubicBezTo>
                  <a:pt x="715018" y="238571"/>
                  <a:pt x="713237" y="246472"/>
                  <a:pt x="712539" y="254838"/>
                </a:cubicBezTo>
                <a:lnTo>
                  <a:pt x="848634" y="254838"/>
                </a:lnTo>
                <a:cubicBezTo>
                  <a:pt x="848092" y="234621"/>
                  <a:pt x="842747" y="218587"/>
                  <a:pt x="832677" y="207201"/>
                </a:cubicBezTo>
                <a:cubicBezTo>
                  <a:pt x="822143" y="195349"/>
                  <a:pt x="805335" y="189308"/>
                  <a:pt x="782717" y="189308"/>
                </a:cubicBezTo>
                <a:close/>
                <a:moveTo>
                  <a:pt x="476601" y="124553"/>
                </a:moveTo>
                <a:lnTo>
                  <a:pt x="480087" y="124553"/>
                </a:lnTo>
                <a:lnTo>
                  <a:pt x="569319" y="124553"/>
                </a:lnTo>
                <a:lnTo>
                  <a:pt x="572882" y="124553"/>
                </a:lnTo>
                <a:lnTo>
                  <a:pt x="572882" y="128116"/>
                </a:lnTo>
                <a:lnTo>
                  <a:pt x="572804" y="466299"/>
                </a:lnTo>
                <a:lnTo>
                  <a:pt x="569319" y="466299"/>
                </a:lnTo>
                <a:lnTo>
                  <a:pt x="480087" y="466299"/>
                </a:lnTo>
                <a:lnTo>
                  <a:pt x="476601" y="466299"/>
                </a:lnTo>
                <a:lnTo>
                  <a:pt x="476601" y="127496"/>
                </a:lnTo>
                <a:close/>
                <a:moveTo>
                  <a:pt x="2026544" y="116342"/>
                </a:moveTo>
                <a:cubicBezTo>
                  <a:pt x="2065195" y="116342"/>
                  <a:pt x="2094320" y="126721"/>
                  <a:pt x="2113220" y="147093"/>
                </a:cubicBezTo>
                <a:cubicBezTo>
                  <a:pt x="2132042" y="167465"/>
                  <a:pt x="2141569" y="199687"/>
                  <a:pt x="2141569" y="242832"/>
                </a:cubicBezTo>
                <a:lnTo>
                  <a:pt x="2141569" y="466376"/>
                </a:lnTo>
                <a:lnTo>
                  <a:pt x="2045366" y="466376"/>
                </a:lnTo>
                <a:lnTo>
                  <a:pt x="2045366" y="254992"/>
                </a:lnTo>
                <a:cubicBezTo>
                  <a:pt x="2045366" y="232762"/>
                  <a:pt x="2041183" y="217503"/>
                  <a:pt x="2033050" y="209757"/>
                </a:cubicBezTo>
                <a:cubicBezTo>
                  <a:pt x="2024840" y="201933"/>
                  <a:pt x="2013686" y="197983"/>
                  <a:pt x="1999820" y="197983"/>
                </a:cubicBezTo>
                <a:cubicBezTo>
                  <a:pt x="1988899" y="197983"/>
                  <a:pt x="1979371" y="199610"/>
                  <a:pt x="1971548" y="202786"/>
                </a:cubicBezTo>
                <a:cubicBezTo>
                  <a:pt x="1963647" y="205961"/>
                  <a:pt x="1956211" y="210764"/>
                  <a:pt x="1949472" y="216651"/>
                </a:cubicBezTo>
                <a:cubicBezTo>
                  <a:pt x="1943818" y="222305"/>
                  <a:pt x="1938938" y="229121"/>
                  <a:pt x="1935143" y="237022"/>
                </a:cubicBezTo>
                <a:cubicBezTo>
                  <a:pt x="1931347" y="244768"/>
                  <a:pt x="1929411" y="253366"/>
                  <a:pt x="1929411" y="262583"/>
                </a:cubicBezTo>
                <a:lnTo>
                  <a:pt x="1929411" y="466299"/>
                </a:lnTo>
                <a:lnTo>
                  <a:pt x="1833130" y="466299"/>
                </a:lnTo>
                <a:lnTo>
                  <a:pt x="1833130" y="124630"/>
                </a:lnTo>
                <a:lnTo>
                  <a:pt x="1926855" y="124630"/>
                </a:lnTo>
                <a:lnTo>
                  <a:pt x="1926855" y="165063"/>
                </a:lnTo>
                <a:cubicBezTo>
                  <a:pt x="1938938" y="149494"/>
                  <a:pt x="1952958" y="137798"/>
                  <a:pt x="1968605" y="130052"/>
                </a:cubicBezTo>
                <a:cubicBezTo>
                  <a:pt x="1987040" y="120989"/>
                  <a:pt x="2006559" y="116342"/>
                  <a:pt x="2026544" y="116342"/>
                </a:cubicBezTo>
                <a:close/>
                <a:moveTo>
                  <a:pt x="1272176" y="115490"/>
                </a:moveTo>
                <a:cubicBezTo>
                  <a:pt x="1298667" y="115490"/>
                  <a:pt x="1321285" y="118279"/>
                  <a:pt x="1339410" y="123623"/>
                </a:cubicBezTo>
                <a:cubicBezTo>
                  <a:pt x="1357613" y="129045"/>
                  <a:pt x="1372717" y="136404"/>
                  <a:pt x="1384258" y="145544"/>
                </a:cubicBezTo>
                <a:cubicBezTo>
                  <a:pt x="1389061" y="149339"/>
                  <a:pt x="1393321" y="153445"/>
                  <a:pt x="1397194" y="157860"/>
                </a:cubicBezTo>
                <a:cubicBezTo>
                  <a:pt x="1402693" y="164211"/>
                  <a:pt x="1407263" y="171183"/>
                  <a:pt x="1410749" y="178696"/>
                </a:cubicBezTo>
                <a:cubicBezTo>
                  <a:pt x="1412376" y="182259"/>
                  <a:pt x="1413925" y="185977"/>
                  <a:pt x="1415319" y="189695"/>
                </a:cubicBezTo>
                <a:cubicBezTo>
                  <a:pt x="1415629" y="190547"/>
                  <a:pt x="1415861" y="191322"/>
                  <a:pt x="1416171" y="192174"/>
                </a:cubicBezTo>
                <a:cubicBezTo>
                  <a:pt x="1419347" y="201934"/>
                  <a:pt x="1421516" y="212235"/>
                  <a:pt x="1422755" y="222847"/>
                </a:cubicBezTo>
                <a:cubicBezTo>
                  <a:pt x="1422910" y="224087"/>
                  <a:pt x="1422910" y="225403"/>
                  <a:pt x="1423065" y="226643"/>
                </a:cubicBezTo>
                <a:lnTo>
                  <a:pt x="1335382" y="226643"/>
                </a:lnTo>
                <a:cubicBezTo>
                  <a:pt x="1334762" y="223699"/>
                  <a:pt x="1333988" y="220988"/>
                  <a:pt x="1333058" y="218432"/>
                </a:cubicBezTo>
                <a:cubicBezTo>
                  <a:pt x="1329263" y="208905"/>
                  <a:pt x="1324615" y="203793"/>
                  <a:pt x="1318109" y="198835"/>
                </a:cubicBezTo>
                <a:cubicBezTo>
                  <a:pt x="1309201" y="192096"/>
                  <a:pt x="1294406" y="188688"/>
                  <a:pt x="1274035" y="188688"/>
                </a:cubicBezTo>
                <a:cubicBezTo>
                  <a:pt x="1262494" y="188688"/>
                  <a:pt x="1252734" y="189618"/>
                  <a:pt x="1245220" y="191477"/>
                </a:cubicBezTo>
                <a:cubicBezTo>
                  <a:pt x="1237784" y="193258"/>
                  <a:pt x="1231975" y="195582"/>
                  <a:pt x="1227870" y="198293"/>
                </a:cubicBezTo>
                <a:cubicBezTo>
                  <a:pt x="1223919" y="200927"/>
                  <a:pt x="1221131" y="203870"/>
                  <a:pt x="1219504" y="207123"/>
                </a:cubicBezTo>
                <a:cubicBezTo>
                  <a:pt x="1217878" y="210454"/>
                  <a:pt x="1217025" y="213630"/>
                  <a:pt x="1217025" y="216418"/>
                </a:cubicBezTo>
                <a:cubicBezTo>
                  <a:pt x="1217025" y="225946"/>
                  <a:pt x="1219814" y="232685"/>
                  <a:pt x="1225469" y="236867"/>
                </a:cubicBezTo>
                <a:cubicBezTo>
                  <a:pt x="1231588" y="241437"/>
                  <a:pt x="1244058" y="245388"/>
                  <a:pt x="1262494" y="248641"/>
                </a:cubicBezTo>
                <a:lnTo>
                  <a:pt x="1304553" y="255612"/>
                </a:lnTo>
                <a:cubicBezTo>
                  <a:pt x="1328023" y="259485"/>
                  <a:pt x="1350022" y="264442"/>
                  <a:pt x="1365513" y="270484"/>
                </a:cubicBezTo>
                <a:cubicBezTo>
                  <a:pt x="1381160" y="276526"/>
                  <a:pt x="1393863" y="284194"/>
                  <a:pt x="1403313" y="293179"/>
                </a:cubicBezTo>
                <a:cubicBezTo>
                  <a:pt x="1412840" y="302320"/>
                  <a:pt x="1419579" y="313241"/>
                  <a:pt x="1423375" y="325635"/>
                </a:cubicBezTo>
                <a:lnTo>
                  <a:pt x="1423375" y="325712"/>
                </a:lnTo>
                <a:cubicBezTo>
                  <a:pt x="1427093" y="337950"/>
                  <a:pt x="1428952" y="352203"/>
                  <a:pt x="1428952" y="368159"/>
                </a:cubicBezTo>
                <a:cubicBezTo>
                  <a:pt x="1428952" y="400537"/>
                  <a:pt x="1416481" y="426873"/>
                  <a:pt x="1391927" y="446392"/>
                </a:cubicBezTo>
                <a:cubicBezTo>
                  <a:pt x="1367605" y="465757"/>
                  <a:pt x="1329805" y="475516"/>
                  <a:pt x="1279534" y="475516"/>
                </a:cubicBezTo>
                <a:cubicBezTo>
                  <a:pt x="1259473" y="475516"/>
                  <a:pt x="1240031" y="473657"/>
                  <a:pt x="1221828" y="470017"/>
                </a:cubicBezTo>
                <a:cubicBezTo>
                  <a:pt x="1203470" y="466299"/>
                  <a:pt x="1186739" y="459870"/>
                  <a:pt x="1172255" y="450730"/>
                </a:cubicBezTo>
                <a:cubicBezTo>
                  <a:pt x="1157615" y="441590"/>
                  <a:pt x="1145454" y="429196"/>
                  <a:pt x="1136081" y="413937"/>
                </a:cubicBezTo>
                <a:cubicBezTo>
                  <a:pt x="1127251" y="399607"/>
                  <a:pt x="1121984" y="381559"/>
                  <a:pt x="1120280" y="360336"/>
                </a:cubicBezTo>
                <a:lnTo>
                  <a:pt x="1213230" y="360336"/>
                </a:lnTo>
                <a:cubicBezTo>
                  <a:pt x="1216561" y="375828"/>
                  <a:pt x="1223455" y="386207"/>
                  <a:pt x="1233911" y="391087"/>
                </a:cubicBezTo>
                <a:cubicBezTo>
                  <a:pt x="1246072" y="396819"/>
                  <a:pt x="1261022" y="399685"/>
                  <a:pt x="1278295" y="399685"/>
                </a:cubicBezTo>
                <a:cubicBezTo>
                  <a:pt x="1298744" y="399685"/>
                  <a:pt x="1313539" y="397129"/>
                  <a:pt x="1322059" y="392171"/>
                </a:cubicBezTo>
                <a:cubicBezTo>
                  <a:pt x="1330115" y="387524"/>
                  <a:pt x="1333988" y="380088"/>
                  <a:pt x="1333988" y="369398"/>
                </a:cubicBezTo>
                <a:cubicBezTo>
                  <a:pt x="1333988" y="361808"/>
                  <a:pt x="1331509" y="355224"/>
                  <a:pt x="1326319" y="349492"/>
                </a:cubicBezTo>
                <a:cubicBezTo>
                  <a:pt x="1321207" y="343760"/>
                  <a:pt x="1310828" y="339654"/>
                  <a:pt x="1295568" y="337253"/>
                </a:cubicBezTo>
                <a:lnTo>
                  <a:pt x="1247467" y="329585"/>
                </a:lnTo>
                <a:cubicBezTo>
                  <a:pt x="1206723" y="323156"/>
                  <a:pt x="1175818" y="311847"/>
                  <a:pt x="1155678" y="296045"/>
                </a:cubicBezTo>
                <a:cubicBezTo>
                  <a:pt x="1135152" y="279934"/>
                  <a:pt x="1124695" y="255302"/>
                  <a:pt x="1124695" y="222847"/>
                </a:cubicBezTo>
                <a:cubicBezTo>
                  <a:pt x="1124695" y="206194"/>
                  <a:pt x="1128336" y="191089"/>
                  <a:pt x="1135617" y="177844"/>
                </a:cubicBezTo>
                <a:cubicBezTo>
                  <a:pt x="1142820" y="164676"/>
                  <a:pt x="1153122" y="153367"/>
                  <a:pt x="1166290" y="144150"/>
                </a:cubicBezTo>
                <a:cubicBezTo>
                  <a:pt x="1179303" y="135010"/>
                  <a:pt x="1194950" y="127883"/>
                  <a:pt x="1212920" y="122926"/>
                </a:cubicBezTo>
                <a:cubicBezTo>
                  <a:pt x="1230813" y="117969"/>
                  <a:pt x="1250720" y="115490"/>
                  <a:pt x="1272176" y="115490"/>
                </a:cubicBezTo>
                <a:close/>
                <a:moveTo>
                  <a:pt x="1629957" y="115335"/>
                </a:moveTo>
                <a:cubicBezTo>
                  <a:pt x="1681776" y="115335"/>
                  <a:pt x="1721358" y="130517"/>
                  <a:pt x="1747616" y="160493"/>
                </a:cubicBezTo>
                <a:cubicBezTo>
                  <a:pt x="1773797" y="190315"/>
                  <a:pt x="1787043" y="230980"/>
                  <a:pt x="1787043" y="281328"/>
                </a:cubicBezTo>
                <a:lnTo>
                  <a:pt x="1787043" y="320522"/>
                </a:lnTo>
                <a:lnTo>
                  <a:pt x="1556526" y="320522"/>
                </a:lnTo>
                <a:cubicBezTo>
                  <a:pt x="1557843" y="344612"/>
                  <a:pt x="1564350" y="363744"/>
                  <a:pt x="1575968" y="377454"/>
                </a:cubicBezTo>
                <a:cubicBezTo>
                  <a:pt x="1587974" y="391629"/>
                  <a:pt x="1606332" y="398833"/>
                  <a:pt x="1630654" y="398833"/>
                </a:cubicBezTo>
                <a:cubicBezTo>
                  <a:pt x="1662954" y="398833"/>
                  <a:pt x="1682009" y="386207"/>
                  <a:pt x="1688825" y="360181"/>
                </a:cubicBezTo>
                <a:lnTo>
                  <a:pt x="1688903" y="360181"/>
                </a:lnTo>
                <a:lnTo>
                  <a:pt x="1782937" y="360181"/>
                </a:lnTo>
                <a:cubicBezTo>
                  <a:pt x="1776663" y="397361"/>
                  <a:pt x="1761249" y="426098"/>
                  <a:pt x="1737082" y="445540"/>
                </a:cubicBezTo>
                <a:cubicBezTo>
                  <a:pt x="1712527" y="465292"/>
                  <a:pt x="1676509" y="475284"/>
                  <a:pt x="1630034" y="475284"/>
                </a:cubicBezTo>
                <a:cubicBezTo>
                  <a:pt x="1574032" y="475284"/>
                  <a:pt x="1531197" y="459482"/>
                  <a:pt x="1502848" y="428267"/>
                </a:cubicBezTo>
                <a:cubicBezTo>
                  <a:pt x="1474498" y="397129"/>
                  <a:pt x="1460168" y="352590"/>
                  <a:pt x="1460168" y="295890"/>
                </a:cubicBezTo>
                <a:cubicBezTo>
                  <a:pt x="1460168" y="267618"/>
                  <a:pt x="1464273" y="241979"/>
                  <a:pt x="1472484" y="219826"/>
                </a:cubicBezTo>
                <a:cubicBezTo>
                  <a:pt x="1480695" y="197673"/>
                  <a:pt x="1492391" y="178464"/>
                  <a:pt x="1507340" y="162894"/>
                </a:cubicBezTo>
                <a:cubicBezTo>
                  <a:pt x="1522290" y="147325"/>
                  <a:pt x="1540415" y="135397"/>
                  <a:pt x="1561174" y="127341"/>
                </a:cubicBezTo>
                <a:cubicBezTo>
                  <a:pt x="1581855" y="119363"/>
                  <a:pt x="1605015" y="115335"/>
                  <a:pt x="1629957" y="115335"/>
                </a:cubicBezTo>
                <a:close/>
                <a:moveTo>
                  <a:pt x="784576" y="115335"/>
                </a:moveTo>
                <a:cubicBezTo>
                  <a:pt x="836395" y="115335"/>
                  <a:pt x="875977" y="130517"/>
                  <a:pt x="902235" y="160493"/>
                </a:cubicBezTo>
                <a:cubicBezTo>
                  <a:pt x="928416" y="190315"/>
                  <a:pt x="941661" y="230980"/>
                  <a:pt x="941661" y="281328"/>
                </a:cubicBezTo>
                <a:lnTo>
                  <a:pt x="941661" y="320522"/>
                </a:lnTo>
                <a:lnTo>
                  <a:pt x="711145" y="320522"/>
                </a:lnTo>
                <a:cubicBezTo>
                  <a:pt x="712462" y="344612"/>
                  <a:pt x="718969" y="363744"/>
                  <a:pt x="730587" y="377454"/>
                </a:cubicBezTo>
                <a:cubicBezTo>
                  <a:pt x="742593" y="391629"/>
                  <a:pt x="760951" y="398833"/>
                  <a:pt x="785273" y="398833"/>
                </a:cubicBezTo>
                <a:cubicBezTo>
                  <a:pt x="817573" y="398833"/>
                  <a:pt x="836628" y="386207"/>
                  <a:pt x="843444" y="360181"/>
                </a:cubicBezTo>
                <a:lnTo>
                  <a:pt x="843522" y="360181"/>
                </a:lnTo>
                <a:lnTo>
                  <a:pt x="937556" y="360181"/>
                </a:lnTo>
                <a:cubicBezTo>
                  <a:pt x="931282" y="397361"/>
                  <a:pt x="915868" y="426098"/>
                  <a:pt x="891701" y="445540"/>
                </a:cubicBezTo>
                <a:cubicBezTo>
                  <a:pt x="867146" y="465292"/>
                  <a:pt x="831128" y="475284"/>
                  <a:pt x="784653" y="475284"/>
                </a:cubicBezTo>
                <a:cubicBezTo>
                  <a:pt x="728651" y="475284"/>
                  <a:pt x="685816" y="459482"/>
                  <a:pt x="657467" y="428267"/>
                </a:cubicBezTo>
                <a:cubicBezTo>
                  <a:pt x="629117" y="397129"/>
                  <a:pt x="614787" y="352590"/>
                  <a:pt x="614787" y="295890"/>
                </a:cubicBezTo>
                <a:cubicBezTo>
                  <a:pt x="614787" y="267618"/>
                  <a:pt x="618892" y="241979"/>
                  <a:pt x="627103" y="219826"/>
                </a:cubicBezTo>
                <a:cubicBezTo>
                  <a:pt x="635313" y="197673"/>
                  <a:pt x="647010" y="178464"/>
                  <a:pt x="661959" y="162894"/>
                </a:cubicBezTo>
                <a:cubicBezTo>
                  <a:pt x="676909" y="147325"/>
                  <a:pt x="695034" y="135397"/>
                  <a:pt x="715793" y="127341"/>
                </a:cubicBezTo>
                <a:cubicBezTo>
                  <a:pt x="736474" y="119363"/>
                  <a:pt x="759634" y="115335"/>
                  <a:pt x="784576" y="115335"/>
                </a:cubicBezTo>
                <a:close/>
                <a:moveTo>
                  <a:pt x="2576886" y="97288"/>
                </a:moveTo>
                <a:cubicBezTo>
                  <a:pt x="2499118" y="97288"/>
                  <a:pt x="2435834" y="160571"/>
                  <a:pt x="2435834" y="238339"/>
                </a:cubicBezTo>
                <a:cubicBezTo>
                  <a:pt x="2435834" y="316108"/>
                  <a:pt x="2499118" y="379391"/>
                  <a:pt x="2576886" y="379391"/>
                </a:cubicBezTo>
                <a:cubicBezTo>
                  <a:pt x="2654654" y="379391"/>
                  <a:pt x="2717938" y="316108"/>
                  <a:pt x="2717938" y="238339"/>
                </a:cubicBezTo>
                <a:cubicBezTo>
                  <a:pt x="2717938" y="160571"/>
                  <a:pt x="2654654" y="97288"/>
                  <a:pt x="2576886" y="97288"/>
                </a:cubicBezTo>
                <a:close/>
                <a:moveTo>
                  <a:pt x="2196642" y="10456"/>
                </a:moveTo>
                <a:lnTo>
                  <a:pt x="2290522" y="10456"/>
                </a:lnTo>
                <a:lnTo>
                  <a:pt x="2290522" y="466298"/>
                </a:lnTo>
                <a:lnTo>
                  <a:pt x="2196642" y="466298"/>
                </a:lnTo>
                <a:close/>
                <a:moveTo>
                  <a:pt x="986665" y="10456"/>
                </a:moveTo>
                <a:lnTo>
                  <a:pt x="1080545" y="10456"/>
                </a:lnTo>
                <a:lnTo>
                  <a:pt x="1080545" y="475593"/>
                </a:lnTo>
                <a:lnTo>
                  <a:pt x="1065905" y="475593"/>
                </a:lnTo>
                <a:cubicBezTo>
                  <a:pt x="1022063" y="475129"/>
                  <a:pt x="986665" y="438878"/>
                  <a:pt x="986665" y="394107"/>
                </a:cubicBezTo>
                <a:close/>
                <a:moveTo>
                  <a:pt x="476601" y="10456"/>
                </a:moveTo>
                <a:lnTo>
                  <a:pt x="480087" y="10456"/>
                </a:lnTo>
                <a:lnTo>
                  <a:pt x="569319" y="10456"/>
                </a:lnTo>
                <a:lnTo>
                  <a:pt x="572882" y="10456"/>
                </a:lnTo>
                <a:lnTo>
                  <a:pt x="572882" y="81330"/>
                </a:lnTo>
                <a:lnTo>
                  <a:pt x="572882" y="84893"/>
                </a:lnTo>
                <a:lnTo>
                  <a:pt x="569319" y="84893"/>
                </a:lnTo>
                <a:lnTo>
                  <a:pt x="480087" y="84893"/>
                </a:lnTo>
                <a:lnTo>
                  <a:pt x="476601" y="84893"/>
                </a:lnTo>
                <a:lnTo>
                  <a:pt x="476601" y="81330"/>
                </a:lnTo>
                <a:close/>
                <a:moveTo>
                  <a:pt x="58559" y="6331"/>
                </a:moveTo>
                <a:cubicBezTo>
                  <a:pt x="67660" y="8597"/>
                  <a:pt x="76103" y="13593"/>
                  <a:pt x="82648" y="20990"/>
                </a:cubicBezTo>
                <a:lnTo>
                  <a:pt x="326565" y="298911"/>
                </a:lnTo>
                <a:lnTo>
                  <a:pt x="326565" y="10456"/>
                </a:lnTo>
                <a:lnTo>
                  <a:pt x="421064" y="10456"/>
                </a:lnTo>
                <a:lnTo>
                  <a:pt x="421064" y="424781"/>
                </a:lnTo>
                <a:cubicBezTo>
                  <a:pt x="421064" y="444610"/>
                  <a:pt x="408903" y="462348"/>
                  <a:pt x="390545" y="469397"/>
                </a:cubicBezTo>
                <a:cubicBezTo>
                  <a:pt x="385123" y="471488"/>
                  <a:pt x="379391" y="472495"/>
                  <a:pt x="373814" y="472495"/>
                </a:cubicBezTo>
                <a:cubicBezTo>
                  <a:pt x="360491" y="472495"/>
                  <a:pt x="347556" y="466918"/>
                  <a:pt x="338416" y="456461"/>
                </a:cubicBezTo>
                <a:lnTo>
                  <a:pt x="94499" y="178541"/>
                </a:lnTo>
                <a:lnTo>
                  <a:pt x="94499" y="466298"/>
                </a:lnTo>
                <a:lnTo>
                  <a:pt x="0" y="466298"/>
                </a:lnTo>
                <a:lnTo>
                  <a:pt x="0" y="52748"/>
                </a:lnTo>
                <a:cubicBezTo>
                  <a:pt x="0" y="32841"/>
                  <a:pt x="12161" y="15103"/>
                  <a:pt x="30519" y="8055"/>
                </a:cubicBezTo>
                <a:cubicBezTo>
                  <a:pt x="39698" y="4530"/>
                  <a:pt x="49457" y="4066"/>
                  <a:pt x="58559" y="6331"/>
                </a:cubicBezTo>
                <a:close/>
                <a:moveTo>
                  <a:pt x="2576886" y="0"/>
                </a:moveTo>
                <a:cubicBezTo>
                  <a:pt x="2708333" y="0"/>
                  <a:pt x="2815303" y="106970"/>
                  <a:pt x="2815303" y="238417"/>
                </a:cubicBezTo>
                <a:cubicBezTo>
                  <a:pt x="2815303" y="287061"/>
                  <a:pt x="2800586" y="332296"/>
                  <a:pt x="2775489" y="370096"/>
                </a:cubicBezTo>
                <a:lnTo>
                  <a:pt x="2775412" y="370096"/>
                </a:lnTo>
                <a:lnTo>
                  <a:pt x="2855736" y="450420"/>
                </a:lnTo>
                <a:lnTo>
                  <a:pt x="2789354" y="516802"/>
                </a:lnTo>
                <a:lnTo>
                  <a:pt x="2709108" y="436555"/>
                </a:lnTo>
                <a:cubicBezTo>
                  <a:pt x="2671230" y="461962"/>
                  <a:pt x="2625762" y="476756"/>
                  <a:pt x="2576886" y="476756"/>
                </a:cubicBezTo>
                <a:cubicBezTo>
                  <a:pt x="2445439" y="476756"/>
                  <a:pt x="2338469" y="369864"/>
                  <a:pt x="2338469" y="238417"/>
                </a:cubicBezTo>
                <a:cubicBezTo>
                  <a:pt x="2338469" y="106970"/>
                  <a:pt x="2445439" y="0"/>
                  <a:pt x="2576886" y="0"/>
                </a:cubicBezTo>
                <a:close/>
              </a:path>
            </a:pathLst>
          </a:custGeom>
          <a:solidFill>
            <a:schemeClr val="accent1"/>
          </a:solidFill>
          <a:ln w="774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755123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with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CB075B5-76AB-62E5-BDC0-3A983BB95C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6290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B075B5-76AB-62E5-BDC0-3A983BB95C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3EA170A1-4423-F4C6-500F-3145AE3828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8F9A7ED9-7286-8649-7774-5D0D889A87BF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07BDB0AE-6D7D-063A-423B-2DA85D85065F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B9BB24B7-363D-13CE-75F6-0A9229C85E04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16488B6B-5B17-3459-E2BF-582505FCE521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1388798B-622C-8840-BDA9-799DB20F5489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C62B9EE3-10E8-CAAF-D42C-424FA15DCE1E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2" name="Rechteck 171">
              <a:extLst>
                <a:ext uri="{FF2B5EF4-FFF2-40B4-BE49-F238E27FC236}">
                  <a16:creationId xmlns:a16="http://schemas.microsoft.com/office/drawing/2014/main" id="{06DB4BEF-B2C3-E72D-6B32-BE802F334D6D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3" name="Rechteck 172">
              <a:extLst>
                <a:ext uri="{FF2B5EF4-FFF2-40B4-BE49-F238E27FC236}">
                  <a16:creationId xmlns:a16="http://schemas.microsoft.com/office/drawing/2014/main" id="{AA2F0287-601F-80BE-334E-0F392AE93FB8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2623B37D-D66B-8B31-8F87-FA3A8624C43A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2BC135E4-A194-F024-71C6-12FF3C94C8F1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C5CBD600-BB02-66AD-B72E-E912874D5DF7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0A286494-D2FC-4204-E3FF-6A01D186EE65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3" name="Rechteck 212">
              <a:extLst>
                <a:ext uri="{FF2B5EF4-FFF2-40B4-BE49-F238E27FC236}">
                  <a16:creationId xmlns:a16="http://schemas.microsoft.com/office/drawing/2014/main" id="{CE379752-545E-246F-5C79-F5BFEAD16710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CC874455-D846-1FD2-E5AB-1F6A869D3626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5" name="Rechteck 214">
              <a:extLst>
                <a:ext uri="{FF2B5EF4-FFF2-40B4-BE49-F238E27FC236}">
                  <a16:creationId xmlns:a16="http://schemas.microsoft.com/office/drawing/2014/main" id="{8102D552-D8D2-81C9-DD70-C9BB051F4A8B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6" name="Rechteck 215">
              <a:extLst>
                <a:ext uri="{FF2B5EF4-FFF2-40B4-BE49-F238E27FC236}">
                  <a16:creationId xmlns:a16="http://schemas.microsoft.com/office/drawing/2014/main" id="{AD65C6B9-D5C8-6461-4F17-336B24B26A4F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7" name="Rechteck 216">
              <a:extLst>
                <a:ext uri="{FF2B5EF4-FFF2-40B4-BE49-F238E27FC236}">
                  <a16:creationId xmlns:a16="http://schemas.microsoft.com/office/drawing/2014/main" id="{D7EF7ABE-0112-0298-8A33-AFFE09D2EE66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8" name="Rechteck 217">
              <a:extLst>
                <a:ext uri="{FF2B5EF4-FFF2-40B4-BE49-F238E27FC236}">
                  <a16:creationId xmlns:a16="http://schemas.microsoft.com/office/drawing/2014/main" id="{89BD8482-299E-3C29-82DE-051930B8F3CC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9" name="Rechteck 218">
              <a:extLst>
                <a:ext uri="{FF2B5EF4-FFF2-40B4-BE49-F238E27FC236}">
                  <a16:creationId xmlns:a16="http://schemas.microsoft.com/office/drawing/2014/main" id="{5DDD6DE0-6399-2D19-6AA5-A0A73E9CB1F5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0" name="Rechteck 219">
              <a:extLst>
                <a:ext uri="{FF2B5EF4-FFF2-40B4-BE49-F238E27FC236}">
                  <a16:creationId xmlns:a16="http://schemas.microsoft.com/office/drawing/2014/main" id="{EA89F9E9-F17E-9D3B-FD84-313706BE4942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1" name="Rechteck 220">
              <a:extLst>
                <a:ext uri="{FF2B5EF4-FFF2-40B4-BE49-F238E27FC236}">
                  <a16:creationId xmlns:a16="http://schemas.microsoft.com/office/drawing/2014/main" id="{03A43D4F-53CA-91DF-6C6B-4E8D3AB742C3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2" name="Rechteck 221">
              <a:extLst>
                <a:ext uri="{FF2B5EF4-FFF2-40B4-BE49-F238E27FC236}">
                  <a16:creationId xmlns:a16="http://schemas.microsoft.com/office/drawing/2014/main" id="{376F5110-1B4D-0245-5C53-DB905ABC4069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3" name="Rechteck 222">
              <a:extLst>
                <a:ext uri="{FF2B5EF4-FFF2-40B4-BE49-F238E27FC236}">
                  <a16:creationId xmlns:a16="http://schemas.microsoft.com/office/drawing/2014/main" id="{97CC33A9-C00F-2E61-DE44-37C32D3F8D08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4" name="Rechteck 223">
              <a:extLst>
                <a:ext uri="{FF2B5EF4-FFF2-40B4-BE49-F238E27FC236}">
                  <a16:creationId xmlns:a16="http://schemas.microsoft.com/office/drawing/2014/main" id="{83BF6E78-8B6D-1DA7-D2E8-3E8952EBA34B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F2359465-2A3F-55E4-E4C4-480BB0AD6ABB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AB47656F-B219-3FE2-316F-97A7FBD809A7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7" name="Rechteck 226">
              <a:extLst>
                <a:ext uri="{FF2B5EF4-FFF2-40B4-BE49-F238E27FC236}">
                  <a16:creationId xmlns:a16="http://schemas.microsoft.com/office/drawing/2014/main" id="{2F733CAD-BD14-6530-D2F5-F50B70CAFEEB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C81D05D2-190E-3ED8-BA33-54A72C165314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9" name="Rechteck 228">
              <a:extLst>
                <a:ext uri="{FF2B5EF4-FFF2-40B4-BE49-F238E27FC236}">
                  <a16:creationId xmlns:a16="http://schemas.microsoft.com/office/drawing/2014/main" id="{DAE5FBF8-0C2E-349D-2D4E-D58B39D7F5B4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0" name="Rechteck 229">
              <a:extLst>
                <a:ext uri="{FF2B5EF4-FFF2-40B4-BE49-F238E27FC236}">
                  <a16:creationId xmlns:a16="http://schemas.microsoft.com/office/drawing/2014/main" id="{CC3EA17C-0660-33DC-A2B0-EA6F758EDB60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1" name="Rechteck 230">
              <a:extLst>
                <a:ext uri="{FF2B5EF4-FFF2-40B4-BE49-F238E27FC236}">
                  <a16:creationId xmlns:a16="http://schemas.microsoft.com/office/drawing/2014/main" id="{6AD70C4A-C759-8B85-1805-C192A035DA89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2" name="Rechteck 231">
              <a:extLst>
                <a:ext uri="{FF2B5EF4-FFF2-40B4-BE49-F238E27FC236}">
                  <a16:creationId xmlns:a16="http://schemas.microsoft.com/office/drawing/2014/main" id="{063D4C1E-C1C9-029E-8037-F2E93F5FC4D1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3" name="Rechteck 232">
              <a:extLst>
                <a:ext uri="{FF2B5EF4-FFF2-40B4-BE49-F238E27FC236}">
                  <a16:creationId xmlns:a16="http://schemas.microsoft.com/office/drawing/2014/main" id="{9762FE81-0A13-5BE2-EEF4-8B02DAE700CE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4" name="Rechteck 233">
              <a:extLst>
                <a:ext uri="{FF2B5EF4-FFF2-40B4-BE49-F238E27FC236}">
                  <a16:creationId xmlns:a16="http://schemas.microsoft.com/office/drawing/2014/main" id="{1E12CABC-83ED-96AF-BB2A-F3F91271C0CB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5" name="Rechteck 234">
              <a:extLst>
                <a:ext uri="{FF2B5EF4-FFF2-40B4-BE49-F238E27FC236}">
                  <a16:creationId xmlns:a16="http://schemas.microsoft.com/office/drawing/2014/main" id="{EE2F7B54-6901-A78E-B6B3-0DFBEF07500A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6" name="Rechteck 235">
              <a:extLst>
                <a:ext uri="{FF2B5EF4-FFF2-40B4-BE49-F238E27FC236}">
                  <a16:creationId xmlns:a16="http://schemas.microsoft.com/office/drawing/2014/main" id="{C489EACA-89A4-909A-E4F1-A47A8A3161C8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7" name="Rechteck 236">
              <a:extLst>
                <a:ext uri="{FF2B5EF4-FFF2-40B4-BE49-F238E27FC236}">
                  <a16:creationId xmlns:a16="http://schemas.microsoft.com/office/drawing/2014/main" id="{C07DFF4E-7365-73BF-0A42-43F028956E2A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8" name="Rechteck 237">
              <a:extLst>
                <a:ext uri="{FF2B5EF4-FFF2-40B4-BE49-F238E27FC236}">
                  <a16:creationId xmlns:a16="http://schemas.microsoft.com/office/drawing/2014/main" id="{32D01550-51E4-F9C7-BB30-97C36137806D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9" name="Rechteck 238">
              <a:extLst>
                <a:ext uri="{FF2B5EF4-FFF2-40B4-BE49-F238E27FC236}">
                  <a16:creationId xmlns:a16="http://schemas.microsoft.com/office/drawing/2014/main" id="{6C2110C4-B154-7572-17F7-54B9F6343BCF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0" name="Rechteck 239">
              <a:extLst>
                <a:ext uri="{FF2B5EF4-FFF2-40B4-BE49-F238E27FC236}">
                  <a16:creationId xmlns:a16="http://schemas.microsoft.com/office/drawing/2014/main" id="{65FC02A0-CDA2-ED50-E9DE-DFEF95E295CE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1" name="Rechteck 240">
              <a:extLst>
                <a:ext uri="{FF2B5EF4-FFF2-40B4-BE49-F238E27FC236}">
                  <a16:creationId xmlns:a16="http://schemas.microsoft.com/office/drawing/2014/main" id="{0D73D565-D87F-727C-D035-32302B8DDF7D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2" name="Rechteck 241">
              <a:extLst>
                <a:ext uri="{FF2B5EF4-FFF2-40B4-BE49-F238E27FC236}">
                  <a16:creationId xmlns:a16="http://schemas.microsoft.com/office/drawing/2014/main" id="{5DB75C24-8953-8306-7020-428BAB7852C8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3" name="Rechteck 242">
              <a:extLst>
                <a:ext uri="{FF2B5EF4-FFF2-40B4-BE49-F238E27FC236}">
                  <a16:creationId xmlns:a16="http://schemas.microsoft.com/office/drawing/2014/main" id="{203D67A6-B7EB-5136-94C3-EA0BF69B3B54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4" name="Rechteck 243">
              <a:extLst>
                <a:ext uri="{FF2B5EF4-FFF2-40B4-BE49-F238E27FC236}">
                  <a16:creationId xmlns:a16="http://schemas.microsoft.com/office/drawing/2014/main" id="{2163CFB7-5F82-A31F-D3EE-618BFEF5B017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5" name="Rechteck 244">
              <a:extLst>
                <a:ext uri="{FF2B5EF4-FFF2-40B4-BE49-F238E27FC236}">
                  <a16:creationId xmlns:a16="http://schemas.microsoft.com/office/drawing/2014/main" id="{9F193E44-CAA7-B01F-BC57-DC80DDDFB615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6" name="Rechteck 245">
              <a:extLst>
                <a:ext uri="{FF2B5EF4-FFF2-40B4-BE49-F238E27FC236}">
                  <a16:creationId xmlns:a16="http://schemas.microsoft.com/office/drawing/2014/main" id="{47510407-E389-B654-625C-5A7A93FE98C4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7" name="Rechteck 246">
              <a:extLst>
                <a:ext uri="{FF2B5EF4-FFF2-40B4-BE49-F238E27FC236}">
                  <a16:creationId xmlns:a16="http://schemas.microsoft.com/office/drawing/2014/main" id="{7FC8A40D-D427-9AFC-B3C7-41CCF6CD466B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8" name="Rechteck 247">
              <a:extLst>
                <a:ext uri="{FF2B5EF4-FFF2-40B4-BE49-F238E27FC236}">
                  <a16:creationId xmlns:a16="http://schemas.microsoft.com/office/drawing/2014/main" id="{26B88DD2-9109-E831-0841-601BF1FA7B2C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9" name="Rechteck 248">
              <a:extLst>
                <a:ext uri="{FF2B5EF4-FFF2-40B4-BE49-F238E27FC236}">
                  <a16:creationId xmlns:a16="http://schemas.microsoft.com/office/drawing/2014/main" id="{CD749397-B9EC-5FD0-902E-CAD57D49C0EE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0" name="Rechteck 249">
              <a:extLst>
                <a:ext uri="{FF2B5EF4-FFF2-40B4-BE49-F238E27FC236}">
                  <a16:creationId xmlns:a16="http://schemas.microsoft.com/office/drawing/2014/main" id="{5024123C-6F9D-8372-AD84-AD9E2F462AF7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1" name="Rechteck 250">
              <a:extLst>
                <a:ext uri="{FF2B5EF4-FFF2-40B4-BE49-F238E27FC236}">
                  <a16:creationId xmlns:a16="http://schemas.microsoft.com/office/drawing/2014/main" id="{5DCF876E-C335-3764-E89B-B1ED0F96CAE8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2" name="Rechteck 251">
              <a:extLst>
                <a:ext uri="{FF2B5EF4-FFF2-40B4-BE49-F238E27FC236}">
                  <a16:creationId xmlns:a16="http://schemas.microsoft.com/office/drawing/2014/main" id="{E6D0406F-2E48-9855-2CD8-63227F7F94C2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3" name="Rechteck 252">
              <a:extLst>
                <a:ext uri="{FF2B5EF4-FFF2-40B4-BE49-F238E27FC236}">
                  <a16:creationId xmlns:a16="http://schemas.microsoft.com/office/drawing/2014/main" id="{DBE92752-E387-51EA-AE6C-DDB914F6ED82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4" name="Rechteck 253">
              <a:extLst>
                <a:ext uri="{FF2B5EF4-FFF2-40B4-BE49-F238E27FC236}">
                  <a16:creationId xmlns:a16="http://schemas.microsoft.com/office/drawing/2014/main" id="{DB70EF8E-2736-54B6-1A28-9E872B614BD0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5" name="Rechteck 254">
              <a:extLst>
                <a:ext uri="{FF2B5EF4-FFF2-40B4-BE49-F238E27FC236}">
                  <a16:creationId xmlns:a16="http://schemas.microsoft.com/office/drawing/2014/main" id="{DD96CF14-8240-B111-3654-F100E5B0897F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753750F4-D006-B5BD-F74A-5DDA4ABD9A68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D19DD8D4-9182-BF8F-167D-43D8CB98793B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9DB73881-58B9-611E-1FC3-3DA64CDA4917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38284B60-9AE2-5E94-6B35-2CF0055BCF4E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336BB29B-67DD-E991-2962-CE9BB66DC003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5A0AFCE4-BCCF-4C79-9EA5-936A8256A7A0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527A5B54-2A06-29A5-3D51-3C33495CE418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D4A05010-AACA-E9B3-AB3E-990549846A7E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657C9670-FE1C-B149-177C-216EE30408A8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D338BE36-C646-CBC8-13B8-0ABA1E4DC708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BAFBF828-5EE1-7F1A-D8C1-1A7D2040B0F2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406621AC-61FB-8E6A-8BEC-778BD5BBED33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F8E98E1C-178B-A9D5-8D3E-A79AADC65343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82CC8B68-52C2-B1CF-1EE0-523AAA824B42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0" name="Rechteck 269">
              <a:extLst>
                <a:ext uri="{FF2B5EF4-FFF2-40B4-BE49-F238E27FC236}">
                  <a16:creationId xmlns:a16="http://schemas.microsoft.com/office/drawing/2014/main" id="{A205CDB0-5C2C-1CF5-FE19-D2AB5D00E88A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1" name="Rechteck 270">
              <a:extLst>
                <a:ext uri="{FF2B5EF4-FFF2-40B4-BE49-F238E27FC236}">
                  <a16:creationId xmlns:a16="http://schemas.microsoft.com/office/drawing/2014/main" id="{FC9EB7BC-120A-AE16-DF44-849CD91448D9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C6CB98EB-D01F-36CE-7F2E-3787636617EE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A7036271-D068-844D-27F2-2BA47ABA9B70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AB66B896-A79C-B7C1-FFD3-AFBAF236EA95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319E3659-6EBA-D85F-3660-51A2A43C8FA4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3DACA6CE-C7CF-F659-BD89-CB358E21050A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65DB28A3-E9D7-A075-3E5E-90397CE8E2CD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8956E333-68BD-7C99-92A6-94A24867B733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B70C34CA-C4E1-5A90-B8E0-891BD73D56F1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B0AA5FBD-66EC-2C77-E3D1-BB62B6B885CF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EADA99BD-EE71-3A02-A27C-F27598E3A81D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8DF6023A-B18A-0A0F-F85A-A745A164916B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3" name="Rechteck 282">
              <a:extLst>
                <a:ext uri="{FF2B5EF4-FFF2-40B4-BE49-F238E27FC236}">
                  <a16:creationId xmlns:a16="http://schemas.microsoft.com/office/drawing/2014/main" id="{06CF5F04-3EC9-FB23-5AE4-95462F73EE5B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21693DA1-6D2F-8663-43B1-899C89519079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A3CB7A5A-D761-3830-436A-A89D53CC4248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B13ECF14-25B7-5102-0133-A3C70E4A87FA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9D042395-ED01-7719-1F11-1BC78894EF26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55617FB2-F56D-2A1D-9804-1CF4FFD054F1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D4496687-D342-4B9C-9B17-A9B2391BECC8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9CBD70A1-170A-1C00-6E60-2958555EBCEC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21384AC3-36F3-33EA-C100-ACFCD38DD957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A5F05B10-9A69-883B-C44B-1C279E9819F7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9BDC6FE6-BFC7-5BE2-424B-C10BB724EFA3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9BC1547B-2F7B-63BF-F077-775271EC746D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00DED609-89FF-F79D-6153-E8DE1E222C10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6C2CAC04-8D4C-1103-112E-D80BD8F50498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058DC296-F846-6A59-4AB5-0303C0DE2D29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8522089B-D71F-7094-4D84-8306A973517A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9DA9884B-9C2B-1292-9992-4E665EABE562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6E754E28-2328-2EA6-0E28-217234FC7354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16516D6B-2B8D-9FF9-AB31-DDE9212D6479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7A069318-7D51-5A4C-B98E-F1D1B43D302B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C5D69EDB-B1C0-FFDC-3FC3-8A98C70562E9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BFB4002F-4963-BDB3-4E56-105422C7BD5A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048C6A69-56B3-AD4D-5735-32629D214E18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61235075-3BBE-4A08-8553-E8888A16F2C4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3019E7CB-EDC6-429D-4C22-3AA4D5E8D331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3A252333-2869-05FE-7882-FE2252FF56DE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8BFAE692-BD08-AEAD-8898-7A26A0EC35CA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9631059C-EAD9-CF53-C114-40076D424E9F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22335228-E4D1-52B6-E10A-764BC7FF0203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61ED5946-4A19-ABBC-15EE-8FD5BED81E46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DB8D6881-BC50-BA8E-F57D-2D877080829D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1D6031E0-9D48-4BDC-E328-E147B9F278C7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557A8659-5248-D8D4-8863-7A26B1085923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EC432710-C86C-8ECC-DFAA-707A2F250786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0EF44DB3-26A2-071B-1418-AA69FD87FE23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E504CD39-D23A-CB50-0267-30DE16278BC3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98755E14-F3BD-452B-264D-7336C681A0B8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C574A574-B4D1-DB21-98B9-CA85FDDA3797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6353AD79-BEB9-11F8-F330-DCCA33FDD6E3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E56D6FB5-5CEA-0C89-9977-7319111B9C55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4939AEA6-F5FD-3041-BACC-EEFFB9021F88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4160B37B-A7EB-BAD6-67D3-FBFF320D7BD1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DA389E02-D552-A069-DA54-AEDB52ED0FBF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A9501410-81B4-E0FF-F2F0-D9F71BC70E53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E2BF919A-65CC-DFDD-F1EF-E80CCF5EF212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CEDBD0C9-25D0-D633-3B57-51B4030CAB9D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BDCEDAA0-C3B8-27FD-C07A-B50E2EA989FA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5C5D116F-C767-08B0-761D-8DCBFCF16C6A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698CB4BE-731E-7E54-A1E3-32AE4A657EA3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6793CDDA-E53C-6135-3E82-9E50C2EA80AC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7D948FB8-EB21-BFCC-0EAD-AD6B99CD05ED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06C2D570-A3B9-55B3-7F2B-2141D3266BC4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970B911A-C6B6-4F77-5252-66215D395EA7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F3B0AF60-4A1B-03BE-44FA-E7711311586A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ED0D112D-98CA-72BC-DEF2-9BA1212728E9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3239A8E7-3EEE-9596-62CE-7914D40BBF29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D45C6426-3F7B-66FF-FB15-B2B752C114FC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8967770E-2DB7-6C5B-ECD7-C29118036CE1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93B2FAE4-0CA9-E08A-44CE-8088D0FAE1C6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AE59367B-9C5C-6AE8-3CE0-976BE5F08C50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A38D82D7-4846-5522-3BB2-82BDCD031394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11EF7213-B967-DA8A-D3A8-F51C82BC9E4E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103F497E-2F66-B02E-EDCA-F93DDCA9DDCF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5020FA8D-BF5B-A886-3993-238E9B82B1AF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B9FD24EE-C282-9FC3-9215-0543EF099B33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B80E86D0-75DC-A3EA-CD60-8316CC8D0BA4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012CBBF0-3AC5-4B7A-2AA4-0FDD4A48D256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5EE1CF2F-BBBD-4BB8-BAB7-E4453687E325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BC482399-9B66-1B6B-70FC-64778436AC36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70F7B8B4-A983-A82F-0669-72F3A2286AD9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24290A93-C7A3-756C-90FD-59586732AF36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DBEF970C-0518-400E-484C-2C7AD909E003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C041C441-B09A-2689-C196-688B52CB586F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B83D06A3-BDB4-6D1A-642D-E92F6189CF06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057444D3-FAFE-8795-5D85-49031EDD6B06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7679093C-A61F-49F2-ADCA-E7EAA1C2BFE0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7CF8B7B7-B97A-8A81-437B-DBDC9D539AB0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3FA869D7-E972-16C8-E682-28B43606E275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99EFD6BF-452D-2553-8D2C-D4EE715C1D95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97C39930-5D19-8695-5031-B6F292FD9013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94DF4504-C3DD-4FFD-BC3C-4FAD0B1A3FBF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48C6A062-EED7-DA73-6526-384CCA180B55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E48AB336-A11E-B6DD-E053-64C8F5E16C14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4B66FD45-5324-E23F-3FC2-643C1C0EA2EF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9387DBA9-E7CD-BC38-4E6B-3FB6F0BC490C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5D782FCE-D785-AF04-6029-AAB67B7148F5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652FEE84-44C9-17AF-9C4C-91572343FB00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FC635059-86F0-09F2-2527-FF38931FE781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CEFD5084-9534-9201-2F37-FABADAD98E47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D4E7FE9F-DAA5-2F78-AF42-0BF4D6C1FC85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D314CFC7-F3F0-FA6E-315F-74273B4716EF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409796D9-EB16-D3B2-098E-B1A2C44252B2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A05090FF-BCEB-EC24-A649-25B329D66DC1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A656BEEB-61EC-01A6-8E77-1930C98056A7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28931C63-D512-894C-9778-A3BF909A7E63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1D592C88-D0B0-FF5C-A2E5-DFC8FEE6D3F6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70F7B22F-8D4C-6AEF-B953-DA9BB2F55E7C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1D824D44-72EB-B1FC-D3F2-FBE7A2AC2443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D88AE0EF-B654-FAE4-7287-8CEAB01860B4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12E7BEF8-DE80-CE26-7479-263207220B93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0AA2A119-2AE1-9327-1E52-116EED470A0A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EB65D399-662A-C52F-5CBA-AA3B56F9A937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22B798B1-C202-E51E-E357-0006025EE7F9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702743F5-C633-6518-9DCC-15131B3E8956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6BD67DF8-5129-C31D-4838-0EE68547D57B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80468885-8DFF-67E1-85A6-A926BEDB28C5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62E9B93D-855E-2B79-D038-00D719C2D46C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pic>
        <p:nvPicPr>
          <p:cNvPr id="390" name="Logo">
            <a:extLst>
              <a:ext uri="{FF2B5EF4-FFF2-40B4-BE49-F238E27FC236}">
                <a16:creationId xmlns:a16="http://schemas.microsoft.com/office/drawing/2014/main" id="{AE107197-3230-4C0B-CC9F-643D59057B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  <p:grpSp>
        <p:nvGrpSpPr>
          <p:cNvPr id="391" name="Gruppieren 390">
            <a:extLst>
              <a:ext uri="{FF2B5EF4-FFF2-40B4-BE49-F238E27FC236}">
                <a16:creationId xmlns:a16="http://schemas.microsoft.com/office/drawing/2014/main" id="{9D39E8C0-47E1-D3BF-A135-6011FBD331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1" y="2082829"/>
            <a:ext cx="2448000" cy="0"/>
            <a:chOff x="983432" y="2082829"/>
            <a:chExt cx="2448000" cy="0"/>
          </a:xfrm>
        </p:grpSpPr>
        <p:cxnSp>
          <p:nvCxnSpPr>
            <p:cNvPr id="392" name="Line">
              <a:extLst>
                <a:ext uri="{FF2B5EF4-FFF2-40B4-BE49-F238E27FC236}">
                  <a16:creationId xmlns:a16="http://schemas.microsoft.com/office/drawing/2014/main" id="{BB6745BF-F3AE-B55A-BCCB-019C25744B3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3" name="Line">
              <a:extLst>
                <a:ext uri="{FF2B5EF4-FFF2-40B4-BE49-F238E27FC236}">
                  <a16:creationId xmlns:a16="http://schemas.microsoft.com/office/drawing/2014/main" id="{9F8DFFE7-E201-6CBC-EF69-318AD77ED5E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4" name="Shape">
            <a:extLst>
              <a:ext uri="{FF2B5EF4-FFF2-40B4-BE49-F238E27FC236}">
                <a16:creationId xmlns:a16="http://schemas.microsoft.com/office/drawing/2014/main" id="{81ADCD7E-CD51-40F1-70C3-287E5126BB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0848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397" name="Bildplatzhalter 396">
            <a:extLst>
              <a:ext uri="{FF2B5EF4-FFF2-40B4-BE49-F238E27FC236}">
                <a16:creationId xmlns:a16="http://schemas.microsoft.com/office/drawing/2014/main" id="{7462A7CC-E7E5-7E2F-7A8E-26525629BE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367809" y="2061400"/>
            <a:ext cx="5760640" cy="3463099"/>
          </a:xfrm>
          <a:custGeom>
            <a:avLst/>
            <a:gdLst>
              <a:gd name="connsiteX0" fmla="*/ 5760640 w 5760640"/>
              <a:gd name="connsiteY0" fmla="*/ 0 h 3463099"/>
              <a:gd name="connsiteX1" fmla="*/ 4609453 w 5760640"/>
              <a:gd name="connsiteY1" fmla="*/ 2311556 h 3463099"/>
              <a:gd name="connsiteX2" fmla="*/ 0 w 5760640"/>
              <a:gd name="connsiteY2" fmla="*/ 3463099 h 3463099"/>
              <a:gd name="connsiteX3" fmla="*/ 0 w 5760640"/>
              <a:gd name="connsiteY3" fmla="*/ 518 h 3463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60640" h="3463099">
                <a:moveTo>
                  <a:pt x="5760640" y="0"/>
                </a:moveTo>
                <a:lnTo>
                  <a:pt x="4609453" y="2311556"/>
                </a:lnTo>
                <a:lnTo>
                  <a:pt x="0" y="3463099"/>
                </a:lnTo>
                <a:lnTo>
                  <a:pt x="0" y="518"/>
                </a:lnTo>
                <a:close/>
              </a:path>
            </a:pathLst>
          </a:custGeom>
          <a:solidFill>
            <a:srgbClr val="FFA52F"/>
          </a:solidFill>
        </p:spPr>
        <p:txBody>
          <a:bodyPr wrap="square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695400" y="2564904"/>
            <a:ext cx="2952000" cy="1152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36000" rIns="216000" anchor="t">
            <a:noAutofit/>
          </a:bodyPr>
          <a:lstStyle>
            <a:lvl1pPr algn="l" rtl="0">
              <a:lnSpc>
                <a:spcPct val="90000"/>
              </a:lnSpc>
              <a:defRPr sz="2400"/>
            </a:lvl1pPr>
          </a:lstStyle>
          <a:p>
            <a:r>
              <a:rPr lang="en-US"/>
              <a:t>Insert your long title here in max. three lin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695400" y="3717032"/>
            <a:ext cx="2952000" cy="1202385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31" name="Author"/>
          <p:cNvSpPr>
            <a:spLocks noGrp="1"/>
          </p:cNvSpPr>
          <p:nvPr userDrawn="1">
            <p:ph type="body" sz="quarter" idx="14" hasCustomPrompt="1"/>
          </p:nvPr>
        </p:nvSpPr>
        <p:spPr bwMode="gray">
          <a:xfrm>
            <a:off x="695400" y="4869160"/>
            <a:ext cx="2952000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 anchor="b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US"/>
              <a:t>First name Last name</a:t>
            </a:r>
            <a:endParaRPr lang="en-US" dirty="0"/>
          </a:p>
        </p:txBody>
      </p:sp>
      <p:sp>
        <p:nvSpPr>
          <p:cNvPr id="34" name="Department, Date"/>
          <p:cNvSpPr>
            <a:spLocks noGrp="1"/>
          </p:cNvSpPr>
          <p:nvPr userDrawn="1">
            <p:ph type="body" sz="quarter" idx="15" hasCustomPrompt="1"/>
          </p:nvPr>
        </p:nvSpPr>
        <p:spPr bwMode="gray">
          <a:xfrm>
            <a:off x="695400" y="5085160"/>
            <a:ext cx="2952000" cy="720104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US"/>
              <a:t>Department</a:t>
            </a:r>
            <a:br>
              <a:rPr lang="en-US"/>
            </a:br>
            <a:r>
              <a:rPr lang="en-US"/>
              <a:t>DD/MM/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0625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DF6CC60-A90D-BF94-337E-B9F98DE984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0571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F6CC60-A90D-BF94-337E-B9F98DE984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">
            <a:extLst>
              <a:ext uri="{FF2B5EF4-FFF2-40B4-BE49-F238E27FC236}">
                <a16:creationId xmlns:a16="http://schemas.microsoft.com/office/drawing/2014/main" id="{CF5EDE16-5B1A-4150-90CB-D4C4142476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96F545AC-9767-C3A9-8852-5B3F117FB099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1" y="658788"/>
            <a:ext cx="8064895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 b="0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4962" y="2060575"/>
            <a:ext cx="10369549" cy="4032250"/>
          </a:xfrm>
          <a:prstGeom prst="rect">
            <a:avLst/>
          </a:prstGeom>
        </p:spPr>
        <p:txBody>
          <a:bodyPr/>
          <a:lstStyle>
            <a:lvl1pPr rtl="0">
              <a:defRPr baseline="0"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5" name="Source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313E8EF-477B-829C-E76D-82E935EA0F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99F21F9-7E82-D3A4-D13F-25045FB168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069B29-DDCD-4764-6C0C-2E75AC2884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15012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3" pos="6743">
          <p15:clr>
            <a:srgbClr val="FBAE40"/>
          </p15:clr>
        </p15:guide>
        <p15:guide id="4" orient="horz" pos="3838">
          <p15:clr>
            <a:srgbClr val="FBAE40"/>
          </p15:clr>
        </p15:guide>
        <p15:guide id="5" pos="211">
          <p15:clr>
            <a:srgbClr val="FBAE40"/>
          </p15:clr>
        </p15:guide>
        <p15:guide id="6" orient="horz" pos="935">
          <p15:clr>
            <a:srgbClr val="FBAE40"/>
          </p15:clr>
        </p15:guide>
        <p15:guide id="7" pos="7469">
          <p15:clr>
            <a:srgbClr val="FBAE40"/>
          </p15:clr>
        </p15:guide>
      </p15:sldGuideLst>
    </p:ext>
  </p:extLs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478939E-4A6D-3039-AA8F-67CE88DFB0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8940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78939E-4A6D-3039-AA8F-67CE88DFB0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Picture">
            <a:extLst>
              <a:ext uri="{FF2B5EF4-FFF2-40B4-BE49-F238E27FC236}">
                <a16:creationId xmlns:a16="http://schemas.microsoft.com/office/drawing/2014/main" id="{4A4DB585-6D1E-7B61-ADF1-62BBDEF4151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0" y="0"/>
            <a:ext cx="10704512" cy="6858000"/>
          </a:xfrm>
          <a:custGeom>
            <a:avLst/>
            <a:gdLst>
              <a:gd name="connsiteX0" fmla="*/ 0 w 10632504"/>
              <a:gd name="connsiteY0" fmla="*/ 0 h 6858000"/>
              <a:gd name="connsiteX1" fmla="*/ 10632504 w 10632504"/>
              <a:gd name="connsiteY1" fmla="*/ 0 h 6858000"/>
              <a:gd name="connsiteX2" fmla="*/ 10632504 w 10632504"/>
              <a:gd name="connsiteY2" fmla="*/ 6858000 h 6858000"/>
              <a:gd name="connsiteX3" fmla="*/ 0 w 1063250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632504" h="6858000">
                <a:moveTo>
                  <a:pt x="0" y="0"/>
                </a:moveTo>
                <a:lnTo>
                  <a:pt x="10632504" y="0"/>
                </a:lnTo>
                <a:lnTo>
                  <a:pt x="1063250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6D9DC"/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8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2" name="Content">
            <a:extLst>
              <a:ext uri="{FF2B5EF4-FFF2-40B4-BE49-F238E27FC236}">
                <a16:creationId xmlns:a16="http://schemas.microsoft.com/office/drawing/2014/main" id="{93536E9D-E5E2-4B0C-91F6-B80985E0540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11424" y="1484784"/>
            <a:ext cx="3455789" cy="2305961"/>
          </a:xfrm>
          <a:solidFill>
            <a:schemeClr val="bg1"/>
          </a:solidFill>
        </p:spPr>
        <p:txBody>
          <a:bodyPr wrap="square" lIns="216000" tIns="216000" rIns="216000" bIns="216000">
            <a:sp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  <a:endParaRPr lang="en-US" dirty="0"/>
          </a:p>
        </p:txBody>
      </p:sp>
      <p:sp>
        <p:nvSpPr>
          <p:cNvPr id="5" name="Shape">
            <a:extLst>
              <a:ext uri="{FF2B5EF4-FFF2-40B4-BE49-F238E27FC236}">
                <a16:creationId xmlns:a16="http://schemas.microsoft.com/office/drawing/2014/main" id="{3F86E13A-084F-ED45-B21A-6735204194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10848528" y="0"/>
            <a:ext cx="216024" cy="13414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en-US" sz="160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78EB467-3819-CE01-9D54-B8D7B7DF1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4C1F6D1-6F23-F489-09BB-6E7DCE86A7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BB33AB8-ED32-DEC4-5F38-F02D6AB1AE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10734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 with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6A55C11-F4A5-0591-1C80-F101DE14BA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4224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A55C11-F4A5-0591-1C80-F101DE14BA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6" name="Picture">
            <a:extLst>
              <a:ext uri="{FF2B5EF4-FFF2-40B4-BE49-F238E27FC236}">
                <a16:creationId xmlns:a16="http://schemas.microsoft.com/office/drawing/2014/main" id="{7F971BB4-CECE-4C6B-9C8F-D4F40265C4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6D9DC"/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E2E39C7-465E-9D21-AFDA-CEF2A8645C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09754" y="2059254"/>
            <a:ext cx="2881991" cy="2953923"/>
          </a:xfrm>
          <a:custGeom>
            <a:avLst/>
            <a:gdLst>
              <a:gd name="connsiteX0" fmla="*/ 0 w 2881991"/>
              <a:gd name="connsiteY0" fmla="*/ 0 h 2953923"/>
              <a:gd name="connsiteX1" fmla="*/ 2881991 w 2881991"/>
              <a:gd name="connsiteY1" fmla="*/ 0 h 2953923"/>
              <a:gd name="connsiteX2" fmla="*/ 2400650 w 2881991"/>
              <a:gd name="connsiteY2" fmla="*/ 2462378 h 2953923"/>
              <a:gd name="connsiteX3" fmla="*/ 0 w 2881991"/>
              <a:gd name="connsiteY3" fmla="*/ 2953923 h 2953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81991" h="2953923">
                <a:moveTo>
                  <a:pt x="0" y="0"/>
                </a:moveTo>
                <a:lnTo>
                  <a:pt x="2881991" y="0"/>
                </a:lnTo>
                <a:lnTo>
                  <a:pt x="2400650" y="2462378"/>
                </a:lnTo>
                <a:lnTo>
                  <a:pt x="0" y="2953923"/>
                </a:lnTo>
                <a:close/>
              </a:path>
            </a:pathLst>
          </a:custGeom>
          <a:solidFill>
            <a:schemeClr val="tx1"/>
          </a:solidFill>
          <a:ln w="127">
            <a:solidFill>
              <a:schemeClr val="tx1"/>
            </a:solidFill>
          </a:ln>
        </p:spPr>
        <p:txBody>
          <a:bodyPr wrap="square" lIns="288000" tIns="216000" rIns="216000">
            <a:noAutofit/>
          </a:bodyPr>
          <a:lstStyle>
            <a:lvl1pPr marL="0" indent="0" rtl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[Thank You]</a:t>
            </a:r>
            <a:endParaRPr lang="en-US" dirty="0"/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EFDF75BA-555D-4338-B380-D9FEBC0FA6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0128000" y="333000"/>
            <a:ext cx="1357200" cy="576000"/>
          </a:xfr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27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 rtl="0">
              <a:spcBef>
                <a:spcPts val="0"/>
              </a:spcBef>
              <a:buNone/>
              <a:defRPr sz="100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10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0">
                <a:latin typeface="+mn-lt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 sz="1000" b="0"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0"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0"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0"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0">
                <a:latin typeface="+mn-lt"/>
              </a:defRPr>
            </a:lvl9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277" name="Subtitle 2">
            <a:extLst>
              <a:ext uri="{FF2B5EF4-FFF2-40B4-BE49-F238E27FC236}">
                <a16:creationId xmlns:a16="http://schemas.microsoft.com/office/drawing/2014/main" id="{ACF2BA01-68EA-4B41-8EA0-32D3161DE7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911424" y="3789040"/>
            <a:ext cx="2448272" cy="575960"/>
          </a:xfrm>
          <a:prstGeom prst="rect">
            <a:avLst/>
          </a:prstGeom>
          <a:noFill/>
          <a:ln w="0">
            <a:noFill/>
          </a:ln>
        </p:spPr>
        <p:txBody>
          <a:bodyPr lIns="288000" r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9pPr>
          </a:lstStyle>
          <a:p>
            <a:r>
              <a:rPr lang="en-US"/>
              <a:t>gfk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97254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&amp;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0EA33E6C-B6EA-4396-A2D1-BF412B2609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913BB0AF-B044-78B3-50A8-2B3BCC5A4AD1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5" name="Picture 1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35360" y="1484784"/>
            <a:ext cx="3456384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7" name="Content 1">
            <a:extLst>
              <a:ext uri="{FF2B5EF4-FFF2-40B4-BE49-F238E27FC236}">
                <a16:creationId xmlns:a16="http://schemas.microsoft.com/office/drawing/2014/main" id="{06A67EB1-7EE7-45D3-A94D-6EA201E90CF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34964" y="3789363"/>
            <a:ext cx="3456780" cy="2303462"/>
          </a:xfrm>
        </p:spPr>
        <p:txBody>
          <a:bodyPr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9" name="Picture 2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367808" y="1484784"/>
            <a:ext cx="3456384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2" name="Content 2">
            <a:extLst>
              <a:ext uri="{FF2B5EF4-FFF2-40B4-BE49-F238E27FC236}">
                <a16:creationId xmlns:a16="http://schemas.microsoft.com/office/drawing/2014/main" id="{C35DD715-4BC4-4F30-A849-B8E23CA41DB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367213" y="3789363"/>
            <a:ext cx="3457575" cy="2303462"/>
          </a:xfrm>
        </p:spPr>
        <p:txBody>
          <a:bodyPr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Picture 3">
            <a:extLst>
              <a:ext uri="{FF2B5EF4-FFF2-40B4-BE49-F238E27FC236}">
                <a16:creationId xmlns:a16="http://schemas.microsoft.com/office/drawing/2014/main" id="{13F83B90-1053-4BAE-A04B-E97DF0BCFAD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8400256" y="1484784"/>
            <a:ext cx="3456384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3" name="Content 3">
            <a:extLst>
              <a:ext uri="{FF2B5EF4-FFF2-40B4-BE49-F238E27FC236}">
                <a16:creationId xmlns:a16="http://schemas.microsoft.com/office/drawing/2014/main" id="{312C35B1-615F-427F-BBA3-DA904C08CA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400256" y="3789363"/>
            <a:ext cx="3456384" cy="2303462"/>
          </a:xfrm>
        </p:spPr>
        <p:txBody>
          <a:bodyPr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1" name="Source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4E386D9-C434-65C3-CE3E-5CD1C1ECED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A153C67A-9FF5-44EF-973B-CFE3FB9C4A66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83C618C-9D8F-7DC3-186F-2EAA8F41FD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CF80E59-E563-C03E-500C-5F125399B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3981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211">
          <p15:clr>
            <a:srgbClr val="FBAE40"/>
          </p15:clr>
        </p15:guide>
        <p15:guide id="5" pos="5292">
          <p15:clr>
            <a:srgbClr val="FBAE40"/>
          </p15:clr>
        </p15:guide>
        <p15:guide id="6" pos="4929">
          <p15:clr>
            <a:srgbClr val="FBAE40"/>
          </p15:clr>
        </p15:guide>
        <p15:guide id="7" pos="7469">
          <p15:clr>
            <a:srgbClr val="FBAE40"/>
          </p15:clr>
        </p15:guide>
        <p15:guide id="8" orient="horz" pos="2205">
          <p15:clr>
            <a:srgbClr val="FBAE40"/>
          </p15:clr>
        </p15:guide>
        <p15:guide id="9" orient="horz" pos="2387">
          <p15:clr>
            <a:srgbClr val="FBAE40"/>
          </p15:clr>
        </p15:guide>
        <p15:guide id="10" orient="horz" pos="3838">
          <p15:clr>
            <a:srgbClr val="FBAE40"/>
          </p15:clr>
        </p15:guide>
        <p15:guide id="11" pos="2389">
          <p15:clr>
            <a:srgbClr val="FBAE40"/>
          </p15:clr>
        </p15:guide>
        <p15:guide id="12" pos="2751">
          <p15:clr>
            <a:srgbClr val="FBAE40"/>
          </p15:clr>
        </p15:guide>
      </p15:sldGuideLst>
    </p:ext>
  </p:extLs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7225CDF-7846-008F-8E65-7973E58F2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7840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225CDF-7846-008F-8E65-7973E58F2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8FBBB33B-6585-FAE2-064D-97CE130492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36BF6A55-3BD5-3BAD-F62B-F168224C5B09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C09ED312-0B60-BE98-FA91-3E295B2FE1E3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736CB7F7-3C97-AB31-2F8F-ABD83BB4C675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61E7F848-4761-3B86-69CA-69352ECB890C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2C537B7B-FF5B-34F9-BC72-03A86B2C4E63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39663796-B505-354C-5387-682B97C9271A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E09A7279-CAF8-7EA6-BCFD-E15B67A72BD2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FE0C5BFE-4FCD-02E4-B864-11D7F686A66A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BF16B231-651A-E0B4-A5E4-75232E5FF5A8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0CD6A4A1-395D-3870-FD75-59847C902E75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80A7D57B-4901-3108-5C74-3F0D9986BF2B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FC4E1CD6-7841-8D67-B6AF-9C9AB9FF5A06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4BA6673A-9309-DF39-41CA-2CCFEA80BB36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E8D2F87E-FE95-DB4F-1978-4B2769FE7566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09368267-C5D5-89C2-B2FB-B46D8F151004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00654DB6-1E34-D913-4A4B-B64B22AE1F17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ABC0B822-0A38-CDF1-04B6-BBC64D761743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F6EAFB8F-389B-4CB6-8B35-CEE4368B09E7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DD5B488B-004A-20ED-F2BA-71B78CBAD9BD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9AAD940D-38DE-8D86-B1AA-2F0B26F2EE69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54567C84-8A77-64AE-8E13-9DB07B5941BB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CC54F7F9-7A48-C9EA-6B1F-3659BA75F5CB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599C368D-63E5-67FF-1FF1-A8DC64217424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09AAC4B1-E516-D59D-1FC6-61B7DAD158A9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69BAA6E8-DFED-74AA-995D-5D7CD6525BA3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DA3A0ED2-73AF-F302-EC89-C77B793ADAEF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86B74D44-2618-7CDF-077C-08EE7974B7C7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E6D68A55-1911-2FFE-1741-F6C2BECBEE9C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EFF96A0D-A71E-B3EC-0E2B-C743B3F8EBCE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26D587A9-5344-FCBF-7A24-56F02F654D17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DAB46B1F-2C96-CCD6-D38B-9266CBA59DEE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E54ADAD6-7CE0-188E-A8DD-044FDC59040E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FF2250B8-BFAB-97F4-9E1F-1CF438C1E1DF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52F815ED-ED1E-43BC-C7C0-88EB783FE6BE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935CACFD-0721-A62C-E57C-0BF533900FDB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2F429752-501E-84B9-1DF7-69E60F762AC1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5F4F797B-4549-1525-2897-FE6210983AA9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B0C125F6-1E44-400F-8E0B-6D90B33BF80D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F462A747-A99B-5CDB-7C69-1C02D6090675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155745AE-FEC1-19AF-C6E5-3719C4F68069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65370FCB-8593-8719-6F48-8898E05C9989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F1006097-8FEE-454F-DDA0-CDF88CEC7127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1239D329-6CCE-5B86-743B-BF32749737C1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BA673C69-4B93-9097-A28F-4DD1C1809AEC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0EAD2096-BA0B-F20D-474D-C87ABAD76167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2FFC4C80-1C0E-E5C8-70B8-5C9880CD4A00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5AEFB2F9-9AAC-743B-7044-FAF1EB4D2E41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FDB6BEB7-A32E-71A8-71EB-7ED89420155D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071794A4-3D02-4353-FC25-FF5F6CC29422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0983620F-829C-328B-29AE-697A4B7AB5C5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A2109864-60CA-31C8-570C-F7F91609BFDA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4F6701DB-BF4A-B9F1-7804-72F63F958E9F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13DCC529-E443-EC98-D24D-241AFAA48751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06AA5AFB-B00F-0A73-F405-8F2C1FB89FA4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6" name="Rechteck 565">
              <a:extLst>
                <a:ext uri="{FF2B5EF4-FFF2-40B4-BE49-F238E27FC236}">
                  <a16:creationId xmlns:a16="http://schemas.microsoft.com/office/drawing/2014/main" id="{CC952EF0-0D55-4996-8A14-2560311C38D6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7" name="Rechteck 566">
              <a:extLst>
                <a:ext uri="{FF2B5EF4-FFF2-40B4-BE49-F238E27FC236}">
                  <a16:creationId xmlns:a16="http://schemas.microsoft.com/office/drawing/2014/main" id="{B2BBF22C-DBBE-F28C-2373-53DC71408548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8" name="Rechteck 567">
              <a:extLst>
                <a:ext uri="{FF2B5EF4-FFF2-40B4-BE49-F238E27FC236}">
                  <a16:creationId xmlns:a16="http://schemas.microsoft.com/office/drawing/2014/main" id="{4ACC169F-DD90-E682-099E-01D1C25ABE5B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9" name="Rechteck 568">
              <a:extLst>
                <a:ext uri="{FF2B5EF4-FFF2-40B4-BE49-F238E27FC236}">
                  <a16:creationId xmlns:a16="http://schemas.microsoft.com/office/drawing/2014/main" id="{25CA4AC8-9072-5F25-EA21-67EC0DEFC620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0" name="Rechteck 569">
              <a:extLst>
                <a:ext uri="{FF2B5EF4-FFF2-40B4-BE49-F238E27FC236}">
                  <a16:creationId xmlns:a16="http://schemas.microsoft.com/office/drawing/2014/main" id="{2B6701C5-D8DF-6615-917A-C69F592E69AD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1" name="Rechteck 570">
              <a:extLst>
                <a:ext uri="{FF2B5EF4-FFF2-40B4-BE49-F238E27FC236}">
                  <a16:creationId xmlns:a16="http://schemas.microsoft.com/office/drawing/2014/main" id="{0B63B0EA-2080-48F4-5ED3-401B98AE73FB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2" name="Rechteck 571">
              <a:extLst>
                <a:ext uri="{FF2B5EF4-FFF2-40B4-BE49-F238E27FC236}">
                  <a16:creationId xmlns:a16="http://schemas.microsoft.com/office/drawing/2014/main" id="{9ADBCCAC-804C-CFBD-634F-40EFE2859277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3" name="Rechteck 572">
              <a:extLst>
                <a:ext uri="{FF2B5EF4-FFF2-40B4-BE49-F238E27FC236}">
                  <a16:creationId xmlns:a16="http://schemas.microsoft.com/office/drawing/2014/main" id="{AC8C76E0-A934-9164-83FF-5EE93FB9A3D4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4" name="Rechteck 573">
              <a:extLst>
                <a:ext uri="{FF2B5EF4-FFF2-40B4-BE49-F238E27FC236}">
                  <a16:creationId xmlns:a16="http://schemas.microsoft.com/office/drawing/2014/main" id="{1FC77160-DD19-4BBB-A930-6DEBF027709E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5" name="Rechteck 574">
              <a:extLst>
                <a:ext uri="{FF2B5EF4-FFF2-40B4-BE49-F238E27FC236}">
                  <a16:creationId xmlns:a16="http://schemas.microsoft.com/office/drawing/2014/main" id="{42664047-1D09-CBC9-2836-B1C9FC7DAC36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C325285A-4A43-0588-A780-73D1EA156003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6" name="Rechteck 575">
              <a:extLst>
                <a:ext uri="{FF2B5EF4-FFF2-40B4-BE49-F238E27FC236}">
                  <a16:creationId xmlns:a16="http://schemas.microsoft.com/office/drawing/2014/main" id="{591530D5-BD59-1DD4-A9FC-45B47E6E224D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7" name="Rechteck 576">
              <a:extLst>
                <a:ext uri="{FF2B5EF4-FFF2-40B4-BE49-F238E27FC236}">
                  <a16:creationId xmlns:a16="http://schemas.microsoft.com/office/drawing/2014/main" id="{3C96929E-07D6-1552-7C54-2433D1D0EA70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8" name="Rechteck 577">
              <a:extLst>
                <a:ext uri="{FF2B5EF4-FFF2-40B4-BE49-F238E27FC236}">
                  <a16:creationId xmlns:a16="http://schemas.microsoft.com/office/drawing/2014/main" id="{DFE78269-DC17-9E55-920A-FE63C619FAB8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9" name="Rechteck 578">
              <a:extLst>
                <a:ext uri="{FF2B5EF4-FFF2-40B4-BE49-F238E27FC236}">
                  <a16:creationId xmlns:a16="http://schemas.microsoft.com/office/drawing/2014/main" id="{5F4BA442-4D72-B94E-C215-6D72679ED324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0" name="Rechteck 579">
              <a:extLst>
                <a:ext uri="{FF2B5EF4-FFF2-40B4-BE49-F238E27FC236}">
                  <a16:creationId xmlns:a16="http://schemas.microsoft.com/office/drawing/2014/main" id="{FDBE1A38-DBD1-5FB2-583C-C0A5F493C274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1" name="Rechteck 580">
              <a:extLst>
                <a:ext uri="{FF2B5EF4-FFF2-40B4-BE49-F238E27FC236}">
                  <a16:creationId xmlns:a16="http://schemas.microsoft.com/office/drawing/2014/main" id="{73141433-1C44-A56E-2B5E-A641CC05E156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2" name="Rechteck 581">
              <a:extLst>
                <a:ext uri="{FF2B5EF4-FFF2-40B4-BE49-F238E27FC236}">
                  <a16:creationId xmlns:a16="http://schemas.microsoft.com/office/drawing/2014/main" id="{8E232573-56BF-F086-9EC4-E53583B4CE7A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3" name="Rechteck 582">
              <a:extLst>
                <a:ext uri="{FF2B5EF4-FFF2-40B4-BE49-F238E27FC236}">
                  <a16:creationId xmlns:a16="http://schemas.microsoft.com/office/drawing/2014/main" id="{C068962A-F23B-0270-A85A-ECF326C8CD4D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4" name="Rechteck 583">
              <a:extLst>
                <a:ext uri="{FF2B5EF4-FFF2-40B4-BE49-F238E27FC236}">
                  <a16:creationId xmlns:a16="http://schemas.microsoft.com/office/drawing/2014/main" id="{B7F5B1AA-8408-2193-6EC8-B049975FE797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5" name="Rechteck 584">
              <a:extLst>
                <a:ext uri="{FF2B5EF4-FFF2-40B4-BE49-F238E27FC236}">
                  <a16:creationId xmlns:a16="http://schemas.microsoft.com/office/drawing/2014/main" id="{989A6A74-E17F-CCCA-8331-9F1BA808E611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6" name="Rechteck 585">
              <a:extLst>
                <a:ext uri="{FF2B5EF4-FFF2-40B4-BE49-F238E27FC236}">
                  <a16:creationId xmlns:a16="http://schemas.microsoft.com/office/drawing/2014/main" id="{F7CEC2D1-236C-276B-973B-7F166811D79F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7" name="Rechteck 586">
              <a:extLst>
                <a:ext uri="{FF2B5EF4-FFF2-40B4-BE49-F238E27FC236}">
                  <a16:creationId xmlns:a16="http://schemas.microsoft.com/office/drawing/2014/main" id="{7C3870A6-D12A-9E19-EEB1-8FF04FA4C958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8" name="Rechteck 587">
              <a:extLst>
                <a:ext uri="{FF2B5EF4-FFF2-40B4-BE49-F238E27FC236}">
                  <a16:creationId xmlns:a16="http://schemas.microsoft.com/office/drawing/2014/main" id="{FD78DAEB-6D26-EA95-CAD4-995DBD2801CC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9" name="Rechteck 588">
              <a:extLst>
                <a:ext uri="{FF2B5EF4-FFF2-40B4-BE49-F238E27FC236}">
                  <a16:creationId xmlns:a16="http://schemas.microsoft.com/office/drawing/2014/main" id="{AD1E8AB3-5C30-1D9D-CD13-8EBE226D8B1B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0" name="Rechteck 589">
              <a:extLst>
                <a:ext uri="{FF2B5EF4-FFF2-40B4-BE49-F238E27FC236}">
                  <a16:creationId xmlns:a16="http://schemas.microsoft.com/office/drawing/2014/main" id="{3B192971-9BFB-E1EE-25BC-5BE1479E2333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1" name="Rechteck 590">
              <a:extLst>
                <a:ext uri="{FF2B5EF4-FFF2-40B4-BE49-F238E27FC236}">
                  <a16:creationId xmlns:a16="http://schemas.microsoft.com/office/drawing/2014/main" id="{3C35AAFE-6965-F17E-50C7-A2076D2795B1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2" name="Rechteck 591">
              <a:extLst>
                <a:ext uri="{FF2B5EF4-FFF2-40B4-BE49-F238E27FC236}">
                  <a16:creationId xmlns:a16="http://schemas.microsoft.com/office/drawing/2014/main" id="{CD51E520-C1E3-7827-5A22-6E8CCF0A093D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3" name="Rechteck 592">
              <a:extLst>
                <a:ext uri="{FF2B5EF4-FFF2-40B4-BE49-F238E27FC236}">
                  <a16:creationId xmlns:a16="http://schemas.microsoft.com/office/drawing/2014/main" id="{1449EF8D-740F-872B-4437-AA541FDF0486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4" name="Rechteck 593">
              <a:extLst>
                <a:ext uri="{FF2B5EF4-FFF2-40B4-BE49-F238E27FC236}">
                  <a16:creationId xmlns:a16="http://schemas.microsoft.com/office/drawing/2014/main" id="{0AC708EB-9E0A-6B93-C769-DB51EC7A46AD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5" name="Rechteck 594">
              <a:extLst>
                <a:ext uri="{FF2B5EF4-FFF2-40B4-BE49-F238E27FC236}">
                  <a16:creationId xmlns:a16="http://schemas.microsoft.com/office/drawing/2014/main" id="{193A1362-ED45-683D-0C49-D6EBF594CA01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6" name="Rechteck 595">
              <a:extLst>
                <a:ext uri="{FF2B5EF4-FFF2-40B4-BE49-F238E27FC236}">
                  <a16:creationId xmlns:a16="http://schemas.microsoft.com/office/drawing/2014/main" id="{0A86A77E-1844-80C5-F036-83A22CCBC388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7" name="Rechteck 596">
              <a:extLst>
                <a:ext uri="{FF2B5EF4-FFF2-40B4-BE49-F238E27FC236}">
                  <a16:creationId xmlns:a16="http://schemas.microsoft.com/office/drawing/2014/main" id="{49BC1D84-AA32-0010-59BA-4C42D93FBA0F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8" name="Rechteck 597">
              <a:extLst>
                <a:ext uri="{FF2B5EF4-FFF2-40B4-BE49-F238E27FC236}">
                  <a16:creationId xmlns:a16="http://schemas.microsoft.com/office/drawing/2014/main" id="{49B43ADE-E38D-1A82-12BE-89F4390AC0C8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9" name="Rechteck 598">
              <a:extLst>
                <a:ext uri="{FF2B5EF4-FFF2-40B4-BE49-F238E27FC236}">
                  <a16:creationId xmlns:a16="http://schemas.microsoft.com/office/drawing/2014/main" id="{FDA4D91A-85B5-768D-83E9-69E25D31D089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0" name="Rechteck 599">
              <a:extLst>
                <a:ext uri="{FF2B5EF4-FFF2-40B4-BE49-F238E27FC236}">
                  <a16:creationId xmlns:a16="http://schemas.microsoft.com/office/drawing/2014/main" id="{C51C72A0-E7C6-F671-ADD4-20583627CACD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1" name="Rechteck 600">
              <a:extLst>
                <a:ext uri="{FF2B5EF4-FFF2-40B4-BE49-F238E27FC236}">
                  <a16:creationId xmlns:a16="http://schemas.microsoft.com/office/drawing/2014/main" id="{D594714D-CBD2-8445-864E-C471FED3754D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2" name="Rechteck 601">
              <a:extLst>
                <a:ext uri="{FF2B5EF4-FFF2-40B4-BE49-F238E27FC236}">
                  <a16:creationId xmlns:a16="http://schemas.microsoft.com/office/drawing/2014/main" id="{FE1E5866-0B8B-CCEF-E438-95F4D82041B9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3" name="Rechteck 602">
              <a:extLst>
                <a:ext uri="{FF2B5EF4-FFF2-40B4-BE49-F238E27FC236}">
                  <a16:creationId xmlns:a16="http://schemas.microsoft.com/office/drawing/2014/main" id="{B0EAA043-C18A-CDE1-452F-D0C972DB1A0C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4" name="Rechteck 603">
              <a:extLst>
                <a:ext uri="{FF2B5EF4-FFF2-40B4-BE49-F238E27FC236}">
                  <a16:creationId xmlns:a16="http://schemas.microsoft.com/office/drawing/2014/main" id="{9F2D0CAB-8113-87AB-064D-F0EC730E7FE2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5" name="Rechteck 604">
              <a:extLst>
                <a:ext uri="{FF2B5EF4-FFF2-40B4-BE49-F238E27FC236}">
                  <a16:creationId xmlns:a16="http://schemas.microsoft.com/office/drawing/2014/main" id="{A2A4C44E-4705-9AD4-CCFE-204DDBF02E31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6" name="Rechteck 605">
              <a:extLst>
                <a:ext uri="{FF2B5EF4-FFF2-40B4-BE49-F238E27FC236}">
                  <a16:creationId xmlns:a16="http://schemas.microsoft.com/office/drawing/2014/main" id="{120D8D76-E9F6-0A24-4672-1910B27AEB4E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7" name="Rechteck 606">
              <a:extLst>
                <a:ext uri="{FF2B5EF4-FFF2-40B4-BE49-F238E27FC236}">
                  <a16:creationId xmlns:a16="http://schemas.microsoft.com/office/drawing/2014/main" id="{9B634680-4D80-BB6F-77C0-5EA43C867861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8" name="Rechteck 607">
              <a:extLst>
                <a:ext uri="{FF2B5EF4-FFF2-40B4-BE49-F238E27FC236}">
                  <a16:creationId xmlns:a16="http://schemas.microsoft.com/office/drawing/2014/main" id="{6DBF59CD-1CA4-549C-237A-9BAECC14CC38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9" name="Rechteck 608">
              <a:extLst>
                <a:ext uri="{FF2B5EF4-FFF2-40B4-BE49-F238E27FC236}">
                  <a16:creationId xmlns:a16="http://schemas.microsoft.com/office/drawing/2014/main" id="{9F89218A-3CA1-DA30-B211-673CF4321E8E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0" name="Rechteck 609">
              <a:extLst>
                <a:ext uri="{FF2B5EF4-FFF2-40B4-BE49-F238E27FC236}">
                  <a16:creationId xmlns:a16="http://schemas.microsoft.com/office/drawing/2014/main" id="{8C0BA302-1D18-EB93-4CA2-A5B282B7E15F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1" name="Rechteck 610">
              <a:extLst>
                <a:ext uri="{FF2B5EF4-FFF2-40B4-BE49-F238E27FC236}">
                  <a16:creationId xmlns:a16="http://schemas.microsoft.com/office/drawing/2014/main" id="{AA6CEE05-CA28-745F-9132-3E15213BA549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2" name="Rechteck 611">
              <a:extLst>
                <a:ext uri="{FF2B5EF4-FFF2-40B4-BE49-F238E27FC236}">
                  <a16:creationId xmlns:a16="http://schemas.microsoft.com/office/drawing/2014/main" id="{98F987FD-BCCA-CD84-B3D4-D7D42878F94A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3" name="Rechteck 612">
              <a:extLst>
                <a:ext uri="{FF2B5EF4-FFF2-40B4-BE49-F238E27FC236}">
                  <a16:creationId xmlns:a16="http://schemas.microsoft.com/office/drawing/2014/main" id="{17C2A655-22F8-C602-AB73-3B437C9DE8DE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4" name="Rechteck 613">
              <a:extLst>
                <a:ext uri="{FF2B5EF4-FFF2-40B4-BE49-F238E27FC236}">
                  <a16:creationId xmlns:a16="http://schemas.microsoft.com/office/drawing/2014/main" id="{45CCB308-2185-116A-E8AC-D61A37F75854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5" name="Rechteck 614">
              <a:extLst>
                <a:ext uri="{FF2B5EF4-FFF2-40B4-BE49-F238E27FC236}">
                  <a16:creationId xmlns:a16="http://schemas.microsoft.com/office/drawing/2014/main" id="{3F40CA7A-EB9B-522C-8F1A-7898A5EABD1D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6" name="Rechteck 615">
              <a:extLst>
                <a:ext uri="{FF2B5EF4-FFF2-40B4-BE49-F238E27FC236}">
                  <a16:creationId xmlns:a16="http://schemas.microsoft.com/office/drawing/2014/main" id="{5DB2683B-8073-4205-532C-08E03CE984D1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7" name="Rechteck 616">
              <a:extLst>
                <a:ext uri="{FF2B5EF4-FFF2-40B4-BE49-F238E27FC236}">
                  <a16:creationId xmlns:a16="http://schemas.microsoft.com/office/drawing/2014/main" id="{918D4441-54C6-CA25-A174-C6177AA62B6F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8" name="Rechteck 617">
              <a:extLst>
                <a:ext uri="{FF2B5EF4-FFF2-40B4-BE49-F238E27FC236}">
                  <a16:creationId xmlns:a16="http://schemas.microsoft.com/office/drawing/2014/main" id="{DDFED611-9775-3080-8FFD-DC69B78F0459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9" name="Rechteck 618">
              <a:extLst>
                <a:ext uri="{FF2B5EF4-FFF2-40B4-BE49-F238E27FC236}">
                  <a16:creationId xmlns:a16="http://schemas.microsoft.com/office/drawing/2014/main" id="{0908D111-789C-63C0-257D-60B1F8A5C57B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0" name="Rechteck 619">
              <a:extLst>
                <a:ext uri="{FF2B5EF4-FFF2-40B4-BE49-F238E27FC236}">
                  <a16:creationId xmlns:a16="http://schemas.microsoft.com/office/drawing/2014/main" id="{7152C89C-0F92-3A7F-CE15-1474471975CF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1" name="Rechteck 620">
              <a:extLst>
                <a:ext uri="{FF2B5EF4-FFF2-40B4-BE49-F238E27FC236}">
                  <a16:creationId xmlns:a16="http://schemas.microsoft.com/office/drawing/2014/main" id="{DB43277B-738A-8197-7C90-606747FDBB8A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2" name="Rechteck 621">
              <a:extLst>
                <a:ext uri="{FF2B5EF4-FFF2-40B4-BE49-F238E27FC236}">
                  <a16:creationId xmlns:a16="http://schemas.microsoft.com/office/drawing/2014/main" id="{C76BB76A-BC3D-AAD3-3842-2D7CC623B467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3" name="Rechteck 622">
              <a:extLst>
                <a:ext uri="{FF2B5EF4-FFF2-40B4-BE49-F238E27FC236}">
                  <a16:creationId xmlns:a16="http://schemas.microsoft.com/office/drawing/2014/main" id="{49AE8ECD-15A2-7FB5-CE14-B552C25C8EF3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4" name="Rechteck 623">
              <a:extLst>
                <a:ext uri="{FF2B5EF4-FFF2-40B4-BE49-F238E27FC236}">
                  <a16:creationId xmlns:a16="http://schemas.microsoft.com/office/drawing/2014/main" id="{C1B67F4A-0021-D6CB-2E0E-BB23D1E97BB5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5" name="Rechteck 624">
              <a:extLst>
                <a:ext uri="{FF2B5EF4-FFF2-40B4-BE49-F238E27FC236}">
                  <a16:creationId xmlns:a16="http://schemas.microsoft.com/office/drawing/2014/main" id="{382997CB-3C19-6837-049B-AD98366D51B6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6" name="Rechteck 625">
              <a:extLst>
                <a:ext uri="{FF2B5EF4-FFF2-40B4-BE49-F238E27FC236}">
                  <a16:creationId xmlns:a16="http://schemas.microsoft.com/office/drawing/2014/main" id="{41CF154A-595D-EFBC-EAEF-8EE322A7E0B1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7" name="Rechteck 626">
              <a:extLst>
                <a:ext uri="{FF2B5EF4-FFF2-40B4-BE49-F238E27FC236}">
                  <a16:creationId xmlns:a16="http://schemas.microsoft.com/office/drawing/2014/main" id="{EFEE3DBA-0F94-F3A8-9A71-B7C5D4881738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8" name="Rechteck 627">
              <a:extLst>
                <a:ext uri="{FF2B5EF4-FFF2-40B4-BE49-F238E27FC236}">
                  <a16:creationId xmlns:a16="http://schemas.microsoft.com/office/drawing/2014/main" id="{C2B0DDFF-F2D0-504B-5E16-19E449416407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9" name="Rechteck 628">
              <a:extLst>
                <a:ext uri="{FF2B5EF4-FFF2-40B4-BE49-F238E27FC236}">
                  <a16:creationId xmlns:a16="http://schemas.microsoft.com/office/drawing/2014/main" id="{5F87EDA2-F363-D564-CDFE-AF5697BF9C33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0" name="Rechteck 629">
              <a:extLst>
                <a:ext uri="{FF2B5EF4-FFF2-40B4-BE49-F238E27FC236}">
                  <a16:creationId xmlns:a16="http://schemas.microsoft.com/office/drawing/2014/main" id="{6107EFEA-8F80-EE2E-0BAC-5F69612808C2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1" name="Rechteck 630">
              <a:extLst>
                <a:ext uri="{FF2B5EF4-FFF2-40B4-BE49-F238E27FC236}">
                  <a16:creationId xmlns:a16="http://schemas.microsoft.com/office/drawing/2014/main" id="{2B045BDB-4CDA-AD76-D784-609A0C703119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2" name="Rechteck 631">
              <a:extLst>
                <a:ext uri="{FF2B5EF4-FFF2-40B4-BE49-F238E27FC236}">
                  <a16:creationId xmlns:a16="http://schemas.microsoft.com/office/drawing/2014/main" id="{A47B215E-2258-EBC6-5263-80911C99E84F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3" name="Rechteck 632">
              <a:extLst>
                <a:ext uri="{FF2B5EF4-FFF2-40B4-BE49-F238E27FC236}">
                  <a16:creationId xmlns:a16="http://schemas.microsoft.com/office/drawing/2014/main" id="{1AC59DDE-3385-55A6-A1DF-570D199762C1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4" name="Rechteck 633">
              <a:extLst>
                <a:ext uri="{FF2B5EF4-FFF2-40B4-BE49-F238E27FC236}">
                  <a16:creationId xmlns:a16="http://schemas.microsoft.com/office/drawing/2014/main" id="{3B43BCF3-764A-1D68-46F9-DA79642E1B8C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5" name="Rechteck 634">
              <a:extLst>
                <a:ext uri="{FF2B5EF4-FFF2-40B4-BE49-F238E27FC236}">
                  <a16:creationId xmlns:a16="http://schemas.microsoft.com/office/drawing/2014/main" id="{CC9F062D-A141-8117-F030-D66516AEE54A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6" name="Rechteck 635">
              <a:extLst>
                <a:ext uri="{FF2B5EF4-FFF2-40B4-BE49-F238E27FC236}">
                  <a16:creationId xmlns:a16="http://schemas.microsoft.com/office/drawing/2014/main" id="{75ED8E12-611E-C820-8F4D-0CFFB131EC47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7" name="Rechteck 636">
              <a:extLst>
                <a:ext uri="{FF2B5EF4-FFF2-40B4-BE49-F238E27FC236}">
                  <a16:creationId xmlns:a16="http://schemas.microsoft.com/office/drawing/2014/main" id="{A42E6CB2-66A9-FFAB-33B0-878983D5E4D0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8" name="Rechteck 637">
              <a:extLst>
                <a:ext uri="{FF2B5EF4-FFF2-40B4-BE49-F238E27FC236}">
                  <a16:creationId xmlns:a16="http://schemas.microsoft.com/office/drawing/2014/main" id="{40C0733E-3126-A738-9CF3-C522DB20B3AC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9" name="Rechteck 638">
              <a:extLst>
                <a:ext uri="{FF2B5EF4-FFF2-40B4-BE49-F238E27FC236}">
                  <a16:creationId xmlns:a16="http://schemas.microsoft.com/office/drawing/2014/main" id="{F9A44022-FCB2-DE9D-A07A-218094F318FC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40" name="Rechteck 639">
              <a:extLst>
                <a:ext uri="{FF2B5EF4-FFF2-40B4-BE49-F238E27FC236}">
                  <a16:creationId xmlns:a16="http://schemas.microsoft.com/office/drawing/2014/main" id="{03A9FA17-C2C4-FB38-D205-E5FFBFB3B6F1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41" name="Rechteck 640">
              <a:extLst>
                <a:ext uri="{FF2B5EF4-FFF2-40B4-BE49-F238E27FC236}">
                  <a16:creationId xmlns:a16="http://schemas.microsoft.com/office/drawing/2014/main" id="{373E8F35-CCC5-6793-C4E6-C0C6EAFC3779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42" name="Rechteck 641">
              <a:extLst>
                <a:ext uri="{FF2B5EF4-FFF2-40B4-BE49-F238E27FC236}">
                  <a16:creationId xmlns:a16="http://schemas.microsoft.com/office/drawing/2014/main" id="{627F2910-98DB-8B72-F592-35DF43361250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43" name="Rechteck 642">
              <a:extLst>
                <a:ext uri="{FF2B5EF4-FFF2-40B4-BE49-F238E27FC236}">
                  <a16:creationId xmlns:a16="http://schemas.microsoft.com/office/drawing/2014/main" id="{98FE0211-7EB1-551F-6D30-988ABEC44231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44" name="Rechteck 643">
              <a:extLst>
                <a:ext uri="{FF2B5EF4-FFF2-40B4-BE49-F238E27FC236}">
                  <a16:creationId xmlns:a16="http://schemas.microsoft.com/office/drawing/2014/main" id="{92141ABC-3730-70A2-10DB-DD581BCBD282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45" name="Rechteck 644">
              <a:extLst>
                <a:ext uri="{FF2B5EF4-FFF2-40B4-BE49-F238E27FC236}">
                  <a16:creationId xmlns:a16="http://schemas.microsoft.com/office/drawing/2014/main" id="{625219CA-7F8C-8653-9219-C2FFC5F4C744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46" name="Rechteck 645">
              <a:extLst>
                <a:ext uri="{FF2B5EF4-FFF2-40B4-BE49-F238E27FC236}">
                  <a16:creationId xmlns:a16="http://schemas.microsoft.com/office/drawing/2014/main" id="{DEC6B093-1576-5605-B55C-D53369356489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47" name="Rechteck 646">
              <a:extLst>
                <a:ext uri="{FF2B5EF4-FFF2-40B4-BE49-F238E27FC236}">
                  <a16:creationId xmlns:a16="http://schemas.microsoft.com/office/drawing/2014/main" id="{660E1DE0-2D0F-C795-0DB3-DEBF0F3CC1A4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48" name="Rechteck 647">
              <a:extLst>
                <a:ext uri="{FF2B5EF4-FFF2-40B4-BE49-F238E27FC236}">
                  <a16:creationId xmlns:a16="http://schemas.microsoft.com/office/drawing/2014/main" id="{88820D10-6B30-6BB5-D990-E6A7A22E7424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49" name="Rechteck 648">
              <a:extLst>
                <a:ext uri="{FF2B5EF4-FFF2-40B4-BE49-F238E27FC236}">
                  <a16:creationId xmlns:a16="http://schemas.microsoft.com/office/drawing/2014/main" id="{F17B3349-A52C-AC95-7B6E-7EB5E0CB359D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50" name="Rechteck 649">
              <a:extLst>
                <a:ext uri="{FF2B5EF4-FFF2-40B4-BE49-F238E27FC236}">
                  <a16:creationId xmlns:a16="http://schemas.microsoft.com/office/drawing/2014/main" id="{2C6D6567-E0B9-D5F7-72F3-21A5B9366026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51" name="Rechteck 650">
              <a:extLst>
                <a:ext uri="{FF2B5EF4-FFF2-40B4-BE49-F238E27FC236}">
                  <a16:creationId xmlns:a16="http://schemas.microsoft.com/office/drawing/2014/main" id="{080201E2-F34B-F98B-D900-469F6F3A352B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52" name="Rechteck 651">
              <a:extLst>
                <a:ext uri="{FF2B5EF4-FFF2-40B4-BE49-F238E27FC236}">
                  <a16:creationId xmlns:a16="http://schemas.microsoft.com/office/drawing/2014/main" id="{D73ADE2E-17E0-A07E-57BB-7E9AAB627F98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53" name="Rechteck 652">
              <a:extLst>
                <a:ext uri="{FF2B5EF4-FFF2-40B4-BE49-F238E27FC236}">
                  <a16:creationId xmlns:a16="http://schemas.microsoft.com/office/drawing/2014/main" id="{1960204A-F784-6D62-379D-CD15BDAC0181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54" name="Rechteck 653">
              <a:extLst>
                <a:ext uri="{FF2B5EF4-FFF2-40B4-BE49-F238E27FC236}">
                  <a16:creationId xmlns:a16="http://schemas.microsoft.com/office/drawing/2014/main" id="{0C1BAB65-4D95-E254-9492-819D7C55E5D9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55" name="Rechteck 654">
              <a:extLst>
                <a:ext uri="{FF2B5EF4-FFF2-40B4-BE49-F238E27FC236}">
                  <a16:creationId xmlns:a16="http://schemas.microsoft.com/office/drawing/2014/main" id="{66DFD9FC-2725-90F3-33B7-0CB345125819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56" name="Rechteck 655">
              <a:extLst>
                <a:ext uri="{FF2B5EF4-FFF2-40B4-BE49-F238E27FC236}">
                  <a16:creationId xmlns:a16="http://schemas.microsoft.com/office/drawing/2014/main" id="{5558F183-AFB2-09BE-4686-D33C0F8B1EDF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57" name="Rechteck 656">
              <a:extLst>
                <a:ext uri="{FF2B5EF4-FFF2-40B4-BE49-F238E27FC236}">
                  <a16:creationId xmlns:a16="http://schemas.microsoft.com/office/drawing/2014/main" id="{6F60649D-90DE-3AA8-9352-37D3B6F2593D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58" name="Rechteck 657">
              <a:extLst>
                <a:ext uri="{FF2B5EF4-FFF2-40B4-BE49-F238E27FC236}">
                  <a16:creationId xmlns:a16="http://schemas.microsoft.com/office/drawing/2014/main" id="{676C9407-054F-0EC6-F64F-4BEE332DBEB0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59" name="Rechteck 658">
              <a:extLst>
                <a:ext uri="{FF2B5EF4-FFF2-40B4-BE49-F238E27FC236}">
                  <a16:creationId xmlns:a16="http://schemas.microsoft.com/office/drawing/2014/main" id="{0FFFC657-EE5F-FA41-089A-974D7C948A25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60" name="Rechteck 659">
              <a:extLst>
                <a:ext uri="{FF2B5EF4-FFF2-40B4-BE49-F238E27FC236}">
                  <a16:creationId xmlns:a16="http://schemas.microsoft.com/office/drawing/2014/main" id="{5366A9DE-2A9E-ECD4-A65E-A85D0C5C0411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61" name="Rechteck 660">
              <a:extLst>
                <a:ext uri="{FF2B5EF4-FFF2-40B4-BE49-F238E27FC236}">
                  <a16:creationId xmlns:a16="http://schemas.microsoft.com/office/drawing/2014/main" id="{369158DE-2A6F-C8F3-6F4F-4CBEAF28F3A9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62" name="Rechteck 661">
              <a:extLst>
                <a:ext uri="{FF2B5EF4-FFF2-40B4-BE49-F238E27FC236}">
                  <a16:creationId xmlns:a16="http://schemas.microsoft.com/office/drawing/2014/main" id="{206FB08D-D2E6-7D70-76E5-3A13805E1880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63" name="Rechteck 662">
              <a:extLst>
                <a:ext uri="{FF2B5EF4-FFF2-40B4-BE49-F238E27FC236}">
                  <a16:creationId xmlns:a16="http://schemas.microsoft.com/office/drawing/2014/main" id="{E677BD2B-3A20-B582-D865-C36E1A6A4C98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64" name="Rechteck 663">
              <a:extLst>
                <a:ext uri="{FF2B5EF4-FFF2-40B4-BE49-F238E27FC236}">
                  <a16:creationId xmlns:a16="http://schemas.microsoft.com/office/drawing/2014/main" id="{F0F116B9-CE3E-150B-A0C4-35996FBB9C16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65" name="Rechteck 664">
              <a:extLst>
                <a:ext uri="{FF2B5EF4-FFF2-40B4-BE49-F238E27FC236}">
                  <a16:creationId xmlns:a16="http://schemas.microsoft.com/office/drawing/2014/main" id="{D9B4DC3C-842B-27D4-2F30-313450A3CE0B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66" name="Rechteck 665">
              <a:extLst>
                <a:ext uri="{FF2B5EF4-FFF2-40B4-BE49-F238E27FC236}">
                  <a16:creationId xmlns:a16="http://schemas.microsoft.com/office/drawing/2014/main" id="{188833DD-CBB7-A323-6D0E-CD8F4B855BDF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67" name="Rechteck 666">
              <a:extLst>
                <a:ext uri="{FF2B5EF4-FFF2-40B4-BE49-F238E27FC236}">
                  <a16:creationId xmlns:a16="http://schemas.microsoft.com/office/drawing/2014/main" id="{BA052014-FED5-8740-8BC1-5B27317E8252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68" name="Rechteck 667">
              <a:extLst>
                <a:ext uri="{FF2B5EF4-FFF2-40B4-BE49-F238E27FC236}">
                  <a16:creationId xmlns:a16="http://schemas.microsoft.com/office/drawing/2014/main" id="{8BA71664-8C7E-1D76-2684-EA10F2E48A00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69" name="Rechteck 668">
              <a:extLst>
                <a:ext uri="{FF2B5EF4-FFF2-40B4-BE49-F238E27FC236}">
                  <a16:creationId xmlns:a16="http://schemas.microsoft.com/office/drawing/2014/main" id="{FCC61526-67DF-6D8F-2F09-374598D4AB9C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70" name="Rechteck 669">
              <a:extLst>
                <a:ext uri="{FF2B5EF4-FFF2-40B4-BE49-F238E27FC236}">
                  <a16:creationId xmlns:a16="http://schemas.microsoft.com/office/drawing/2014/main" id="{B82291F4-68B8-55E5-4E65-58C8D3A8EEA9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71" name="Rechteck 670">
              <a:extLst>
                <a:ext uri="{FF2B5EF4-FFF2-40B4-BE49-F238E27FC236}">
                  <a16:creationId xmlns:a16="http://schemas.microsoft.com/office/drawing/2014/main" id="{89FE9EEB-1A36-6558-C214-DD4C7C0F3D75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72" name="Rechteck 671">
              <a:extLst>
                <a:ext uri="{FF2B5EF4-FFF2-40B4-BE49-F238E27FC236}">
                  <a16:creationId xmlns:a16="http://schemas.microsoft.com/office/drawing/2014/main" id="{D5CFA71E-7C2A-DA7A-82B1-FF2F2DB14D32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73" name="Rechteck 672">
              <a:extLst>
                <a:ext uri="{FF2B5EF4-FFF2-40B4-BE49-F238E27FC236}">
                  <a16:creationId xmlns:a16="http://schemas.microsoft.com/office/drawing/2014/main" id="{5B9916E5-BAAE-DCAA-9FAF-72C1D3A6B333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74" name="Rechteck 673">
              <a:extLst>
                <a:ext uri="{FF2B5EF4-FFF2-40B4-BE49-F238E27FC236}">
                  <a16:creationId xmlns:a16="http://schemas.microsoft.com/office/drawing/2014/main" id="{6CE79813-DF7A-2E82-037D-D9FA433F0D9D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75" name="Rechteck 674">
              <a:extLst>
                <a:ext uri="{FF2B5EF4-FFF2-40B4-BE49-F238E27FC236}">
                  <a16:creationId xmlns:a16="http://schemas.microsoft.com/office/drawing/2014/main" id="{F2DDE1A0-26AE-D1C6-0E5D-68BE1733A845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76" name="Rechteck 675">
              <a:extLst>
                <a:ext uri="{FF2B5EF4-FFF2-40B4-BE49-F238E27FC236}">
                  <a16:creationId xmlns:a16="http://schemas.microsoft.com/office/drawing/2014/main" id="{7EC8423A-25D0-F86D-4A71-A978EC693569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77" name="Rechteck 676">
              <a:extLst>
                <a:ext uri="{FF2B5EF4-FFF2-40B4-BE49-F238E27FC236}">
                  <a16:creationId xmlns:a16="http://schemas.microsoft.com/office/drawing/2014/main" id="{2C07BC3F-B491-2320-924F-27EB4D8819AF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78" name="Rechteck 677">
              <a:extLst>
                <a:ext uri="{FF2B5EF4-FFF2-40B4-BE49-F238E27FC236}">
                  <a16:creationId xmlns:a16="http://schemas.microsoft.com/office/drawing/2014/main" id="{1128F0B5-DCCC-EBCC-920C-740F61623F11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79" name="Rechteck 678">
              <a:extLst>
                <a:ext uri="{FF2B5EF4-FFF2-40B4-BE49-F238E27FC236}">
                  <a16:creationId xmlns:a16="http://schemas.microsoft.com/office/drawing/2014/main" id="{7A91376A-5FF9-3B9D-472F-7741642A28D2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80" name="Rechteck 679">
              <a:extLst>
                <a:ext uri="{FF2B5EF4-FFF2-40B4-BE49-F238E27FC236}">
                  <a16:creationId xmlns:a16="http://schemas.microsoft.com/office/drawing/2014/main" id="{ED8FD1F3-3051-AF22-7847-1E974FF944F0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81" name="Rechteck 680">
              <a:extLst>
                <a:ext uri="{FF2B5EF4-FFF2-40B4-BE49-F238E27FC236}">
                  <a16:creationId xmlns:a16="http://schemas.microsoft.com/office/drawing/2014/main" id="{60B1F531-9D2E-8232-4A48-A2DDF6B7F54D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82" name="Rechteck 681">
              <a:extLst>
                <a:ext uri="{FF2B5EF4-FFF2-40B4-BE49-F238E27FC236}">
                  <a16:creationId xmlns:a16="http://schemas.microsoft.com/office/drawing/2014/main" id="{4A54998E-71A6-FDAD-7FD8-7CA62E22BB88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83" name="Rechteck 682">
              <a:extLst>
                <a:ext uri="{FF2B5EF4-FFF2-40B4-BE49-F238E27FC236}">
                  <a16:creationId xmlns:a16="http://schemas.microsoft.com/office/drawing/2014/main" id="{A1ADB280-7BAB-1AD0-F7E8-E78C2B5D5544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84" name="Rechteck 683">
              <a:extLst>
                <a:ext uri="{FF2B5EF4-FFF2-40B4-BE49-F238E27FC236}">
                  <a16:creationId xmlns:a16="http://schemas.microsoft.com/office/drawing/2014/main" id="{9A793240-065F-CA20-CA67-49F26789537E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85" name="Rechteck 684">
              <a:extLst>
                <a:ext uri="{FF2B5EF4-FFF2-40B4-BE49-F238E27FC236}">
                  <a16:creationId xmlns:a16="http://schemas.microsoft.com/office/drawing/2014/main" id="{0E9BCC58-BADD-58D9-1E81-F793B072F2F0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86" name="Rechteck 685">
              <a:extLst>
                <a:ext uri="{FF2B5EF4-FFF2-40B4-BE49-F238E27FC236}">
                  <a16:creationId xmlns:a16="http://schemas.microsoft.com/office/drawing/2014/main" id="{9CDCF501-8DDE-1E6F-E2EF-630A16528230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87" name="Rechteck 686">
              <a:extLst>
                <a:ext uri="{FF2B5EF4-FFF2-40B4-BE49-F238E27FC236}">
                  <a16:creationId xmlns:a16="http://schemas.microsoft.com/office/drawing/2014/main" id="{D8C3B820-52E9-4999-EDA5-12B70F1DBFE7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88" name="Rechteck 687">
              <a:extLst>
                <a:ext uri="{FF2B5EF4-FFF2-40B4-BE49-F238E27FC236}">
                  <a16:creationId xmlns:a16="http://schemas.microsoft.com/office/drawing/2014/main" id="{33BB7E94-7D2A-1E28-905A-8838D6DD31B3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89" name="Rechteck 688">
              <a:extLst>
                <a:ext uri="{FF2B5EF4-FFF2-40B4-BE49-F238E27FC236}">
                  <a16:creationId xmlns:a16="http://schemas.microsoft.com/office/drawing/2014/main" id="{B05CFB87-C15D-07DE-0C63-6A2B489B047C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90" name="Rechteck 689">
              <a:extLst>
                <a:ext uri="{FF2B5EF4-FFF2-40B4-BE49-F238E27FC236}">
                  <a16:creationId xmlns:a16="http://schemas.microsoft.com/office/drawing/2014/main" id="{E4F8E2DC-739E-9CA4-1DBF-B27D14A4897C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91" name="Rechteck 690">
              <a:extLst>
                <a:ext uri="{FF2B5EF4-FFF2-40B4-BE49-F238E27FC236}">
                  <a16:creationId xmlns:a16="http://schemas.microsoft.com/office/drawing/2014/main" id="{AB9C804F-01E0-1D8C-5300-8FCA35887A09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92" name="Rechteck 691">
              <a:extLst>
                <a:ext uri="{FF2B5EF4-FFF2-40B4-BE49-F238E27FC236}">
                  <a16:creationId xmlns:a16="http://schemas.microsoft.com/office/drawing/2014/main" id="{33599C89-21CC-C896-894D-B078E90AD55D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93" name="Rechteck 692">
              <a:extLst>
                <a:ext uri="{FF2B5EF4-FFF2-40B4-BE49-F238E27FC236}">
                  <a16:creationId xmlns:a16="http://schemas.microsoft.com/office/drawing/2014/main" id="{29CAFF9A-0BD6-10FB-8F23-8C315C038D50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94" name="Rechteck 693">
              <a:extLst>
                <a:ext uri="{FF2B5EF4-FFF2-40B4-BE49-F238E27FC236}">
                  <a16:creationId xmlns:a16="http://schemas.microsoft.com/office/drawing/2014/main" id="{314D1EBF-0F1A-29A0-A4F6-D70E1113C36A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95" name="Rechteck 694">
              <a:extLst>
                <a:ext uri="{FF2B5EF4-FFF2-40B4-BE49-F238E27FC236}">
                  <a16:creationId xmlns:a16="http://schemas.microsoft.com/office/drawing/2014/main" id="{D3A7D264-7674-062D-3A7D-EB17444B6877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96" name="Rechteck 695">
              <a:extLst>
                <a:ext uri="{FF2B5EF4-FFF2-40B4-BE49-F238E27FC236}">
                  <a16:creationId xmlns:a16="http://schemas.microsoft.com/office/drawing/2014/main" id="{FB94C376-4DD2-20EE-8A39-37CCF0B12915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97" name="Rechteck 696">
              <a:extLst>
                <a:ext uri="{FF2B5EF4-FFF2-40B4-BE49-F238E27FC236}">
                  <a16:creationId xmlns:a16="http://schemas.microsoft.com/office/drawing/2014/main" id="{BDFA7319-8BDA-1022-419D-8524A3FDD1DB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98" name="Rechteck 697">
              <a:extLst>
                <a:ext uri="{FF2B5EF4-FFF2-40B4-BE49-F238E27FC236}">
                  <a16:creationId xmlns:a16="http://schemas.microsoft.com/office/drawing/2014/main" id="{CD99C04E-16BE-6E42-506F-14D97649FA89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99" name="Rechteck 698">
              <a:extLst>
                <a:ext uri="{FF2B5EF4-FFF2-40B4-BE49-F238E27FC236}">
                  <a16:creationId xmlns:a16="http://schemas.microsoft.com/office/drawing/2014/main" id="{9504EB73-CD68-6E66-5B79-9563ACD007E6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pic>
        <p:nvPicPr>
          <p:cNvPr id="700" name="Logo">
            <a:extLst>
              <a:ext uri="{FF2B5EF4-FFF2-40B4-BE49-F238E27FC236}">
                <a16:creationId xmlns:a16="http://schemas.microsoft.com/office/drawing/2014/main" id="{55FA0780-7BCA-4760-B25D-53DDAB66A7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  <p:grpSp>
        <p:nvGrpSpPr>
          <p:cNvPr id="701" name="Gruppieren 700">
            <a:extLst>
              <a:ext uri="{FF2B5EF4-FFF2-40B4-BE49-F238E27FC236}">
                <a16:creationId xmlns:a16="http://schemas.microsoft.com/office/drawing/2014/main" id="{2A9A8989-D8B0-ECA4-3F36-856CA1E51C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1" y="2082829"/>
            <a:ext cx="2448000" cy="0"/>
            <a:chOff x="983432" y="2082829"/>
            <a:chExt cx="2448000" cy="0"/>
          </a:xfrm>
        </p:grpSpPr>
        <p:cxnSp>
          <p:nvCxnSpPr>
            <p:cNvPr id="702" name="Line">
              <a:extLst>
                <a:ext uri="{FF2B5EF4-FFF2-40B4-BE49-F238E27FC236}">
                  <a16:creationId xmlns:a16="http://schemas.microsoft.com/office/drawing/2014/main" id="{392A85EC-665D-4BE3-342D-7FDA894F769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3" name="Line">
              <a:extLst>
                <a:ext uri="{FF2B5EF4-FFF2-40B4-BE49-F238E27FC236}">
                  <a16:creationId xmlns:a16="http://schemas.microsoft.com/office/drawing/2014/main" id="{2FD36843-39C0-53CB-D4FC-1CCFDD70264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04" name="Shape">
            <a:extLst>
              <a:ext uri="{FF2B5EF4-FFF2-40B4-BE49-F238E27FC236}">
                <a16:creationId xmlns:a16="http://schemas.microsoft.com/office/drawing/2014/main" id="{B6335478-96CF-8613-3CC7-51033863F9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0848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705" name="Shape">
            <a:extLst>
              <a:ext uri="{FF2B5EF4-FFF2-40B4-BE49-F238E27FC236}">
                <a16:creationId xmlns:a16="http://schemas.microsoft.com/office/drawing/2014/main" id="{400B66AA-4D19-8619-6DC9-CB17279852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9" y="2061400"/>
            <a:ext cx="5760640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656384" y="2205159"/>
            <a:ext cx="4896000" cy="1368000"/>
          </a:xfrm>
          <a:prstGeom prst="rect">
            <a:avLst/>
          </a:prstGeom>
        </p:spPr>
        <p:txBody>
          <a:bodyPr vert="horz" tIns="54000" anchor="t">
            <a:noAutofit/>
          </a:bodyPr>
          <a:lstStyle>
            <a:lvl1pPr algn="l" rtl="0">
              <a:lnSpc>
                <a:spcPct val="90000"/>
              </a:lnSpc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Insert your long title of presentation here in maximal three lin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56384" y="3789160"/>
            <a:ext cx="4320000" cy="1080000"/>
          </a:xfrm>
          <a:prstGeom prst="rect">
            <a:avLst/>
          </a:prstGeom>
        </p:spPr>
        <p:txBody>
          <a:bodyPr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31" name="Author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400" y="2348992"/>
            <a:ext cx="2520280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US"/>
              <a:t>First name Last name</a:t>
            </a:r>
            <a:endParaRPr lang="en-US" dirty="0"/>
          </a:p>
        </p:txBody>
      </p:sp>
      <p:sp>
        <p:nvSpPr>
          <p:cNvPr id="34" name="Department, Date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2564992"/>
            <a:ext cx="2520280" cy="792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US"/>
              <a:t>Department</a:t>
            </a:r>
            <a:br>
              <a:rPr lang="en-US"/>
            </a:br>
            <a:r>
              <a:rPr lang="en-US"/>
              <a:t>DD/MM/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79373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| Magent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87BC6FE-9E10-8BF9-4603-A98D09AE9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6838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7BC6FE-9E10-8BF9-4603-A98D09AE9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60DB273-1443-C87E-6ECB-C46978ECDF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5CC16F00-6528-8EAA-C139-CA052A3E93FA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8D83927C-5315-B180-40F1-83E826D96BF6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10F2E264-B922-54F3-A813-553712FE03D4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95C38408-DC64-7220-A739-6654AEBD5891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21A15D5A-67C0-EAA5-F74F-2AB46222D2B9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C19F6166-606C-A92C-38FE-B1CC09620704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7C52F65A-A572-9991-B81F-0DE90B117D19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4B6A37A7-A6A3-C0D1-0797-3DF25E32A413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E3289997-CC28-D613-1D4E-9BA33F73FF63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877A7EE5-A9E2-D515-E4D9-25205F5ED3DA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5D592E9E-2394-A24E-5D70-F2EFEE992812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5A2B1A9A-45AA-A1F9-E683-6E495F350E44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8CE452AF-394D-3FD9-9C6A-74A1DF70FB00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171535FD-CB5B-A75E-43D2-3786CFC120A2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2A137DBC-EE41-44B9-C656-2E6DA8A9A101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5C2F2854-C55B-F647-345D-BC7FF8383E1D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6D9F972A-3228-6302-0A17-E091612EDEBF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D6CEE0E8-DB1C-3050-6465-29453BF8B44E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97B4FDEE-9C0F-89AA-BB61-DD875FA6B1EC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98A27B12-5736-E271-A511-FE484DA6828B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2CFE2BEE-BD32-C8E8-F0DF-A2E65AFF62E5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4F12498D-D37B-7F68-0DF6-23A507C2A945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F2018278-B82A-7E9C-1E65-46DD654CAA31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FE1C3555-F4B5-3D09-845F-47FC14120CB5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3115BAA0-9EAE-1F36-E76D-F9B0D1857DF0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426857AD-7C23-0164-1519-357B08E33B1A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D97628DA-3EB7-E5C0-8938-B9B75A12EC78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B7F5E1E3-5F50-D61F-45E7-E3985B815FDD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A8F8BFB0-2534-1CD9-D8DA-F3B022DD0515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0F24951A-F64C-F7D4-A160-121956594FC4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7CC8365C-1058-E2D1-DE1B-84E6734F3CF0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74901AE1-E677-37BF-F22D-1C1553CA43E5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2DCE434A-7D89-54A7-B6AE-DB461E19D222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A0F49A47-AAF2-5273-530F-DB04AD68781D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5FA22F4B-AB4C-42B7-1A19-16E31A333529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A5E12442-87D1-E5F7-DC6D-ACBE1E3C51C1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5AE01D16-432C-8009-D125-54A9546A128D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BCCA83D5-C940-3407-D1F7-E4C7C1822D77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C6E9AB5B-4AB2-E1E1-84DD-467C80321B08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F2CB3800-90DE-6DCD-4F35-9C8FBB43F3B0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B9D34772-E347-6CEF-D41A-BA4B2CFFD849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F289CDC1-4682-1B8D-6506-396D42B9BFE1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500CC7FA-9968-F933-AF2B-F94DFFCAB789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F5BDCC74-B674-C5BA-FBED-1CF0D1DDFA24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B567000B-42BC-3A62-2F79-C969CA67CCC0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21BF3CF3-59E2-9EDC-95A5-C5C0E82AF375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E3444C66-C71E-7121-5245-D3F55480D9C5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BECC3122-7C06-A4C5-4AEE-BCB1123A8EC5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916E950D-544F-954A-25FA-965041078355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3F3689A9-ECC6-BEA9-8C56-3F4AE5641B06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1F261E37-6CFD-B379-FE0F-9DE5E6A32507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9DF4F7D4-46C2-3AAC-84AC-B4A2B8BC07E4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62E4D224-C427-594B-3C41-8ADEB1B79C4B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ABC0A353-7B52-65A7-487B-197F4DDF4D66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4" name="Rechteck 563">
              <a:extLst>
                <a:ext uri="{FF2B5EF4-FFF2-40B4-BE49-F238E27FC236}">
                  <a16:creationId xmlns:a16="http://schemas.microsoft.com/office/drawing/2014/main" id="{0B33098C-74AA-6669-1095-93A0692ECA3A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5" name="Rechteck 564">
              <a:extLst>
                <a:ext uri="{FF2B5EF4-FFF2-40B4-BE49-F238E27FC236}">
                  <a16:creationId xmlns:a16="http://schemas.microsoft.com/office/drawing/2014/main" id="{C1C177BE-A912-7646-295F-BC20B542549A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6" name="Rechteck 565">
              <a:extLst>
                <a:ext uri="{FF2B5EF4-FFF2-40B4-BE49-F238E27FC236}">
                  <a16:creationId xmlns:a16="http://schemas.microsoft.com/office/drawing/2014/main" id="{567A6D81-B4B5-307C-6046-83D82779AF0B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7" name="Rechteck 566">
              <a:extLst>
                <a:ext uri="{FF2B5EF4-FFF2-40B4-BE49-F238E27FC236}">
                  <a16:creationId xmlns:a16="http://schemas.microsoft.com/office/drawing/2014/main" id="{E93460D0-1385-899A-997D-A1D9889E536A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8" name="Rechteck 567">
              <a:extLst>
                <a:ext uri="{FF2B5EF4-FFF2-40B4-BE49-F238E27FC236}">
                  <a16:creationId xmlns:a16="http://schemas.microsoft.com/office/drawing/2014/main" id="{3EB096D2-0882-3AEE-3811-89AA83E466D4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9" name="Rechteck 568">
              <a:extLst>
                <a:ext uri="{FF2B5EF4-FFF2-40B4-BE49-F238E27FC236}">
                  <a16:creationId xmlns:a16="http://schemas.microsoft.com/office/drawing/2014/main" id="{868B00AD-CD99-F226-CE6D-45CC97254F45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0" name="Rechteck 569">
              <a:extLst>
                <a:ext uri="{FF2B5EF4-FFF2-40B4-BE49-F238E27FC236}">
                  <a16:creationId xmlns:a16="http://schemas.microsoft.com/office/drawing/2014/main" id="{7ECF9835-7D04-183F-7C02-66AB0C866546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1" name="Rechteck 570">
              <a:extLst>
                <a:ext uri="{FF2B5EF4-FFF2-40B4-BE49-F238E27FC236}">
                  <a16:creationId xmlns:a16="http://schemas.microsoft.com/office/drawing/2014/main" id="{3A291C9A-F4FA-48F1-0017-781A47BCDBC7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2" name="Rechteck 571">
              <a:extLst>
                <a:ext uri="{FF2B5EF4-FFF2-40B4-BE49-F238E27FC236}">
                  <a16:creationId xmlns:a16="http://schemas.microsoft.com/office/drawing/2014/main" id="{D5CF69DC-5684-3702-EDB9-9A099E84303A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3" name="Rechteck 572">
              <a:extLst>
                <a:ext uri="{FF2B5EF4-FFF2-40B4-BE49-F238E27FC236}">
                  <a16:creationId xmlns:a16="http://schemas.microsoft.com/office/drawing/2014/main" id="{4CF986C5-26C5-90C9-8AC8-04FEAF7422D6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4" name="Rechteck 573">
              <a:extLst>
                <a:ext uri="{FF2B5EF4-FFF2-40B4-BE49-F238E27FC236}">
                  <a16:creationId xmlns:a16="http://schemas.microsoft.com/office/drawing/2014/main" id="{995410C9-2FD3-6D9E-0655-421D77D9106F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5" name="Rechteck 574">
              <a:extLst>
                <a:ext uri="{FF2B5EF4-FFF2-40B4-BE49-F238E27FC236}">
                  <a16:creationId xmlns:a16="http://schemas.microsoft.com/office/drawing/2014/main" id="{E3B63BF4-E386-B4D1-11F0-4460A6DBD313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92B5BB44-599E-1820-0874-FD849B4765C3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77C7F63E-06AC-3561-A846-15FAEF98ED4D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B92B0075-8E06-A854-698C-87CC16850743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AEAD1CCF-6F81-9394-F077-DCA9529FA574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3EC03D2B-2E4F-EAC5-28FE-051A7D33BF1C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718FD3E8-734D-A6DE-6358-2631F6D96F61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D81CD1ED-8A80-E07D-CB56-AE8D986CEDEC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183E1B49-E02B-450A-E82D-67A3FF9A4CAF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CD75869B-E82A-FBA0-2A35-7476E7391696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FDD68E21-8B38-7DC3-5E88-CA0921A1174B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E8A84E0C-5F8B-5968-23B9-59BF78A40D3E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225E36F0-B6DB-54C0-FFC5-339A86823B79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454BA5A7-FEE8-B04B-9023-F444D4F41001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28B9FB3F-ECF4-4B48-72F0-3644C5A15E2F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B2D76E5D-379E-C839-4560-B699025FA0D9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CD8105AC-B8E9-E083-251D-4E238A76F7EF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276EF862-32FC-8D39-8FD3-5575FF58B902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00DA3A0D-C9A5-9353-ACC4-F8A04AC64E4D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D0F78C27-1E77-E665-214A-EA6CA2318112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318E87FC-361A-00FD-660A-F2E6E93FF733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5632040A-1966-9778-1382-96CCB69CF9FE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137BB74D-E27C-67FB-89C7-7FF6D4A8009C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2D49A1B5-5AA1-626F-8BC6-D67227B9F176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848E1D30-EAE0-4A75-18A1-C020AD8AD4B7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3008FE3B-D4CD-0C69-499C-F80EA4B4C02A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5F5FCD09-F6C2-F815-06EC-988A7EF99660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2682A351-FD73-4578-B1FF-845E812FBFEC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DCCB3332-62D6-4AF5-C3B8-5EB6F7C407E4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9F18DB17-1AAA-A664-53E7-F547361B2B58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83F0E65E-135B-381D-F36F-FFEF7FD36C95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DBF80D94-82BF-24FB-7304-8DF9971EC833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69B8BAA7-1026-0A56-1BD8-4F4FA1503512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104853B4-4FFC-F133-A77F-2B86250FAA84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000B022B-67F5-5E88-5777-6AD66044BAEB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759D8017-D47B-F1EB-EA4D-35EAD0139CEC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E432E94E-C6F6-E61C-0C73-2144AD046CB5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E4654125-CF94-EC44-4EB4-98B16344447C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652993AA-BE27-C0B4-BC7C-3AE67E380F36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5DF0347C-8352-E63A-C1C6-41324B334F80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35D7F798-2F80-19B5-0995-8C5339152311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8C5A98D1-6CC2-3D2F-3364-682D0145FA5B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BEC11D28-C77B-B87C-CBBC-38C961A1CCB3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1529F4D0-FCC5-DF53-0214-53F8CF784A72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D0FD3094-3DD9-E0F6-97E9-52EA2464D7B0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9437DE43-D8EE-F886-6007-B01200A1BA85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ECD4BBED-6F46-D8C4-F7AE-B85CE499E05D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07A048A6-A01A-DF1E-8CCB-C75A81EB5D30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B1D4612B-91F9-EC08-1C29-2A0C8386E101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8D69A45C-982D-3A9A-DC89-4F575DAC93EB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B2AD10BC-D3BF-C58E-84E5-C9FC52B8692D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5543ADAB-0429-239E-8432-E4C5DAF49BD1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CC92CF27-C0C9-6538-F135-48160A8C9E9D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9BCF10C7-98B2-784B-9AB8-498EB12716BF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7BE98BE7-A067-1FFC-07CC-A4C2A606157C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297682BB-7694-0E7A-CB88-635590A947A6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270330D3-20D6-9991-526A-2CD0AE18E685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A5AD067D-FF85-6BC4-ABA3-A8F5661D2507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9DE3537C-312C-1479-BF39-22CD8630DA1F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6716AFD5-0E30-4769-DAF8-EFB793B2B9D7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DB4CE5DC-2BA1-B4F0-BFA9-647FC8615F0A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64FF3417-C9A5-17E5-E142-DA5B3BDA63A6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03F37F32-D8A4-3B54-9BE6-EEE43F50269A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A3ADFECB-92F7-08F5-5415-93A621ECDD7D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6" name="Rechteck 575">
              <a:extLst>
                <a:ext uri="{FF2B5EF4-FFF2-40B4-BE49-F238E27FC236}">
                  <a16:creationId xmlns:a16="http://schemas.microsoft.com/office/drawing/2014/main" id="{0493EED7-80C2-EE0A-797A-9D80652767C9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7" name="Rechteck 576">
              <a:extLst>
                <a:ext uri="{FF2B5EF4-FFF2-40B4-BE49-F238E27FC236}">
                  <a16:creationId xmlns:a16="http://schemas.microsoft.com/office/drawing/2014/main" id="{270E6328-6583-3642-10F4-9037F4EB9C26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8" name="Rechteck 577">
              <a:extLst>
                <a:ext uri="{FF2B5EF4-FFF2-40B4-BE49-F238E27FC236}">
                  <a16:creationId xmlns:a16="http://schemas.microsoft.com/office/drawing/2014/main" id="{09E9DD56-C302-2224-7D8E-A79E9DCD4A88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9" name="Rechteck 578">
              <a:extLst>
                <a:ext uri="{FF2B5EF4-FFF2-40B4-BE49-F238E27FC236}">
                  <a16:creationId xmlns:a16="http://schemas.microsoft.com/office/drawing/2014/main" id="{5FC60BBA-84AB-EF8A-EF6D-CA5B3C3C03F0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0" name="Rechteck 579">
              <a:extLst>
                <a:ext uri="{FF2B5EF4-FFF2-40B4-BE49-F238E27FC236}">
                  <a16:creationId xmlns:a16="http://schemas.microsoft.com/office/drawing/2014/main" id="{547276C4-F5E7-D492-A942-B82E0660CAC6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1" name="Rechteck 580">
              <a:extLst>
                <a:ext uri="{FF2B5EF4-FFF2-40B4-BE49-F238E27FC236}">
                  <a16:creationId xmlns:a16="http://schemas.microsoft.com/office/drawing/2014/main" id="{8FF1897C-739B-54FE-5A5C-CE0E884014E4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2" name="Rechteck 581">
              <a:extLst>
                <a:ext uri="{FF2B5EF4-FFF2-40B4-BE49-F238E27FC236}">
                  <a16:creationId xmlns:a16="http://schemas.microsoft.com/office/drawing/2014/main" id="{0748AC45-011A-CC4E-06DC-7CB21A7518D3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3" name="Rechteck 582">
              <a:extLst>
                <a:ext uri="{FF2B5EF4-FFF2-40B4-BE49-F238E27FC236}">
                  <a16:creationId xmlns:a16="http://schemas.microsoft.com/office/drawing/2014/main" id="{9A5E4375-45D2-54EB-7093-2E51B2C0C1E4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4" name="Rechteck 583">
              <a:extLst>
                <a:ext uri="{FF2B5EF4-FFF2-40B4-BE49-F238E27FC236}">
                  <a16:creationId xmlns:a16="http://schemas.microsoft.com/office/drawing/2014/main" id="{AC7F1EC2-76AA-82A3-8C9F-9EAF309BE341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5" name="Rechteck 584">
              <a:extLst>
                <a:ext uri="{FF2B5EF4-FFF2-40B4-BE49-F238E27FC236}">
                  <a16:creationId xmlns:a16="http://schemas.microsoft.com/office/drawing/2014/main" id="{1DB1FABC-4F63-7E4D-DF3C-0E4BE39D8C02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6" name="Rechteck 585">
              <a:extLst>
                <a:ext uri="{FF2B5EF4-FFF2-40B4-BE49-F238E27FC236}">
                  <a16:creationId xmlns:a16="http://schemas.microsoft.com/office/drawing/2014/main" id="{7F1FABDA-AE68-94FB-1D58-D8426BEC6990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7" name="Rechteck 586">
              <a:extLst>
                <a:ext uri="{FF2B5EF4-FFF2-40B4-BE49-F238E27FC236}">
                  <a16:creationId xmlns:a16="http://schemas.microsoft.com/office/drawing/2014/main" id="{961CC3A3-1F36-497D-DB34-5327103C7A6A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8" name="Rechteck 587">
              <a:extLst>
                <a:ext uri="{FF2B5EF4-FFF2-40B4-BE49-F238E27FC236}">
                  <a16:creationId xmlns:a16="http://schemas.microsoft.com/office/drawing/2014/main" id="{FE87B857-C6E6-D221-C54E-B4B59DAC5AF4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9" name="Rechteck 588">
              <a:extLst>
                <a:ext uri="{FF2B5EF4-FFF2-40B4-BE49-F238E27FC236}">
                  <a16:creationId xmlns:a16="http://schemas.microsoft.com/office/drawing/2014/main" id="{F722B687-24CF-FE17-883F-C06ADCDAB789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0" name="Rechteck 589">
              <a:extLst>
                <a:ext uri="{FF2B5EF4-FFF2-40B4-BE49-F238E27FC236}">
                  <a16:creationId xmlns:a16="http://schemas.microsoft.com/office/drawing/2014/main" id="{B7A53A8A-9BF6-8693-41C5-80DE25302F66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1" name="Rechteck 590">
              <a:extLst>
                <a:ext uri="{FF2B5EF4-FFF2-40B4-BE49-F238E27FC236}">
                  <a16:creationId xmlns:a16="http://schemas.microsoft.com/office/drawing/2014/main" id="{2D4523F9-5A5A-8066-CCE8-87444C675937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2" name="Rechteck 591">
              <a:extLst>
                <a:ext uri="{FF2B5EF4-FFF2-40B4-BE49-F238E27FC236}">
                  <a16:creationId xmlns:a16="http://schemas.microsoft.com/office/drawing/2014/main" id="{76BD2D76-E2A4-0564-2E17-3B9DF312CFD1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3" name="Rechteck 592">
              <a:extLst>
                <a:ext uri="{FF2B5EF4-FFF2-40B4-BE49-F238E27FC236}">
                  <a16:creationId xmlns:a16="http://schemas.microsoft.com/office/drawing/2014/main" id="{3A9BE26E-F497-106D-5679-AE73FFDCFD9B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4" name="Rechteck 593">
              <a:extLst>
                <a:ext uri="{FF2B5EF4-FFF2-40B4-BE49-F238E27FC236}">
                  <a16:creationId xmlns:a16="http://schemas.microsoft.com/office/drawing/2014/main" id="{4D123C55-E060-419A-ED35-DA7F3B58F070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5" name="Rechteck 594">
              <a:extLst>
                <a:ext uri="{FF2B5EF4-FFF2-40B4-BE49-F238E27FC236}">
                  <a16:creationId xmlns:a16="http://schemas.microsoft.com/office/drawing/2014/main" id="{3165E23D-A53D-9670-72A4-89EADAEB10E1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6" name="Rechteck 595">
              <a:extLst>
                <a:ext uri="{FF2B5EF4-FFF2-40B4-BE49-F238E27FC236}">
                  <a16:creationId xmlns:a16="http://schemas.microsoft.com/office/drawing/2014/main" id="{B740C2F1-B965-EE14-CE0D-DC2F3FE79C5E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7" name="Rechteck 596">
              <a:extLst>
                <a:ext uri="{FF2B5EF4-FFF2-40B4-BE49-F238E27FC236}">
                  <a16:creationId xmlns:a16="http://schemas.microsoft.com/office/drawing/2014/main" id="{31AEB0D3-F1EE-4F7A-D5B2-347B4B896CDA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8" name="Rechteck 597">
              <a:extLst>
                <a:ext uri="{FF2B5EF4-FFF2-40B4-BE49-F238E27FC236}">
                  <a16:creationId xmlns:a16="http://schemas.microsoft.com/office/drawing/2014/main" id="{BF634597-85C1-65AB-B15C-9DACC720BA97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9" name="Rechteck 598">
              <a:extLst>
                <a:ext uri="{FF2B5EF4-FFF2-40B4-BE49-F238E27FC236}">
                  <a16:creationId xmlns:a16="http://schemas.microsoft.com/office/drawing/2014/main" id="{789CDCCC-6A53-E3DD-B3A0-236E57267013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0" name="Rechteck 599">
              <a:extLst>
                <a:ext uri="{FF2B5EF4-FFF2-40B4-BE49-F238E27FC236}">
                  <a16:creationId xmlns:a16="http://schemas.microsoft.com/office/drawing/2014/main" id="{92CC0FD3-CFE2-DC37-0106-89B4A97AD4EF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1" name="Rechteck 600">
              <a:extLst>
                <a:ext uri="{FF2B5EF4-FFF2-40B4-BE49-F238E27FC236}">
                  <a16:creationId xmlns:a16="http://schemas.microsoft.com/office/drawing/2014/main" id="{A30C9A27-698E-5778-2B6C-58EBC64C12A7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2" name="Rechteck 601">
              <a:extLst>
                <a:ext uri="{FF2B5EF4-FFF2-40B4-BE49-F238E27FC236}">
                  <a16:creationId xmlns:a16="http://schemas.microsoft.com/office/drawing/2014/main" id="{C186F3A5-99C6-5008-C827-64C43A4E2609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3" name="Rechteck 602">
              <a:extLst>
                <a:ext uri="{FF2B5EF4-FFF2-40B4-BE49-F238E27FC236}">
                  <a16:creationId xmlns:a16="http://schemas.microsoft.com/office/drawing/2014/main" id="{B18F487E-1689-E0BE-824C-921E56959B63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4" name="Rechteck 603">
              <a:extLst>
                <a:ext uri="{FF2B5EF4-FFF2-40B4-BE49-F238E27FC236}">
                  <a16:creationId xmlns:a16="http://schemas.microsoft.com/office/drawing/2014/main" id="{742529C8-EC56-DC01-1108-368703EA2E76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5" name="Rechteck 604">
              <a:extLst>
                <a:ext uri="{FF2B5EF4-FFF2-40B4-BE49-F238E27FC236}">
                  <a16:creationId xmlns:a16="http://schemas.microsoft.com/office/drawing/2014/main" id="{0D9200F6-18C5-D570-AEF8-DB7F1963B5AB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6" name="Rechteck 605">
              <a:extLst>
                <a:ext uri="{FF2B5EF4-FFF2-40B4-BE49-F238E27FC236}">
                  <a16:creationId xmlns:a16="http://schemas.microsoft.com/office/drawing/2014/main" id="{B55AA2F9-AA6F-5033-F391-2B3D28B0CF55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7" name="Rechteck 606">
              <a:extLst>
                <a:ext uri="{FF2B5EF4-FFF2-40B4-BE49-F238E27FC236}">
                  <a16:creationId xmlns:a16="http://schemas.microsoft.com/office/drawing/2014/main" id="{363B0E16-9173-9034-246B-DE80889557FF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8" name="Rechteck 607">
              <a:extLst>
                <a:ext uri="{FF2B5EF4-FFF2-40B4-BE49-F238E27FC236}">
                  <a16:creationId xmlns:a16="http://schemas.microsoft.com/office/drawing/2014/main" id="{0FEFF884-4C20-94CE-7893-DBC49AA4BC81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9" name="Rechteck 608">
              <a:extLst>
                <a:ext uri="{FF2B5EF4-FFF2-40B4-BE49-F238E27FC236}">
                  <a16:creationId xmlns:a16="http://schemas.microsoft.com/office/drawing/2014/main" id="{58265B26-5F54-C32E-E363-57EA9D5310D6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0" name="Rechteck 609">
              <a:extLst>
                <a:ext uri="{FF2B5EF4-FFF2-40B4-BE49-F238E27FC236}">
                  <a16:creationId xmlns:a16="http://schemas.microsoft.com/office/drawing/2014/main" id="{4C4F373B-758B-8725-0EA2-DC447717D967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1" name="Rechteck 610">
              <a:extLst>
                <a:ext uri="{FF2B5EF4-FFF2-40B4-BE49-F238E27FC236}">
                  <a16:creationId xmlns:a16="http://schemas.microsoft.com/office/drawing/2014/main" id="{FC20E50B-5A01-077E-917C-F1485352AE70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2" name="Rechteck 611">
              <a:extLst>
                <a:ext uri="{FF2B5EF4-FFF2-40B4-BE49-F238E27FC236}">
                  <a16:creationId xmlns:a16="http://schemas.microsoft.com/office/drawing/2014/main" id="{1D1C9FF4-DB2F-7139-C0C5-99CD15BD7330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3" name="Rechteck 612">
              <a:extLst>
                <a:ext uri="{FF2B5EF4-FFF2-40B4-BE49-F238E27FC236}">
                  <a16:creationId xmlns:a16="http://schemas.microsoft.com/office/drawing/2014/main" id="{34678FDC-423E-5F8C-AAA3-C8616E0CA332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4" name="Rechteck 613">
              <a:extLst>
                <a:ext uri="{FF2B5EF4-FFF2-40B4-BE49-F238E27FC236}">
                  <a16:creationId xmlns:a16="http://schemas.microsoft.com/office/drawing/2014/main" id="{F2777E8A-EC2D-6BB9-A19E-BB007E20D338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5" name="Rechteck 614">
              <a:extLst>
                <a:ext uri="{FF2B5EF4-FFF2-40B4-BE49-F238E27FC236}">
                  <a16:creationId xmlns:a16="http://schemas.microsoft.com/office/drawing/2014/main" id="{859929B4-C150-568E-F53E-2096D4C0DC1E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6" name="Rechteck 615">
              <a:extLst>
                <a:ext uri="{FF2B5EF4-FFF2-40B4-BE49-F238E27FC236}">
                  <a16:creationId xmlns:a16="http://schemas.microsoft.com/office/drawing/2014/main" id="{F27D17A5-24EF-EC2E-D97B-80A4101A1625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7" name="Rechteck 616">
              <a:extLst>
                <a:ext uri="{FF2B5EF4-FFF2-40B4-BE49-F238E27FC236}">
                  <a16:creationId xmlns:a16="http://schemas.microsoft.com/office/drawing/2014/main" id="{696813D4-C685-E45F-7A10-BDE8FB745BC1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8" name="Rechteck 617">
              <a:extLst>
                <a:ext uri="{FF2B5EF4-FFF2-40B4-BE49-F238E27FC236}">
                  <a16:creationId xmlns:a16="http://schemas.microsoft.com/office/drawing/2014/main" id="{4D3D74D8-763E-4923-6583-57AD43823E20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9" name="Rechteck 618">
              <a:extLst>
                <a:ext uri="{FF2B5EF4-FFF2-40B4-BE49-F238E27FC236}">
                  <a16:creationId xmlns:a16="http://schemas.microsoft.com/office/drawing/2014/main" id="{FFC53670-AE1E-518F-06EF-2093F8032F38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0" name="Rechteck 619">
              <a:extLst>
                <a:ext uri="{FF2B5EF4-FFF2-40B4-BE49-F238E27FC236}">
                  <a16:creationId xmlns:a16="http://schemas.microsoft.com/office/drawing/2014/main" id="{74BDA6A8-FE96-DC07-71E1-CFC4B1EE4E8F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1" name="Rechteck 620">
              <a:extLst>
                <a:ext uri="{FF2B5EF4-FFF2-40B4-BE49-F238E27FC236}">
                  <a16:creationId xmlns:a16="http://schemas.microsoft.com/office/drawing/2014/main" id="{B1F23152-E75D-9183-ABD9-8B2442C6BF8E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2" name="Rechteck 621">
              <a:extLst>
                <a:ext uri="{FF2B5EF4-FFF2-40B4-BE49-F238E27FC236}">
                  <a16:creationId xmlns:a16="http://schemas.microsoft.com/office/drawing/2014/main" id="{EF07A7A0-BF14-7E38-DF82-FA07C6A90320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3" name="Rechteck 622">
              <a:extLst>
                <a:ext uri="{FF2B5EF4-FFF2-40B4-BE49-F238E27FC236}">
                  <a16:creationId xmlns:a16="http://schemas.microsoft.com/office/drawing/2014/main" id="{33699468-7885-9876-CC8D-B459BEE66388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4" name="Rechteck 623">
              <a:extLst>
                <a:ext uri="{FF2B5EF4-FFF2-40B4-BE49-F238E27FC236}">
                  <a16:creationId xmlns:a16="http://schemas.microsoft.com/office/drawing/2014/main" id="{49351347-DF55-ACC4-2C5B-004964FF1C92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5" name="Rechteck 624">
              <a:extLst>
                <a:ext uri="{FF2B5EF4-FFF2-40B4-BE49-F238E27FC236}">
                  <a16:creationId xmlns:a16="http://schemas.microsoft.com/office/drawing/2014/main" id="{39586287-211B-56F4-244E-6E819802A70D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6" name="Rechteck 625">
              <a:extLst>
                <a:ext uri="{FF2B5EF4-FFF2-40B4-BE49-F238E27FC236}">
                  <a16:creationId xmlns:a16="http://schemas.microsoft.com/office/drawing/2014/main" id="{3289D04D-760C-90B2-8041-52152CF3FA0C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7" name="Rechteck 626">
              <a:extLst>
                <a:ext uri="{FF2B5EF4-FFF2-40B4-BE49-F238E27FC236}">
                  <a16:creationId xmlns:a16="http://schemas.microsoft.com/office/drawing/2014/main" id="{38D2222F-40F6-9EF6-ED08-1C6FECC8FB62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8" name="Rechteck 627">
              <a:extLst>
                <a:ext uri="{FF2B5EF4-FFF2-40B4-BE49-F238E27FC236}">
                  <a16:creationId xmlns:a16="http://schemas.microsoft.com/office/drawing/2014/main" id="{E5F5E681-45CF-6BDD-3672-E15D762A74C7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9" name="Rechteck 628">
              <a:extLst>
                <a:ext uri="{FF2B5EF4-FFF2-40B4-BE49-F238E27FC236}">
                  <a16:creationId xmlns:a16="http://schemas.microsoft.com/office/drawing/2014/main" id="{7159C3C7-4C63-7089-0793-510DE17FDF5D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0" name="Rechteck 629">
              <a:extLst>
                <a:ext uri="{FF2B5EF4-FFF2-40B4-BE49-F238E27FC236}">
                  <a16:creationId xmlns:a16="http://schemas.microsoft.com/office/drawing/2014/main" id="{B4C11A94-8451-522A-557B-9044D40B4CB7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1" name="Rechteck 630">
              <a:extLst>
                <a:ext uri="{FF2B5EF4-FFF2-40B4-BE49-F238E27FC236}">
                  <a16:creationId xmlns:a16="http://schemas.microsoft.com/office/drawing/2014/main" id="{40CE59E4-0BB1-BB0B-F175-809C087F311C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2" name="Rechteck 631">
              <a:extLst>
                <a:ext uri="{FF2B5EF4-FFF2-40B4-BE49-F238E27FC236}">
                  <a16:creationId xmlns:a16="http://schemas.microsoft.com/office/drawing/2014/main" id="{FA9A8946-07D9-3FB3-5941-F2157150C0F1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3" name="Rechteck 632">
              <a:extLst>
                <a:ext uri="{FF2B5EF4-FFF2-40B4-BE49-F238E27FC236}">
                  <a16:creationId xmlns:a16="http://schemas.microsoft.com/office/drawing/2014/main" id="{F440D5DF-921D-37B5-330D-9FF5D532CA27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4" name="Rechteck 633">
              <a:extLst>
                <a:ext uri="{FF2B5EF4-FFF2-40B4-BE49-F238E27FC236}">
                  <a16:creationId xmlns:a16="http://schemas.microsoft.com/office/drawing/2014/main" id="{663BECD6-845B-1EC0-CFEA-4B3903CD4CA7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5" name="Rechteck 634">
              <a:extLst>
                <a:ext uri="{FF2B5EF4-FFF2-40B4-BE49-F238E27FC236}">
                  <a16:creationId xmlns:a16="http://schemas.microsoft.com/office/drawing/2014/main" id="{D985EF9B-10C8-4A6D-4871-B4FB38A075FB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pic>
        <p:nvPicPr>
          <p:cNvPr id="636" name="Logo">
            <a:extLst>
              <a:ext uri="{FF2B5EF4-FFF2-40B4-BE49-F238E27FC236}">
                <a16:creationId xmlns:a16="http://schemas.microsoft.com/office/drawing/2014/main" id="{68875DEC-1C66-99D8-32FD-246914E704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  <p:grpSp>
        <p:nvGrpSpPr>
          <p:cNvPr id="639" name="Gruppieren 638">
            <a:extLst>
              <a:ext uri="{FF2B5EF4-FFF2-40B4-BE49-F238E27FC236}">
                <a16:creationId xmlns:a16="http://schemas.microsoft.com/office/drawing/2014/main" id="{448883B4-6EB9-6153-C347-5FF842423D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1" y="2082829"/>
            <a:ext cx="2448000" cy="0"/>
            <a:chOff x="983432" y="2082829"/>
            <a:chExt cx="2448000" cy="0"/>
          </a:xfrm>
        </p:grpSpPr>
        <p:cxnSp>
          <p:nvCxnSpPr>
            <p:cNvPr id="640" name="Line">
              <a:extLst>
                <a:ext uri="{FF2B5EF4-FFF2-40B4-BE49-F238E27FC236}">
                  <a16:creationId xmlns:a16="http://schemas.microsoft.com/office/drawing/2014/main" id="{80C47B7A-9FFF-E484-BA99-E7C608702F7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1" name="Line">
              <a:extLst>
                <a:ext uri="{FF2B5EF4-FFF2-40B4-BE49-F238E27FC236}">
                  <a16:creationId xmlns:a16="http://schemas.microsoft.com/office/drawing/2014/main" id="{BB3BE27D-D82E-3806-B744-D01744CDEB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2" name="Shape">
            <a:extLst>
              <a:ext uri="{FF2B5EF4-FFF2-40B4-BE49-F238E27FC236}">
                <a16:creationId xmlns:a16="http://schemas.microsoft.com/office/drawing/2014/main" id="{CC7B5139-AB22-C493-BB7D-14AA8E63BE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0848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643" name="Shape">
            <a:extLst>
              <a:ext uri="{FF2B5EF4-FFF2-40B4-BE49-F238E27FC236}">
                <a16:creationId xmlns:a16="http://schemas.microsoft.com/office/drawing/2014/main" id="{509C269E-7894-2AF2-2038-AEB785627C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9" y="2061400"/>
            <a:ext cx="5760640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644" name="Title">
            <a:extLst>
              <a:ext uri="{FF2B5EF4-FFF2-40B4-BE49-F238E27FC236}">
                <a16:creationId xmlns:a16="http://schemas.microsoft.com/office/drawing/2014/main" id="{9BE76A87-4866-1634-EDB4-D7ED75A7B7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656384" y="2205159"/>
            <a:ext cx="4896000" cy="1368000"/>
          </a:xfrm>
          <a:prstGeom prst="rect">
            <a:avLst/>
          </a:prstGeom>
        </p:spPr>
        <p:txBody>
          <a:bodyPr vert="horz" tIns="54000" anchor="t">
            <a:noAutofit/>
          </a:bodyPr>
          <a:lstStyle>
            <a:lvl1pPr algn="l" rtl="0">
              <a:lnSpc>
                <a:spcPct val="90000"/>
              </a:lnSpc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Insert your long title of presentation here in maximal three lines</a:t>
            </a:r>
            <a:endParaRPr lang="en-US" dirty="0"/>
          </a:p>
        </p:txBody>
      </p:sp>
      <p:sp>
        <p:nvSpPr>
          <p:cNvPr id="645" name="Subtitle 2">
            <a:extLst>
              <a:ext uri="{FF2B5EF4-FFF2-40B4-BE49-F238E27FC236}">
                <a16:creationId xmlns:a16="http://schemas.microsoft.com/office/drawing/2014/main" id="{60639D1C-28F1-9D1E-9631-2D2D7AB8677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656384" y="3789160"/>
            <a:ext cx="4320000" cy="1080000"/>
          </a:xfrm>
          <a:prstGeom prst="rect">
            <a:avLst/>
          </a:prstGeom>
        </p:spPr>
        <p:txBody>
          <a:bodyPr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637" name="Author">
            <a:extLst>
              <a:ext uri="{FF2B5EF4-FFF2-40B4-BE49-F238E27FC236}">
                <a16:creationId xmlns:a16="http://schemas.microsoft.com/office/drawing/2014/main" id="{3FC225AA-14A0-62CC-D76E-FE9D4A7A85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400" y="2348992"/>
            <a:ext cx="2520280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US"/>
              <a:t>First name Last name</a:t>
            </a:r>
            <a:endParaRPr lang="en-US" dirty="0"/>
          </a:p>
        </p:txBody>
      </p:sp>
      <p:sp>
        <p:nvSpPr>
          <p:cNvPr id="638" name="Department, Date">
            <a:extLst>
              <a:ext uri="{FF2B5EF4-FFF2-40B4-BE49-F238E27FC236}">
                <a16:creationId xmlns:a16="http://schemas.microsoft.com/office/drawing/2014/main" id="{293DA392-91D8-BFDD-FA7D-72EA5EAE1C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2564992"/>
            <a:ext cx="2520280" cy="792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US"/>
              <a:t>Department</a:t>
            </a:r>
            <a:br>
              <a:rPr lang="en-US"/>
            </a:br>
            <a:r>
              <a:rPr lang="en-US"/>
              <a:t>DD/MM/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56467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|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7BFB889-2085-4426-78E4-3568D43E7F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6149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7BFB889-2085-4426-78E4-3568D43E7F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44A2AEDA-3360-DA88-73A0-6948FFEB4E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304D0E64-4DCD-867F-9D11-49582927DBE6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07FF804E-C722-9A38-9D85-93879A2D9E77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855F8E61-5229-6CD0-FB57-BD93F44A85E5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CCF5D2D4-9238-00C2-13DC-D402CAED2C5C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FA71A6FC-17E8-523E-A48D-2A91C034729F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A5D4A5A3-088D-BDBB-3942-24ADDF754E54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1452132-A660-076A-476D-6DD002D2A3A1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38BBB115-496D-9FA3-2B2A-35204B04D764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FB28E83B-2EE4-49E4-DDC5-3E14FB3D2F0B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E2AFF4F2-A4C1-BD3F-B0D2-7E63DC4B025A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27134373-D85B-F87D-8E5F-A7F466DE9E32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B0C0A82B-E9D3-C0D1-82A9-D7E54C34609D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3CCA97FA-9C2D-69F7-3B4C-7BD232FBCE37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D01CCBE1-6BC9-392A-3745-6F37F3D17B2E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44E684C0-7619-8B16-97DD-A1A6DD7E091D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A5C20F07-63D6-DA44-512B-F77FFA18F6C4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8D12C8D6-8AB3-552D-78F8-1098DEE839C3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EF8304AA-C077-BDB8-04CF-3B8D607E3E6B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04314DE0-3F74-1794-BE69-637F4B2A3251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36FD0254-0D97-9A65-58D5-5BE7E34864D2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FCFDEA69-3AD3-FF09-EE83-2BC6DF575097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C9AE37EB-C7F7-D170-4535-6752FC9675AC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0C926587-1D97-92B7-498B-138DC427EEC6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68957079-909D-DC82-AA9F-8088ACA23EC1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CD4F3487-BFE4-4712-AF6B-54B1A9FD4596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2C8280E5-AAF8-2E65-EAB8-D906E45E3C8F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F1FFCF4F-E609-5B08-2FD5-C19A81433657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987D1844-4469-1324-386B-BD6BD2ACEA58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67638A4B-DD38-1D14-DB3A-F1171CD8C83F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2BC47CFF-F36C-8711-4288-037696F8E159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817F9552-AF46-8FB9-0AF6-13AAD9B07D3C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CAEC5FE8-8599-6CA4-A9FE-E116ED2F9E51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70244D8A-C4EE-2B82-8D22-BEFA13655DA5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AF45CDEA-AED2-0FF6-0EAA-62F7263218D7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AD39B5F5-8CAD-8BAF-7FD5-7A3500567E1A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30F3FBAE-A33D-7464-AE1F-2423C8EF5407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29FCA3FE-AAF6-5879-274F-80515486FEE1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071F456F-8C1D-A01B-4D75-FAEFF8FD6EDA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33CD290C-9594-00EA-DD01-B094B700071F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AAA798CD-7E03-291E-2376-CF148C7CFABA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44EE9CC4-862F-1D68-0C68-34FC7AAEB8C3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F3489720-36CA-725A-AC0D-EFDA0A3201C8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2DF7C544-C709-684D-37E1-16D71DDCE952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C0E5E613-2E94-A37D-D85D-D03059E8A1DC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96C9DFDF-078A-7944-8516-61E52795A518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19E9A7D7-125F-A9E8-398B-A32EE9C8E091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ECDD3FBE-5944-12EE-9F3A-62801AF9708E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6AD7AEBD-F82B-79BE-D78C-F9B3AD61D934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4DEFA5D2-EB1F-1584-D333-2008A36E82A2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CA7CA765-5F8D-5106-B3FD-891A22F2E4FB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58C5424A-B07A-490E-B40A-B106DFDB1112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D54E110B-23F6-6A0B-59DB-72F9A1B1C690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3EABC5CF-90A9-EF30-74FA-0011034EEE03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118390EF-2701-B9AD-4D9D-6FCCE16BB7A1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4" name="Rechteck 563">
              <a:extLst>
                <a:ext uri="{FF2B5EF4-FFF2-40B4-BE49-F238E27FC236}">
                  <a16:creationId xmlns:a16="http://schemas.microsoft.com/office/drawing/2014/main" id="{74980F99-164F-9CFB-0BD2-B974F7FF8547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5" name="Rechteck 564">
              <a:extLst>
                <a:ext uri="{FF2B5EF4-FFF2-40B4-BE49-F238E27FC236}">
                  <a16:creationId xmlns:a16="http://schemas.microsoft.com/office/drawing/2014/main" id="{411BC522-AB18-489E-553B-647880917A13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6" name="Rechteck 565">
              <a:extLst>
                <a:ext uri="{FF2B5EF4-FFF2-40B4-BE49-F238E27FC236}">
                  <a16:creationId xmlns:a16="http://schemas.microsoft.com/office/drawing/2014/main" id="{E2F405AF-F79D-69DD-DACB-6B08A8BA5FAF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7" name="Rechteck 566">
              <a:extLst>
                <a:ext uri="{FF2B5EF4-FFF2-40B4-BE49-F238E27FC236}">
                  <a16:creationId xmlns:a16="http://schemas.microsoft.com/office/drawing/2014/main" id="{4571E967-DDAC-A18E-9902-3F2F8B9B556D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8" name="Rechteck 567">
              <a:extLst>
                <a:ext uri="{FF2B5EF4-FFF2-40B4-BE49-F238E27FC236}">
                  <a16:creationId xmlns:a16="http://schemas.microsoft.com/office/drawing/2014/main" id="{488167FC-8A73-1082-A9CE-A2BF531950F4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9" name="Rechteck 568">
              <a:extLst>
                <a:ext uri="{FF2B5EF4-FFF2-40B4-BE49-F238E27FC236}">
                  <a16:creationId xmlns:a16="http://schemas.microsoft.com/office/drawing/2014/main" id="{CE22A77A-7B9F-60E3-3507-D5DB7E718E1A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0" name="Rechteck 569">
              <a:extLst>
                <a:ext uri="{FF2B5EF4-FFF2-40B4-BE49-F238E27FC236}">
                  <a16:creationId xmlns:a16="http://schemas.microsoft.com/office/drawing/2014/main" id="{30243BE6-F0B7-E1C4-4AD0-0DFFDF66F50A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1" name="Rechteck 570">
              <a:extLst>
                <a:ext uri="{FF2B5EF4-FFF2-40B4-BE49-F238E27FC236}">
                  <a16:creationId xmlns:a16="http://schemas.microsoft.com/office/drawing/2014/main" id="{C53DF050-EBA0-9503-8DB4-E797CF5581C1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2" name="Rechteck 571">
              <a:extLst>
                <a:ext uri="{FF2B5EF4-FFF2-40B4-BE49-F238E27FC236}">
                  <a16:creationId xmlns:a16="http://schemas.microsoft.com/office/drawing/2014/main" id="{F067FC77-3420-17D3-E86F-27EAB6C0C51C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3" name="Rechteck 572">
              <a:extLst>
                <a:ext uri="{FF2B5EF4-FFF2-40B4-BE49-F238E27FC236}">
                  <a16:creationId xmlns:a16="http://schemas.microsoft.com/office/drawing/2014/main" id="{6DB2E5C0-9ACB-82F8-11DA-EDCCB9E31DBC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4" name="Rechteck 573">
              <a:extLst>
                <a:ext uri="{FF2B5EF4-FFF2-40B4-BE49-F238E27FC236}">
                  <a16:creationId xmlns:a16="http://schemas.microsoft.com/office/drawing/2014/main" id="{8CF17FE2-A232-02C1-7C2C-00CD2451722C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5" name="Rechteck 574">
              <a:extLst>
                <a:ext uri="{FF2B5EF4-FFF2-40B4-BE49-F238E27FC236}">
                  <a16:creationId xmlns:a16="http://schemas.microsoft.com/office/drawing/2014/main" id="{5194EAB3-6621-EC6F-5533-E2AA379243D8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B190671A-81DC-9DEC-01FE-BB2868EF4F22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C2989F2B-E31F-7DAB-B14D-872459357240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23B73131-7CAF-F9B1-85C7-906F8F347769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AF407EB7-80E8-A99E-A884-D15A43B69B6D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3104A8FF-3A8F-2856-4664-F208429977E3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FF074905-103A-1654-3A5E-4F28E4751BB2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22DE4D9D-37B4-717B-E4C3-B7C0D055AFE8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9D407089-36A7-8DEE-8C1B-AAE755E4BC06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452A9F8F-7606-65F4-2EF6-82237031A465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13EED276-A2B5-E825-2EC2-67ACCE212A65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A16B83D9-832B-3E70-F139-38F7C6BDB161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C48B99C1-1B56-BA47-7BE9-37EA9F5DC7DD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A0AB330B-1EFB-922C-FC84-3A664B4DB2A6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2528ADB5-1549-6794-7010-067F40F32970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B855ABD7-8C30-C038-7512-4C2B6CAEF020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8E32F0F0-C58E-79EF-0DCD-DE722E827710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FEBE2D64-2066-2E62-FFEC-9B95CD8DA796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4975F9B1-3188-84DC-FB7B-FCD3D24CF39C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70DD43B3-300F-8A41-5D6A-DB7B73AAA12C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64050E29-4533-F26F-3726-03B1A1D7FD30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DE934E1C-9939-B23C-E62C-D3CC41D7A380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0FA58E3E-C336-E85B-09D5-B7A0A2151208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4EB8F864-C012-25CE-039E-8A0E021A54C7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70A21091-0965-216E-CB91-7E32727579DF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5CAAD977-1E0A-F3D2-7B72-30D9B0CA525C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8E198E56-755B-5845-9E20-52554353E72D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4C460E06-D8EF-5C2B-3C6E-7FB639815CCA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5CFE9937-0FE4-BC17-F5B1-805580CDB8D9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5AECAC88-EC1E-9D1F-C510-714A9F8281F1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D9CD5473-1B7C-88FD-B2F8-23173E676D4B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0C94B832-2CBF-2E8D-0422-F670297544B6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854C5041-C528-F507-4F5A-B0DB4777C4E9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3C61711B-A026-B808-798F-F2D72D449F35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97AA02E7-1D34-E765-AF72-40B5AB8F502B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2EBBD067-DC8C-EE21-A515-984C62A11C46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B6C06F11-D9FB-75A6-FABA-9B568AEC6AEB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9B08D2C0-C290-891B-DC39-70D6273EF59B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5A99DE82-B937-9488-E4E6-568161A2157E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C325E27E-94A5-A084-6FEA-55316D066823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52965A5F-3130-03F0-4638-BE079AABFBA7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7E8F48EB-B3FA-C120-EAF3-00F9298058C7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DCE05C3B-8D34-DCF9-77FC-D1A88828CE96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215E1193-70BF-745E-B090-C69D9850013C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01729069-E058-C0BA-7A91-D61CC2A9E724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632C1BAE-D68E-C564-F6A4-C8338BAB37DA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9B20F60A-7197-056E-6DB9-8EDB645A0249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BBD44F7D-38DC-EFBE-1D34-ACB9BBF54CBC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015CBDAB-C488-86BA-92DD-1E98BE42A8BD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F4CA9B95-2653-CF25-5F98-F83F7986CF5A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D38800C5-8CF9-B5D7-E51E-F0C91CA600C1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92DC19B8-B148-00E8-887F-7BA88DCEA688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1FD9CB07-7A45-025C-BD87-ACA15214E28F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618259A4-B4D3-8D4D-01B5-849880C834D5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1A097C60-B599-1715-F8DD-D4F9821F4417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2C132892-4ACC-467F-963D-8E8CF43FCC72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31D2D5FB-776D-C068-42F8-9B5A35DFDFA7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6DCAD3A0-5965-30D0-FD11-6CAA0B802949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36E3BCE3-0EBC-B214-9208-C354713B15A3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8B79C295-BB05-B4C1-6128-C7E9874CA824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79849441-66AD-EC50-45D9-BCB40DD5A86F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927018C9-0C04-997D-945F-A5F68DB16BD7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BBCEA445-5888-5FD8-0027-3379C9A9B502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3FAA2869-4ACF-A1DC-0E98-FEB6B5984FE2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6" name="Rechteck 575">
              <a:extLst>
                <a:ext uri="{FF2B5EF4-FFF2-40B4-BE49-F238E27FC236}">
                  <a16:creationId xmlns:a16="http://schemas.microsoft.com/office/drawing/2014/main" id="{58F7D3DB-8E5F-37F9-3DB2-0834F4B8DA59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7" name="Rechteck 576">
              <a:extLst>
                <a:ext uri="{FF2B5EF4-FFF2-40B4-BE49-F238E27FC236}">
                  <a16:creationId xmlns:a16="http://schemas.microsoft.com/office/drawing/2014/main" id="{2B7B2DD8-C695-5E6F-7F62-2D15CCA4BB81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8" name="Rechteck 577">
              <a:extLst>
                <a:ext uri="{FF2B5EF4-FFF2-40B4-BE49-F238E27FC236}">
                  <a16:creationId xmlns:a16="http://schemas.microsoft.com/office/drawing/2014/main" id="{11330EB3-67DB-949D-5F64-ECBFA0B1D12A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9" name="Rechteck 578">
              <a:extLst>
                <a:ext uri="{FF2B5EF4-FFF2-40B4-BE49-F238E27FC236}">
                  <a16:creationId xmlns:a16="http://schemas.microsoft.com/office/drawing/2014/main" id="{A92932AA-24D6-6C10-9BF3-27E8FEE07479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0" name="Rechteck 579">
              <a:extLst>
                <a:ext uri="{FF2B5EF4-FFF2-40B4-BE49-F238E27FC236}">
                  <a16:creationId xmlns:a16="http://schemas.microsoft.com/office/drawing/2014/main" id="{50D98C02-5485-07FD-1D51-8CE6D1B14B1C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1" name="Rechteck 580">
              <a:extLst>
                <a:ext uri="{FF2B5EF4-FFF2-40B4-BE49-F238E27FC236}">
                  <a16:creationId xmlns:a16="http://schemas.microsoft.com/office/drawing/2014/main" id="{ED87BBB6-497E-8869-A8AF-47963887C61B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2" name="Rechteck 581">
              <a:extLst>
                <a:ext uri="{FF2B5EF4-FFF2-40B4-BE49-F238E27FC236}">
                  <a16:creationId xmlns:a16="http://schemas.microsoft.com/office/drawing/2014/main" id="{DC09E5C1-B987-A92F-D9B8-5D22E77F4CB8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3" name="Rechteck 582">
              <a:extLst>
                <a:ext uri="{FF2B5EF4-FFF2-40B4-BE49-F238E27FC236}">
                  <a16:creationId xmlns:a16="http://schemas.microsoft.com/office/drawing/2014/main" id="{885D6474-3EE4-1EE2-D7DB-99C673449B4B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4" name="Rechteck 583">
              <a:extLst>
                <a:ext uri="{FF2B5EF4-FFF2-40B4-BE49-F238E27FC236}">
                  <a16:creationId xmlns:a16="http://schemas.microsoft.com/office/drawing/2014/main" id="{6E974DD6-0F36-B302-AB89-34BE877CFE25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5" name="Rechteck 584">
              <a:extLst>
                <a:ext uri="{FF2B5EF4-FFF2-40B4-BE49-F238E27FC236}">
                  <a16:creationId xmlns:a16="http://schemas.microsoft.com/office/drawing/2014/main" id="{15E9EC6F-7D3B-73C1-9CA8-00075416AF83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6" name="Rechteck 585">
              <a:extLst>
                <a:ext uri="{FF2B5EF4-FFF2-40B4-BE49-F238E27FC236}">
                  <a16:creationId xmlns:a16="http://schemas.microsoft.com/office/drawing/2014/main" id="{1B6F6C17-5EB8-14A4-9957-429BDE8F36B4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7" name="Rechteck 586">
              <a:extLst>
                <a:ext uri="{FF2B5EF4-FFF2-40B4-BE49-F238E27FC236}">
                  <a16:creationId xmlns:a16="http://schemas.microsoft.com/office/drawing/2014/main" id="{848ECA8D-C5FF-0C19-2ECF-3ACB44FBA247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8" name="Rechteck 587">
              <a:extLst>
                <a:ext uri="{FF2B5EF4-FFF2-40B4-BE49-F238E27FC236}">
                  <a16:creationId xmlns:a16="http://schemas.microsoft.com/office/drawing/2014/main" id="{A29745F4-6102-5DAC-5557-77C2216742CC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9" name="Rechteck 588">
              <a:extLst>
                <a:ext uri="{FF2B5EF4-FFF2-40B4-BE49-F238E27FC236}">
                  <a16:creationId xmlns:a16="http://schemas.microsoft.com/office/drawing/2014/main" id="{C67403E0-AD02-94A4-BFD9-D8F6B42F4D4B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0" name="Rechteck 589">
              <a:extLst>
                <a:ext uri="{FF2B5EF4-FFF2-40B4-BE49-F238E27FC236}">
                  <a16:creationId xmlns:a16="http://schemas.microsoft.com/office/drawing/2014/main" id="{156E1B71-0862-11E5-07F4-3162E80B804F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1" name="Rechteck 590">
              <a:extLst>
                <a:ext uri="{FF2B5EF4-FFF2-40B4-BE49-F238E27FC236}">
                  <a16:creationId xmlns:a16="http://schemas.microsoft.com/office/drawing/2014/main" id="{998C536A-9D28-B5FB-2EAB-FAFE5EA331F3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2" name="Rechteck 591">
              <a:extLst>
                <a:ext uri="{FF2B5EF4-FFF2-40B4-BE49-F238E27FC236}">
                  <a16:creationId xmlns:a16="http://schemas.microsoft.com/office/drawing/2014/main" id="{DABE473A-2AAA-1D16-CC1D-E62D3FF083CD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3" name="Rechteck 592">
              <a:extLst>
                <a:ext uri="{FF2B5EF4-FFF2-40B4-BE49-F238E27FC236}">
                  <a16:creationId xmlns:a16="http://schemas.microsoft.com/office/drawing/2014/main" id="{033BB805-2329-C3BA-4207-EB1DD0EC48C9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4" name="Rechteck 593">
              <a:extLst>
                <a:ext uri="{FF2B5EF4-FFF2-40B4-BE49-F238E27FC236}">
                  <a16:creationId xmlns:a16="http://schemas.microsoft.com/office/drawing/2014/main" id="{BF9B5BF0-4D19-CF6F-DFF0-97C41D13E717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5" name="Rechteck 594">
              <a:extLst>
                <a:ext uri="{FF2B5EF4-FFF2-40B4-BE49-F238E27FC236}">
                  <a16:creationId xmlns:a16="http://schemas.microsoft.com/office/drawing/2014/main" id="{50475D2B-4F27-F9B3-3496-6A2ED3ABD226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6" name="Rechteck 595">
              <a:extLst>
                <a:ext uri="{FF2B5EF4-FFF2-40B4-BE49-F238E27FC236}">
                  <a16:creationId xmlns:a16="http://schemas.microsoft.com/office/drawing/2014/main" id="{909B6362-C4F2-5DE7-1B00-80791CE96123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7" name="Rechteck 596">
              <a:extLst>
                <a:ext uri="{FF2B5EF4-FFF2-40B4-BE49-F238E27FC236}">
                  <a16:creationId xmlns:a16="http://schemas.microsoft.com/office/drawing/2014/main" id="{C51BD19A-2D97-12B3-252F-5B0587F17757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8" name="Rechteck 597">
              <a:extLst>
                <a:ext uri="{FF2B5EF4-FFF2-40B4-BE49-F238E27FC236}">
                  <a16:creationId xmlns:a16="http://schemas.microsoft.com/office/drawing/2014/main" id="{AA30F848-71E0-05CE-A773-137AFB6106EA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9" name="Rechteck 598">
              <a:extLst>
                <a:ext uri="{FF2B5EF4-FFF2-40B4-BE49-F238E27FC236}">
                  <a16:creationId xmlns:a16="http://schemas.microsoft.com/office/drawing/2014/main" id="{2B50EE3C-71C4-10E6-8CD3-A3215452372D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0" name="Rechteck 599">
              <a:extLst>
                <a:ext uri="{FF2B5EF4-FFF2-40B4-BE49-F238E27FC236}">
                  <a16:creationId xmlns:a16="http://schemas.microsoft.com/office/drawing/2014/main" id="{E9E637B4-9B55-C02F-87C5-D80B35959A58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1" name="Rechteck 600">
              <a:extLst>
                <a:ext uri="{FF2B5EF4-FFF2-40B4-BE49-F238E27FC236}">
                  <a16:creationId xmlns:a16="http://schemas.microsoft.com/office/drawing/2014/main" id="{407D6948-1651-B77A-96BE-A3C080AF5BEE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2" name="Rechteck 601">
              <a:extLst>
                <a:ext uri="{FF2B5EF4-FFF2-40B4-BE49-F238E27FC236}">
                  <a16:creationId xmlns:a16="http://schemas.microsoft.com/office/drawing/2014/main" id="{C234DC73-DB10-9392-769B-32CA4F5592DD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3" name="Rechteck 602">
              <a:extLst>
                <a:ext uri="{FF2B5EF4-FFF2-40B4-BE49-F238E27FC236}">
                  <a16:creationId xmlns:a16="http://schemas.microsoft.com/office/drawing/2014/main" id="{480336AC-EC85-A58A-B069-CCE5218CBB3B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4" name="Rechteck 603">
              <a:extLst>
                <a:ext uri="{FF2B5EF4-FFF2-40B4-BE49-F238E27FC236}">
                  <a16:creationId xmlns:a16="http://schemas.microsoft.com/office/drawing/2014/main" id="{ECA13BB0-7967-D0EB-8EEB-8815785FDB68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5" name="Rechteck 604">
              <a:extLst>
                <a:ext uri="{FF2B5EF4-FFF2-40B4-BE49-F238E27FC236}">
                  <a16:creationId xmlns:a16="http://schemas.microsoft.com/office/drawing/2014/main" id="{3FD66F32-FE3E-683D-AA7C-33706F8E3BC2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6" name="Rechteck 605">
              <a:extLst>
                <a:ext uri="{FF2B5EF4-FFF2-40B4-BE49-F238E27FC236}">
                  <a16:creationId xmlns:a16="http://schemas.microsoft.com/office/drawing/2014/main" id="{5ABC4948-AE17-76E9-AD38-2E8605530059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7" name="Rechteck 606">
              <a:extLst>
                <a:ext uri="{FF2B5EF4-FFF2-40B4-BE49-F238E27FC236}">
                  <a16:creationId xmlns:a16="http://schemas.microsoft.com/office/drawing/2014/main" id="{35B64FAB-0897-D1A1-EC9D-54E92B4AE244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8" name="Rechteck 607">
              <a:extLst>
                <a:ext uri="{FF2B5EF4-FFF2-40B4-BE49-F238E27FC236}">
                  <a16:creationId xmlns:a16="http://schemas.microsoft.com/office/drawing/2014/main" id="{AF2C16D6-E3A6-C973-16D3-7028C6CD8491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9" name="Rechteck 608">
              <a:extLst>
                <a:ext uri="{FF2B5EF4-FFF2-40B4-BE49-F238E27FC236}">
                  <a16:creationId xmlns:a16="http://schemas.microsoft.com/office/drawing/2014/main" id="{1300B179-948C-BCFB-B8BB-A7DDC316D524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0" name="Rechteck 609">
              <a:extLst>
                <a:ext uri="{FF2B5EF4-FFF2-40B4-BE49-F238E27FC236}">
                  <a16:creationId xmlns:a16="http://schemas.microsoft.com/office/drawing/2014/main" id="{72E5644A-3BE2-6F5D-18DD-9DA71BD6F0E0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1" name="Rechteck 610">
              <a:extLst>
                <a:ext uri="{FF2B5EF4-FFF2-40B4-BE49-F238E27FC236}">
                  <a16:creationId xmlns:a16="http://schemas.microsoft.com/office/drawing/2014/main" id="{BB86E67B-EB59-4F09-C726-59956C08B858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2" name="Rechteck 611">
              <a:extLst>
                <a:ext uri="{FF2B5EF4-FFF2-40B4-BE49-F238E27FC236}">
                  <a16:creationId xmlns:a16="http://schemas.microsoft.com/office/drawing/2014/main" id="{9B959765-EE9C-A51E-1805-C4F341EE5D5E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3" name="Rechteck 612">
              <a:extLst>
                <a:ext uri="{FF2B5EF4-FFF2-40B4-BE49-F238E27FC236}">
                  <a16:creationId xmlns:a16="http://schemas.microsoft.com/office/drawing/2014/main" id="{D504B449-A1B5-1C36-2E3D-1EAAB6D19CA1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4" name="Rechteck 613">
              <a:extLst>
                <a:ext uri="{FF2B5EF4-FFF2-40B4-BE49-F238E27FC236}">
                  <a16:creationId xmlns:a16="http://schemas.microsoft.com/office/drawing/2014/main" id="{88266A74-711F-F464-FF7C-0566320506D3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5" name="Rechteck 614">
              <a:extLst>
                <a:ext uri="{FF2B5EF4-FFF2-40B4-BE49-F238E27FC236}">
                  <a16:creationId xmlns:a16="http://schemas.microsoft.com/office/drawing/2014/main" id="{B0690049-C2D4-ACF9-1354-218EC91A67F7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6" name="Rechteck 615">
              <a:extLst>
                <a:ext uri="{FF2B5EF4-FFF2-40B4-BE49-F238E27FC236}">
                  <a16:creationId xmlns:a16="http://schemas.microsoft.com/office/drawing/2014/main" id="{A927131A-74C9-0296-65A0-ED4BED855B6D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7" name="Rechteck 616">
              <a:extLst>
                <a:ext uri="{FF2B5EF4-FFF2-40B4-BE49-F238E27FC236}">
                  <a16:creationId xmlns:a16="http://schemas.microsoft.com/office/drawing/2014/main" id="{DCEFCAC6-B63C-FB26-AD55-B799DEA8FD97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8" name="Rechteck 617">
              <a:extLst>
                <a:ext uri="{FF2B5EF4-FFF2-40B4-BE49-F238E27FC236}">
                  <a16:creationId xmlns:a16="http://schemas.microsoft.com/office/drawing/2014/main" id="{24564484-C3D7-8148-DD72-959A8F23C7ED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9" name="Rechteck 618">
              <a:extLst>
                <a:ext uri="{FF2B5EF4-FFF2-40B4-BE49-F238E27FC236}">
                  <a16:creationId xmlns:a16="http://schemas.microsoft.com/office/drawing/2014/main" id="{9A57E7D1-8CB0-82AE-74A3-6F9FD03FF836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0" name="Rechteck 619">
              <a:extLst>
                <a:ext uri="{FF2B5EF4-FFF2-40B4-BE49-F238E27FC236}">
                  <a16:creationId xmlns:a16="http://schemas.microsoft.com/office/drawing/2014/main" id="{E3366F9D-F994-4467-C978-1A7A9C93A982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1" name="Rechteck 620">
              <a:extLst>
                <a:ext uri="{FF2B5EF4-FFF2-40B4-BE49-F238E27FC236}">
                  <a16:creationId xmlns:a16="http://schemas.microsoft.com/office/drawing/2014/main" id="{ACF55DA9-80EC-BC00-28C0-3B5B952EE6D3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2" name="Rechteck 621">
              <a:extLst>
                <a:ext uri="{FF2B5EF4-FFF2-40B4-BE49-F238E27FC236}">
                  <a16:creationId xmlns:a16="http://schemas.microsoft.com/office/drawing/2014/main" id="{FEB07BC2-EFD7-8F5A-3871-DDFD2C4D2616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3" name="Rechteck 622">
              <a:extLst>
                <a:ext uri="{FF2B5EF4-FFF2-40B4-BE49-F238E27FC236}">
                  <a16:creationId xmlns:a16="http://schemas.microsoft.com/office/drawing/2014/main" id="{41AF8826-E0B0-0B6A-6BAA-A35B98DB58E8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4" name="Rechteck 623">
              <a:extLst>
                <a:ext uri="{FF2B5EF4-FFF2-40B4-BE49-F238E27FC236}">
                  <a16:creationId xmlns:a16="http://schemas.microsoft.com/office/drawing/2014/main" id="{33700951-A3EE-8A87-C4C1-95011647807B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5" name="Rechteck 624">
              <a:extLst>
                <a:ext uri="{FF2B5EF4-FFF2-40B4-BE49-F238E27FC236}">
                  <a16:creationId xmlns:a16="http://schemas.microsoft.com/office/drawing/2014/main" id="{28E9989C-A9C0-1F2E-9393-981FBD58E75A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6" name="Rechteck 625">
              <a:extLst>
                <a:ext uri="{FF2B5EF4-FFF2-40B4-BE49-F238E27FC236}">
                  <a16:creationId xmlns:a16="http://schemas.microsoft.com/office/drawing/2014/main" id="{3D9919BD-3287-69B9-BC0E-24BFE806E099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7" name="Rechteck 626">
              <a:extLst>
                <a:ext uri="{FF2B5EF4-FFF2-40B4-BE49-F238E27FC236}">
                  <a16:creationId xmlns:a16="http://schemas.microsoft.com/office/drawing/2014/main" id="{D081ABE3-0B2F-75CC-3B73-372080D67F1E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8" name="Rechteck 627">
              <a:extLst>
                <a:ext uri="{FF2B5EF4-FFF2-40B4-BE49-F238E27FC236}">
                  <a16:creationId xmlns:a16="http://schemas.microsoft.com/office/drawing/2014/main" id="{625A3EBF-0B0D-49E0-F4B4-578A6A54E656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9" name="Rechteck 628">
              <a:extLst>
                <a:ext uri="{FF2B5EF4-FFF2-40B4-BE49-F238E27FC236}">
                  <a16:creationId xmlns:a16="http://schemas.microsoft.com/office/drawing/2014/main" id="{DFB124FA-3424-34C4-8439-A9AC457481DD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0" name="Rechteck 629">
              <a:extLst>
                <a:ext uri="{FF2B5EF4-FFF2-40B4-BE49-F238E27FC236}">
                  <a16:creationId xmlns:a16="http://schemas.microsoft.com/office/drawing/2014/main" id="{F2AF72EF-30B0-B87F-38E5-03DDD97051B1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1" name="Rechteck 630">
              <a:extLst>
                <a:ext uri="{FF2B5EF4-FFF2-40B4-BE49-F238E27FC236}">
                  <a16:creationId xmlns:a16="http://schemas.microsoft.com/office/drawing/2014/main" id="{FE74D72F-A9E0-088C-DE2C-1AAF68BED3A2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2" name="Rechteck 631">
              <a:extLst>
                <a:ext uri="{FF2B5EF4-FFF2-40B4-BE49-F238E27FC236}">
                  <a16:creationId xmlns:a16="http://schemas.microsoft.com/office/drawing/2014/main" id="{0AE01FB0-FA6E-1B9C-FB9A-4E0D4A240EA7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3" name="Rechteck 632">
              <a:extLst>
                <a:ext uri="{FF2B5EF4-FFF2-40B4-BE49-F238E27FC236}">
                  <a16:creationId xmlns:a16="http://schemas.microsoft.com/office/drawing/2014/main" id="{621FA565-E7AF-F090-93C2-11BF16F54711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4" name="Rechteck 633">
              <a:extLst>
                <a:ext uri="{FF2B5EF4-FFF2-40B4-BE49-F238E27FC236}">
                  <a16:creationId xmlns:a16="http://schemas.microsoft.com/office/drawing/2014/main" id="{A623971C-238E-607E-FA8A-B7FBC343F930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5" name="Rechteck 634">
              <a:extLst>
                <a:ext uri="{FF2B5EF4-FFF2-40B4-BE49-F238E27FC236}">
                  <a16:creationId xmlns:a16="http://schemas.microsoft.com/office/drawing/2014/main" id="{AD270A1D-3888-A464-6C38-A942DBE97AAB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pic>
        <p:nvPicPr>
          <p:cNvPr id="636" name="Logo">
            <a:extLst>
              <a:ext uri="{FF2B5EF4-FFF2-40B4-BE49-F238E27FC236}">
                <a16:creationId xmlns:a16="http://schemas.microsoft.com/office/drawing/2014/main" id="{68292BC9-76CD-67C0-35F6-A5108DD2C0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  <p:grpSp>
        <p:nvGrpSpPr>
          <p:cNvPr id="639" name="Gruppieren 638">
            <a:extLst>
              <a:ext uri="{FF2B5EF4-FFF2-40B4-BE49-F238E27FC236}">
                <a16:creationId xmlns:a16="http://schemas.microsoft.com/office/drawing/2014/main" id="{28A2C002-1EE0-626A-11E1-E574EEC961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1" y="2082829"/>
            <a:ext cx="2448000" cy="0"/>
            <a:chOff x="983432" y="2082829"/>
            <a:chExt cx="2448000" cy="0"/>
          </a:xfrm>
        </p:grpSpPr>
        <p:cxnSp>
          <p:nvCxnSpPr>
            <p:cNvPr id="640" name="Line">
              <a:extLst>
                <a:ext uri="{FF2B5EF4-FFF2-40B4-BE49-F238E27FC236}">
                  <a16:creationId xmlns:a16="http://schemas.microsoft.com/office/drawing/2014/main" id="{C326A183-1B9A-1300-CBEF-97B3410472A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1" name="Line">
              <a:extLst>
                <a:ext uri="{FF2B5EF4-FFF2-40B4-BE49-F238E27FC236}">
                  <a16:creationId xmlns:a16="http://schemas.microsoft.com/office/drawing/2014/main" id="{13E54FB3-A107-8CA6-FFEF-D89D822AEC5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2" name="Shape">
            <a:extLst>
              <a:ext uri="{FF2B5EF4-FFF2-40B4-BE49-F238E27FC236}">
                <a16:creationId xmlns:a16="http://schemas.microsoft.com/office/drawing/2014/main" id="{2FA97F3C-268E-8477-E45E-1FFFF79434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0848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643" name="Shape">
            <a:extLst>
              <a:ext uri="{FF2B5EF4-FFF2-40B4-BE49-F238E27FC236}">
                <a16:creationId xmlns:a16="http://schemas.microsoft.com/office/drawing/2014/main" id="{C596E45C-473F-E05E-DDC7-B6B0CF2D02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9" y="2061400"/>
            <a:ext cx="5760640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644" name="Title">
            <a:extLst>
              <a:ext uri="{FF2B5EF4-FFF2-40B4-BE49-F238E27FC236}">
                <a16:creationId xmlns:a16="http://schemas.microsoft.com/office/drawing/2014/main" id="{ACE24F44-B88E-4F03-9CB9-09766C3AB5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656384" y="2205159"/>
            <a:ext cx="4896000" cy="1368000"/>
          </a:xfrm>
          <a:prstGeom prst="rect">
            <a:avLst/>
          </a:prstGeom>
        </p:spPr>
        <p:txBody>
          <a:bodyPr vert="horz" tIns="54000" anchor="t">
            <a:noAutofit/>
          </a:bodyPr>
          <a:lstStyle>
            <a:lvl1pPr algn="l" rtl="0">
              <a:lnSpc>
                <a:spcPct val="90000"/>
              </a:lnSpc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Insert your long title of presentation here in maximal three lines</a:t>
            </a:r>
            <a:endParaRPr lang="en-US" dirty="0"/>
          </a:p>
        </p:txBody>
      </p:sp>
      <p:sp>
        <p:nvSpPr>
          <p:cNvPr id="645" name="Subtitle 2">
            <a:extLst>
              <a:ext uri="{FF2B5EF4-FFF2-40B4-BE49-F238E27FC236}">
                <a16:creationId xmlns:a16="http://schemas.microsoft.com/office/drawing/2014/main" id="{E2B3BE1C-89C4-7B6D-F2B5-3E0F90CD61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656384" y="3789160"/>
            <a:ext cx="4320000" cy="1080000"/>
          </a:xfrm>
          <a:prstGeom prst="rect">
            <a:avLst/>
          </a:prstGeom>
        </p:spPr>
        <p:txBody>
          <a:bodyPr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637" name="Author">
            <a:extLst>
              <a:ext uri="{FF2B5EF4-FFF2-40B4-BE49-F238E27FC236}">
                <a16:creationId xmlns:a16="http://schemas.microsoft.com/office/drawing/2014/main" id="{6F538EE2-3CAD-FDD4-13B3-62345296EC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400" y="2348992"/>
            <a:ext cx="2520280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US"/>
              <a:t>First name Last name</a:t>
            </a:r>
            <a:endParaRPr lang="en-US" dirty="0"/>
          </a:p>
        </p:txBody>
      </p:sp>
      <p:sp>
        <p:nvSpPr>
          <p:cNvPr id="638" name="Department, Date">
            <a:extLst>
              <a:ext uri="{FF2B5EF4-FFF2-40B4-BE49-F238E27FC236}">
                <a16:creationId xmlns:a16="http://schemas.microsoft.com/office/drawing/2014/main" id="{06E748DC-C0F4-8D9E-697E-A8D574CC21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2564992"/>
            <a:ext cx="2520280" cy="792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US"/>
              <a:t>Department</a:t>
            </a:r>
            <a:br>
              <a:rPr lang="en-US"/>
            </a:br>
            <a:r>
              <a:rPr lang="en-US"/>
              <a:t>DD/MM/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6913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|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1FCAC44-8FD7-2B41-A1C6-C1B509D322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2642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FCAC44-8FD7-2B41-A1C6-C1B509D322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4A98B3A1-E20F-7595-D185-1C8EEA342A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B8B20137-F199-E393-5EE0-ACB8BEC6434F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1478830E-F887-0E62-E477-EF06E64C42E4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53830D0-69AC-0346-FABB-A68224761B99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FDD70874-AFC2-EA49-92A6-28C10D9CC3FB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3643FEF-E927-9C23-CA3E-0DC181BF9615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5EA9197A-CFCE-3A9D-0830-3226CA353AFD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89E22CCE-64F9-AC14-3A1C-01888BAD1969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935B6BB8-BDA7-2955-3E94-834864910D53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731F925A-7223-6A59-FB44-50204326ECFA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6374A56E-2DFA-93F6-BCAE-12DE28631539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E1125EB4-D5E5-21F4-B182-2970CCE94B4E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4B8AF29A-5758-0F50-A86C-0CC07BBD72B6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000BEE2A-C063-4A3F-7DA0-2E756C538091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CBD8DD2F-074C-CC0C-A015-3BC7AF8919B6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E6D7E17F-8202-4A11-53A1-99491A662D62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0DD34B65-2971-619F-1815-2A33E51E2FBF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D46CA613-00E1-B106-3EE3-0C0553D5DBD0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86CEC51C-EE4F-6905-1AAB-72E349178996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669D5474-0EBB-78E1-34B1-35BCA7B98D18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1F9A4FDE-7152-0615-D67D-0C69D414EF3B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CBFF41FF-00C3-1596-DE0F-F8FDC581BEA5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BB114486-CF3E-C523-0AA5-68C8AE111281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037A9DB-ED27-D216-6C90-49CCB42F4476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DE8E6E09-F976-644F-1051-C8B58FF3834C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E0A05E19-ABEC-2669-5916-0F22FB06A0F2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C6746B12-7EE1-E764-796A-45C88E4F35BF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93928A5C-3789-575D-85AA-135EFD43C3E3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ACEA6C11-6BEE-EDC5-EBA3-C4791587E1AA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B4BFF23C-8665-6012-E22A-0D343495AB2A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99C72F9E-9E0B-0BA9-2E5F-CE9146718743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A46015E3-65FC-9E67-97E1-07AEC5DE8FD7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6A03D7DE-FD69-8928-C3DF-0DAF2AF0D65B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3BFED124-7C09-B7F0-625E-3CB4363042C6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5112D53E-966E-3253-6AE2-B9D834530880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60B76A44-CE6A-F303-A373-DF1E39BC425C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1D8FFE0E-29FE-8E1C-AD16-25B3DF09421C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71CDECB8-9D66-A033-61C7-CDFCC5F37F08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F09A9374-8058-21F1-013D-18DBFD342980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9289E1F1-8E4D-A39D-C936-1180B5546BAB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9097477B-B9A0-4A3A-BD83-9443D8200971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0CA17FA4-AD11-7662-D245-1BF12D28E8E1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3C92C836-880E-1359-5C27-16C4962CFF47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DCA0A69C-F699-5590-EB6B-EECA27132FCE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EBBC6D11-5F7E-4215-9502-47AAE60D5541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8FBE57D3-427C-D032-1CE4-BF2922E437F3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777EA34D-A7D8-AEBA-33EE-9C52B5489A58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4B7EB1F6-B237-3C68-061A-E6AD2CC230B3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850F6509-DD2A-D663-0007-BD318F5F26D8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B34454E1-7CB7-C963-1B33-EF97D6F1F6A2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95F3DE75-1DB5-58D0-CDEB-5061B409987A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1F8B7AFA-70C8-798B-AE68-62672396D688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EE6F808D-EF6F-C010-2D1F-7431EE0AB1B9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970060C9-7B99-304E-80BB-6099690AD8CC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8" name="Rechteck 127">
              <a:extLst>
                <a:ext uri="{FF2B5EF4-FFF2-40B4-BE49-F238E27FC236}">
                  <a16:creationId xmlns:a16="http://schemas.microsoft.com/office/drawing/2014/main" id="{B0DB4CFC-5C43-DA54-3FA8-A708220026D2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9" name="Rechteck 128">
              <a:extLst>
                <a:ext uri="{FF2B5EF4-FFF2-40B4-BE49-F238E27FC236}">
                  <a16:creationId xmlns:a16="http://schemas.microsoft.com/office/drawing/2014/main" id="{36FED17E-59DB-98C8-BABB-D4F4E74471FC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415DD269-C4D3-861F-D933-657D11F47371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6500811C-5477-BED1-5D65-71FCB3AAA8A4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CCEE9FC7-CEDA-AB48-47BD-C70D7C42118B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B80971FC-1F7A-F824-A385-E0DB0D13E61C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17CC7E01-BABA-8FFA-2E00-BB0759DD31F2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5" name="Rechteck 134">
              <a:extLst>
                <a:ext uri="{FF2B5EF4-FFF2-40B4-BE49-F238E27FC236}">
                  <a16:creationId xmlns:a16="http://schemas.microsoft.com/office/drawing/2014/main" id="{BF1D2BB5-B9F0-8967-E282-6C4545B65AB0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6" name="Rechteck 135">
              <a:extLst>
                <a:ext uri="{FF2B5EF4-FFF2-40B4-BE49-F238E27FC236}">
                  <a16:creationId xmlns:a16="http://schemas.microsoft.com/office/drawing/2014/main" id="{6BD21AB0-B1CD-D519-63B9-38A4162C28CB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7" name="Rechteck 136">
              <a:extLst>
                <a:ext uri="{FF2B5EF4-FFF2-40B4-BE49-F238E27FC236}">
                  <a16:creationId xmlns:a16="http://schemas.microsoft.com/office/drawing/2014/main" id="{0893A34B-C893-F89A-8A89-4458E08BA262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8" name="Rechteck 137">
              <a:extLst>
                <a:ext uri="{FF2B5EF4-FFF2-40B4-BE49-F238E27FC236}">
                  <a16:creationId xmlns:a16="http://schemas.microsoft.com/office/drawing/2014/main" id="{1A92A88A-C263-DFEA-BF4D-B6B0A6751AA7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9" name="Rechteck 138">
              <a:extLst>
                <a:ext uri="{FF2B5EF4-FFF2-40B4-BE49-F238E27FC236}">
                  <a16:creationId xmlns:a16="http://schemas.microsoft.com/office/drawing/2014/main" id="{8E66EA36-DE78-5C37-ADE2-B83AB8A91113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0" name="Rechteck 139">
              <a:extLst>
                <a:ext uri="{FF2B5EF4-FFF2-40B4-BE49-F238E27FC236}">
                  <a16:creationId xmlns:a16="http://schemas.microsoft.com/office/drawing/2014/main" id="{74482D1A-3034-E422-DDC3-DB22AB9D01AA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1" name="Rechteck 140">
              <a:extLst>
                <a:ext uri="{FF2B5EF4-FFF2-40B4-BE49-F238E27FC236}">
                  <a16:creationId xmlns:a16="http://schemas.microsoft.com/office/drawing/2014/main" id="{552B159F-9A52-ED42-B5CD-2B1528B26580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099D8A44-7D47-9FA5-EB3A-6DC92ECC743E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3" name="Rechteck 142">
              <a:extLst>
                <a:ext uri="{FF2B5EF4-FFF2-40B4-BE49-F238E27FC236}">
                  <a16:creationId xmlns:a16="http://schemas.microsoft.com/office/drawing/2014/main" id="{0F732500-8F14-EEFA-0E55-9E5DD0DA8798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4" name="Rechteck 143">
              <a:extLst>
                <a:ext uri="{FF2B5EF4-FFF2-40B4-BE49-F238E27FC236}">
                  <a16:creationId xmlns:a16="http://schemas.microsoft.com/office/drawing/2014/main" id="{0979B12F-BCE6-7C0C-665F-964A3EA3BA34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5" name="Rechteck 144">
              <a:extLst>
                <a:ext uri="{FF2B5EF4-FFF2-40B4-BE49-F238E27FC236}">
                  <a16:creationId xmlns:a16="http://schemas.microsoft.com/office/drawing/2014/main" id="{84D0E12F-214B-631F-35E2-62858FCC8E0B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6" name="Rechteck 145">
              <a:extLst>
                <a:ext uri="{FF2B5EF4-FFF2-40B4-BE49-F238E27FC236}">
                  <a16:creationId xmlns:a16="http://schemas.microsoft.com/office/drawing/2014/main" id="{84C49CF8-BCF0-1B10-4892-7514EA906C4B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7" name="Rechteck 146">
              <a:extLst>
                <a:ext uri="{FF2B5EF4-FFF2-40B4-BE49-F238E27FC236}">
                  <a16:creationId xmlns:a16="http://schemas.microsoft.com/office/drawing/2014/main" id="{F018000E-6DDD-7A20-17CB-3CD63FC7DE01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8" name="Rechteck 147">
              <a:extLst>
                <a:ext uri="{FF2B5EF4-FFF2-40B4-BE49-F238E27FC236}">
                  <a16:creationId xmlns:a16="http://schemas.microsoft.com/office/drawing/2014/main" id="{AD715E30-8A5A-A4F7-BF0F-0F00385D3902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9" name="Rechteck 148">
              <a:extLst>
                <a:ext uri="{FF2B5EF4-FFF2-40B4-BE49-F238E27FC236}">
                  <a16:creationId xmlns:a16="http://schemas.microsoft.com/office/drawing/2014/main" id="{FB499F2E-528C-0A1A-10CB-17B005CBC7FA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0" name="Rechteck 149">
              <a:extLst>
                <a:ext uri="{FF2B5EF4-FFF2-40B4-BE49-F238E27FC236}">
                  <a16:creationId xmlns:a16="http://schemas.microsoft.com/office/drawing/2014/main" id="{25355802-BC23-BB7D-ACEE-478D5DA6BB35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1" name="Rechteck 150">
              <a:extLst>
                <a:ext uri="{FF2B5EF4-FFF2-40B4-BE49-F238E27FC236}">
                  <a16:creationId xmlns:a16="http://schemas.microsoft.com/office/drawing/2014/main" id="{19D1BD8D-9C95-A810-99E0-74708A2CAEE6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2" name="Rechteck 151">
              <a:extLst>
                <a:ext uri="{FF2B5EF4-FFF2-40B4-BE49-F238E27FC236}">
                  <a16:creationId xmlns:a16="http://schemas.microsoft.com/office/drawing/2014/main" id="{EBD23B6E-A32F-FC28-2BE2-75D33E899959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3" name="Rechteck 152">
              <a:extLst>
                <a:ext uri="{FF2B5EF4-FFF2-40B4-BE49-F238E27FC236}">
                  <a16:creationId xmlns:a16="http://schemas.microsoft.com/office/drawing/2014/main" id="{0D286319-C3D2-C750-A0DE-1EADFB4F50F9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4" name="Rechteck 153">
              <a:extLst>
                <a:ext uri="{FF2B5EF4-FFF2-40B4-BE49-F238E27FC236}">
                  <a16:creationId xmlns:a16="http://schemas.microsoft.com/office/drawing/2014/main" id="{80084DE4-F4E8-19FD-3EE3-88A6B967DA65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5" name="Rechteck 154">
              <a:extLst>
                <a:ext uri="{FF2B5EF4-FFF2-40B4-BE49-F238E27FC236}">
                  <a16:creationId xmlns:a16="http://schemas.microsoft.com/office/drawing/2014/main" id="{E6130D82-7DF3-63F9-0589-1BE327BB6DEB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6" name="Rechteck 155">
              <a:extLst>
                <a:ext uri="{FF2B5EF4-FFF2-40B4-BE49-F238E27FC236}">
                  <a16:creationId xmlns:a16="http://schemas.microsoft.com/office/drawing/2014/main" id="{CAAF93A6-5EE8-2FE1-5CBA-9FDF45961D52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7" name="Rechteck 156">
              <a:extLst>
                <a:ext uri="{FF2B5EF4-FFF2-40B4-BE49-F238E27FC236}">
                  <a16:creationId xmlns:a16="http://schemas.microsoft.com/office/drawing/2014/main" id="{1B785EAB-6599-B203-2DC2-611DD0177CD3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8" name="Rechteck 157">
              <a:extLst>
                <a:ext uri="{FF2B5EF4-FFF2-40B4-BE49-F238E27FC236}">
                  <a16:creationId xmlns:a16="http://schemas.microsoft.com/office/drawing/2014/main" id="{329C1211-2EC5-9DC6-AB47-FD7B393A6767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9" name="Rechteck 158">
              <a:extLst>
                <a:ext uri="{FF2B5EF4-FFF2-40B4-BE49-F238E27FC236}">
                  <a16:creationId xmlns:a16="http://schemas.microsoft.com/office/drawing/2014/main" id="{489DADCA-9233-2830-D32C-129CEC67AAF5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0" name="Rechteck 159">
              <a:extLst>
                <a:ext uri="{FF2B5EF4-FFF2-40B4-BE49-F238E27FC236}">
                  <a16:creationId xmlns:a16="http://schemas.microsoft.com/office/drawing/2014/main" id="{74A59AB0-3F20-DC1A-A1EA-FDAFB6841DBE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1" name="Rechteck 160">
              <a:extLst>
                <a:ext uri="{FF2B5EF4-FFF2-40B4-BE49-F238E27FC236}">
                  <a16:creationId xmlns:a16="http://schemas.microsoft.com/office/drawing/2014/main" id="{5FAE1927-024F-AFE6-F58E-B3D4D41264E8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2" name="Rechteck 161">
              <a:extLst>
                <a:ext uri="{FF2B5EF4-FFF2-40B4-BE49-F238E27FC236}">
                  <a16:creationId xmlns:a16="http://schemas.microsoft.com/office/drawing/2014/main" id="{4E49C5E4-CB14-644B-BB85-6099FF2A2653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3" name="Rechteck 162">
              <a:extLst>
                <a:ext uri="{FF2B5EF4-FFF2-40B4-BE49-F238E27FC236}">
                  <a16:creationId xmlns:a16="http://schemas.microsoft.com/office/drawing/2014/main" id="{B166F63C-1038-F2C3-C0C4-B318433C96B8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4" name="Rechteck 163">
              <a:extLst>
                <a:ext uri="{FF2B5EF4-FFF2-40B4-BE49-F238E27FC236}">
                  <a16:creationId xmlns:a16="http://schemas.microsoft.com/office/drawing/2014/main" id="{A49C998F-5C93-DF4F-F56E-FD949F4C9214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5" name="Rechteck 164">
              <a:extLst>
                <a:ext uri="{FF2B5EF4-FFF2-40B4-BE49-F238E27FC236}">
                  <a16:creationId xmlns:a16="http://schemas.microsoft.com/office/drawing/2014/main" id="{1602AF14-1946-86CB-E0BE-40F2ADDF4B10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6" name="Rechteck 165">
              <a:extLst>
                <a:ext uri="{FF2B5EF4-FFF2-40B4-BE49-F238E27FC236}">
                  <a16:creationId xmlns:a16="http://schemas.microsoft.com/office/drawing/2014/main" id="{0EC2807C-EE40-B606-CC8C-687EE03EBDAB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7" name="Rechteck 166">
              <a:extLst>
                <a:ext uri="{FF2B5EF4-FFF2-40B4-BE49-F238E27FC236}">
                  <a16:creationId xmlns:a16="http://schemas.microsoft.com/office/drawing/2014/main" id="{90C83BFF-07B8-F3B8-E237-9DCBC851469C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8" name="Rechteck 167">
              <a:extLst>
                <a:ext uri="{FF2B5EF4-FFF2-40B4-BE49-F238E27FC236}">
                  <a16:creationId xmlns:a16="http://schemas.microsoft.com/office/drawing/2014/main" id="{7D3F85A2-00FC-39E0-BBF9-E46C7DC4FEFE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9" name="Rechteck 168">
              <a:extLst>
                <a:ext uri="{FF2B5EF4-FFF2-40B4-BE49-F238E27FC236}">
                  <a16:creationId xmlns:a16="http://schemas.microsoft.com/office/drawing/2014/main" id="{0929C0EB-60C0-8B8E-7F04-0BF110DD181A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0" name="Rechteck 169">
              <a:extLst>
                <a:ext uri="{FF2B5EF4-FFF2-40B4-BE49-F238E27FC236}">
                  <a16:creationId xmlns:a16="http://schemas.microsoft.com/office/drawing/2014/main" id="{54402504-4CBE-767B-51DC-7EC6D78AF76A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1" name="Rechteck 170">
              <a:extLst>
                <a:ext uri="{FF2B5EF4-FFF2-40B4-BE49-F238E27FC236}">
                  <a16:creationId xmlns:a16="http://schemas.microsoft.com/office/drawing/2014/main" id="{1A3390CB-C44B-3558-80AF-536DD8209729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2" name="Rechteck 171">
              <a:extLst>
                <a:ext uri="{FF2B5EF4-FFF2-40B4-BE49-F238E27FC236}">
                  <a16:creationId xmlns:a16="http://schemas.microsoft.com/office/drawing/2014/main" id="{BA5D4070-EAB8-89C5-BAF2-3C704D1EE889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3" name="Rechteck 172">
              <a:extLst>
                <a:ext uri="{FF2B5EF4-FFF2-40B4-BE49-F238E27FC236}">
                  <a16:creationId xmlns:a16="http://schemas.microsoft.com/office/drawing/2014/main" id="{9272FDCA-7777-B994-C5AB-0AD6A89C2B60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4" name="Rechteck 173">
              <a:extLst>
                <a:ext uri="{FF2B5EF4-FFF2-40B4-BE49-F238E27FC236}">
                  <a16:creationId xmlns:a16="http://schemas.microsoft.com/office/drawing/2014/main" id="{D459284C-2702-444C-B8F7-CEF21FBC4E44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5" name="Rechteck 174">
              <a:extLst>
                <a:ext uri="{FF2B5EF4-FFF2-40B4-BE49-F238E27FC236}">
                  <a16:creationId xmlns:a16="http://schemas.microsoft.com/office/drawing/2014/main" id="{EA045C2D-8CB2-13E6-F4CF-84815D9A6D29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6" name="Rechteck 185">
              <a:extLst>
                <a:ext uri="{FF2B5EF4-FFF2-40B4-BE49-F238E27FC236}">
                  <a16:creationId xmlns:a16="http://schemas.microsoft.com/office/drawing/2014/main" id="{53E11837-33EE-43D2-7BC3-3E26681054FA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7" name="Rechteck 186">
              <a:extLst>
                <a:ext uri="{FF2B5EF4-FFF2-40B4-BE49-F238E27FC236}">
                  <a16:creationId xmlns:a16="http://schemas.microsoft.com/office/drawing/2014/main" id="{68CD82A8-5574-3627-BCB2-CFC4C98FF248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8" name="Rechteck 187">
              <a:extLst>
                <a:ext uri="{FF2B5EF4-FFF2-40B4-BE49-F238E27FC236}">
                  <a16:creationId xmlns:a16="http://schemas.microsoft.com/office/drawing/2014/main" id="{AB1F08A5-6CEE-FF81-F0AB-AD718DF42205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9" name="Rechteck 188">
              <a:extLst>
                <a:ext uri="{FF2B5EF4-FFF2-40B4-BE49-F238E27FC236}">
                  <a16:creationId xmlns:a16="http://schemas.microsoft.com/office/drawing/2014/main" id="{F3FAB1BA-25D3-2726-5EFB-92A441B436F8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0" name="Rechteck 189">
              <a:extLst>
                <a:ext uri="{FF2B5EF4-FFF2-40B4-BE49-F238E27FC236}">
                  <a16:creationId xmlns:a16="http://schemas.microsoft.com/office/drawing/2014/main" id="{DDEDF475-DA1D-5249-4333-E3360B3E7EF5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30E21277-CB4F-0286-B37A-BC7BCC9D2B74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2" name="Rechteck 191">
              <a:extLst>
                <a:ext uri="{FF2B5EF4-FFF2-40B4-BE49-F238E27FC236}">
                  <a16:creationId xmlns:a16="http://schemas.microsoft.com/office/drawing/2014/main" id="{5BA84C0D-5DA6-5B8C-9998-9466C1A71E31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3" name="Rechteck 192">
              <a:extLst>
                <a:ext uri="{FF2B5EF4-FFF2-40B4-BE49-F238E27FC236}">
                  <a16:creationId xmlns:a16="http://schemas.microsoft.com/office/drawing/2014/main" id="{5D785DE4-8B5C-6317-1EF1-A33902AD8532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4" name="Rechteck 193">
              <a:extLst>
                <a:ext uri="{FF2B5EF4-FFF2-40B4-BE49-F238E27FC236}">
                  <a16:creationId xmlns:a16="http://schemas.microsoft.com/office/drawing/2014/main" id="{D5451349-4FE5-EA61-410A-EF8800698DB2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5" name="Rechteck 194">
              <a:extLst>
                <a:ext uri="{FF2B5EF4-FFF2-40B4-BE49-F238E27FC236}">
                  <a16:creationId xmlns:a16="http://schemas.microsoft.com/office/drawing/2014/main" id="{296101F6-0D8C-19E9-CC29-574D0C540BBF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6" name="Rechteck 195">
              <a:extLst>
                <a:ext uri="{FF2B5EF4-FFF2-40B4-BE49-F238E27FC236}">
                  <a16:creationId xmlns:a16="http://schemas.microsoft.com/office/drawing/2014/main" id="{912AC51C-A3E0-14C0-4C5F-D3147BCE73B8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7" name="Rechteck 196">
              <a:extLst>
                <a:ext uri="{FF2B5EF4-FFF2-40B4-BE49-F238E27FC236}">
                  <a16:creationId xmlns:a16="http://schemas.microsoft.com/office/drawing/2014/main" id="{0FABC33B-D737-C744-67D9-E5A0A6B4D7B1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EF42BA31-27AF-CACE-4B3D-D95669204E29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40467052-1243-52B8-BF51-3B4D3BCB0586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BEC1F705-47C4-9139-8893-01317A50013D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E592C99F-A7F3-09FA-7CC6-D79C38B1393F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3" name="Rechteck 212">
              <a:extLst>
                <a:ext uri="{FF2B5EF4-FFF2-40B4-BE49-F238E27FC236}">
                  <a16:creationId xmlns:a16="http://schemas.microsoft.com/office/drawing/2014/main" id="{65C0C616-63E3-D194-CB20-99DDFBC38089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66B18F05-F5EC-493F-995C-A3D1049FA71F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5" name="Rechteck 214">
              <a:extLst>
                <a:ext uri="{FF2B5EF4-FFF2-40B4-BE49-F238E27FC236}">
                  <a16:creationId xmlns:a16="http://schemas.microsoft.com/office/drawing/2014/main" id="{F9C0680E-4A9E-8DA2-CD84-C47B53B4DE65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6" name="Rechteck 215">
              <a:extLst>
                <a:ext uri="{FF2B5EF4-FFF2-40B4-BE49-F238E27FC236}">
                  <a16:creationId xmlns:a16="http://schemas.microsoft.com/office/drawing/2014/main" id="{4C58B4E0-BD4E-A870-4C87-F5EA7F9EADB0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7" name="Rechteck 216">
              <a:extLst>
                <a:ext uri="{FF2B5EF4-FFF2-40B4-BE49-F238E27FC236}">
                  <a16:creationId xmlns:a16="http://schemas.microsoft.com/office/drawing/2014/main" id="{72B3D559-F282-C66C-E96E-4749B9876E15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8" name="Rechteck 217">
              <a:extLst>
                <a:ext uri="{FF2B5EF4-FFF2-40B4-BE49-F238E27FC236}">
                  <a16:creationId xmlns:a16="http://schemas.microsoft.com/office/drawing/2014/main" id="{6008748E-C38D-3525-1EE2-289E043925EF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9" name="Rechteck 218">
              <a:extLst>
                <a:ext uri="{FF2B5EF4-FFF2-40B4-BE49-F238E27FC236}">
                  <a16:creationId xmlns:a16="http://schemas.microsoft.com/office/drawing/2014/main" id="{5740F1CA-6ED3-4559-B3CE-87D786DA31DB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0" name="Rechteck 219">
              <a:extLst>
                <a:ext uri="{FF2B5EF4-FFF2-40B4-BE49-F238E27FC236}">
                  <a16:creationId xmlns:a16="http://schemas.microsoft.com/office/drawing/2014/main" id="{73C80838-9467-CDDE-610F-A5422C9B28D0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3" name="Rechteck 232">
              <a:extLst>
                <a:ext uri="{FF2B5EF4-FFF2-40B4-BE49-F238E27FC236}">
                  <a16:creationId xmlns:a16="http://schemas.microsoft.com/office/drawing/2014/main" id="{BD259AE9-B717-8BBB-431A-70D911332E9A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4" name="Rechteck 233">
              <a:extLst>
                <a:ext uri="{FF2B5EF4-FFF2-40B4-BE49-F238E27FC236}">
                  <a16:creationId xmlns:a16="http://schemas.microsoft.com/office/drawing/2014/main" id="{FBA34CF0-55B9-9794-8BDB-1831AAE69020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5" name="Rechteck 234">
              <a:extLst>
                <a:ext uri="{FF2B5EF4-FFF2-40B4-BE49-F238E27FC236}">
                  <a16:creationId xmlns:a16="http://schemas.microsoft.com/office/drawing/2014/main" id="{9544C0ED-CABB-CB28-BA4E-DFA1334B7C76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6" name="Rechteck 235">
              <a:extLst>
                <a:ext uri="{FF2B5EF4-FFF2-40B4-BE49-F238E27FC236}">
                  <a16:creationId xmlns:a16="http://schemas.microsoft.com/office/drawing/2014/main" id="{49AB8CF0-6C89-C850-174A-39D0C93C84F5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7" name="Rechteck 236">
              <a:extLst>
                <a:ext uri="{FF2B5EF4-FFF2-40B4-BE49-F238E27FC236}">
                  <a16:creationId xmlns:a16="http://schemas.microsoft.com/office/drawing/2014/main" id="{8FA93304-E1BD-C84E-B8CF-06EC437E10C5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8" name="Rechteck 237">
              <a:extLst>
                <a:ext uri="{FF2B5EF4-FFF2-40B4-BE49-F238E27FC236}">
                  <a16:creationId xmlns:a16="http://schemas.microsoft.com/office/drawing/2014/main" id="{5095509E-7388-3B33-FA2B-D5BB75264E4F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9" name="Rechteck 238">
              <a:extLst>
                <a:ext uri="{FF2B5EF4-FFF2-40B4-BE49-F238E27FC236}">
                  <a16:creationId xmlns:a16="http://schemas.microsoft.com/office/drawing/2014/main" id="{C4F5902A-DFCA-1575-C765-BF96F1DF7C33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0" name="Rechteck 239">
              <a:extLst>
                <a:ext uri="{FF2B5EF4-FFF2-40B4-BE49-F238E27FC236}">
                  <a16:creationId xmlns:a16="http://schemas.microsoft.com/office/drawing/2014/main" id="{875E63A8-0487-8F2B-F910-7247A2BDDA8B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1" name="Rechteck 240">
              <a:extLst>
                <a:ext uri="{FF2B5EF4-FFF2-40B4-BE49-F238E27FC236}">
                  <a16:creationId xmlns:a16="http://schemas.microsoft.com/office/drawing/2014/main" id="{72AE98C3-2A91-89BB-FE25-E47AD1FB1181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2" name="Rechteck 241">
              <a:extLst>
                <a:ext uri="{FF2B5EF4-FFF2-40B4-BE49-F238E27FC236}">
                  <a16:creationId xmlns:a16="http://schemas.microsoft.com/office/drawing/2014/main" id="{9503688D-81C2-1FBA-0693-07C74EC09478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3" name="Rechteck 242">
              <a:extLst>
                <a:ext uri="{FF2B5EF4-FFF2-40B4-BE49-F238E27FC236}">
                  <a16:creationId xmlns:a16="http://schemas.microsoft.com/office/drawing/2014/main" id="{58E40D0A-4E9D-9791-7174-86CE2E05DD0E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4" name="Rechteck 243">
              <a:extLst>
                <a:ext uri="{FF2B5EF4-FFF2-40B4-BE49-F238E27FC236}">
                  <a16:creationId xmlns:a16="http://schemas.microsoft.com/office/drawing/2014/main" id="{1BB3A9E6-970B-8973-9E68-ED2C5AC14C36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5" name="Rechteck 244">
              <a:extLst>
                <a:ext uri="{FF2B5EF4-FFF2-40B4-BE49-F238E27FC236}">
                  <a16:creationId xmlns:a16="http://schemas.microsoft.com/office/drawing/2014/main" id="{24304A77-AD63-F9ED-9508-ECD4A17B5C77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6" name="Rechteck 245">
              <a:extLst>
                <a:ext uri="{FF2B5EF4-FFF2-40B4-BE49-F238E27FC236}">
                  <a16:creationId xmlns:a16="http://schemas.microsoft.com/office/drawing/2014/main" id="{45692114-B459-C47E-2331-A65001BB7BBD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7" name="Rechteck 246">
              <a:extLst>
                <a:ext uri="{FF2B5EF4-FFF2-40B4-BE49-F238E27FC236}">
                  <a16:creationId xmlns:a16="http://schemas.microsoft.com/office/drawing/2014/main" id="{CB8E9975-3576-9861-C664-FBEA227A89A7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8" name="Rechteck 247">
              <a:extLst>
                <a:ext uri="{FF2B5EF4-FFF2-40B4-BE49-F238E27FC236}">
                  <a16:creationId xmlns:a16="http://schemas.microsoft.com/office/drawing/2014/main" id="{D2BD38D3-7B43-83B3-6FF0-F712EE886FAC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9" name="Rechteck 248">
              <a:extLst>
                <a:ext uri="{FF2B5EF4-FFF2-40B4-BE49-F238E27FC236}">
                  <a16:creationId xmlns:a16="http://schemas.microsoft.com/office/drawing/2014/main" id="{A0AC1FC1-4A6C-3AA9-58CB-87961349F6F6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0" name="Rechteck 249">
              <a:extLst>
                <a:ext uri="{FF2B5EF4-FFF2-40B4-BE49-F238E27FC236}">
                  <a16:creationId xmlns:a16="http://schemas.microsoft.com/office/drawing/2014/main" id="{ADB448D9-7F9A-3AF4-0AA3-C43275EBBEF9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1" name="Rechteck 250">
              <a:extLst>
                <a:ext uri="{FF2B5EF4-FFF2-40B4-BE49-F238E27FC236}">
                  <a16:creationId xmlns:a16="http://schemas.microsoft.com/office/drawing/2014/main" id="{1F50700B-6DD1-B6B6-58AC-199FF3DE389A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2" name="Rechteck 251">
              <a:extLst>
                <a:ext uri="{FF2B5EF4-FFF2-40B4-BE49-F238E27FC236}">
                  <a16:creationId xmlns:a16="http://schemas.microsoft.com/office/drawing/2014/main" id="{4F001094-C890-63D8-4084-98BCF75EBA42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3" name="Rechteck 252">
              <a:extLst>
                <a:ext uri="{FF2B5EF4-FFF2-40B4-BE49-F238E27FC236}">
                  <a16:creationId xmlns:a16="http://schemas.microsoft.com/office/drawing/2014/main" id="{99304326-3269-324F-F4E7-7933810BBDF0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4" name="Rechteck 253">
              <a:extLst>
                <a:ext uri="{FF2B5EF4-FFF2-40B4-BE49-F238E27FC236}">
                  <a16:creationId xmlns:a16="http://schemas.microsoft.com/office/drawing/2014/main" id="{A0AE5923-EC7C-1B96-BDCE-B24651E3C6D0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5" name="Rechteck 254">
              <a:extLst>
                <a:ext uri="{FF2B5EF4-FFF2-40B4-BE49-F238E27FC236}">
                  <a16:creationId xmlns:a16="http://schemas.microsoft.com/office/drawing/2014/main" id="{8EE18455-9B8B-3110-FD2F-7A4A5CEAE08B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CCDEC7E3-1DDC-FF77-7860-4BB5BB44BA57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EB77FBAE-687B-8717-E2B8-EA1C15A61638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8838A9A0-770F-8429-4F2C-ABE22D0299F9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9098063D-196F-50ED-0F73-EDBC4D66A11D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D3B7A1CB-A2D7-D2BB-E078-D1B024646325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3A796ED1-1FFF-90DB-B6B6-13F20225AA86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609BFB31-C5B2-5DDF-B7C7-085D089ABFE5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0" name="Rechteck 409">
              <a:extLst>
                <a:ext uri="{FF2B5EF4-FFF2-40B4-BE49-F238E27FC236}">
                  <a16:creationId xmlns:a16="http://schemas.microsoft.com/office/drawing/2014/main" id="{1B53DD90-6493-5417-43FD-EFC7F0F74321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A2B63D19-A8F8-9D1C-0E98-6EF3A5A3C89B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73712A81-6E2D-B507-8B83-AEEBAF2D602C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A2A56C45-6109-75EF-CA48-1F424AB2216A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C7871684-610F-94D2-7346-1ECBBF9E420C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C96F0494-166E-6EFC-96FD-81E388AB75DD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6" name="Rechteck 415">
              <a:extLst>
                <a:ext uri="{FF2B5EF4-FFF2-40B4-BE49-F238E27FC236}">
                  <a16:creationId xmlns:a16="http://schemas.microsoft.com/office/drawing/2014/main" id="{7CD24995-E891-9797-54FE-721560EF5A59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C2F87D98-69BC-BCA1-941D-A5426EA61D49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8" name="Rechteck 417">
              <a:extLst>
                <a:ext uri="{FF2B5EF4-FFF2-40B4-BE49-F238E27FC236}">
                  <a16:creationId xmlns:a16="http://schemas.microsoft.com/office/drawing/2014/main" id="{B177DF16-DE3A-4B8D-5CC0-330EA22D43EA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9" name="Rechteck 418">
              <a:extLst>
                <a:ext uri="{FF2B5EF4-FFF2-40B4-BE49-F238E27FC236}">
                  <a16:creationId xmlns:a16="http://schemas.microsoft.com/office/drawing/2014/main" id="{A292A115-0C83-4473-3FEE-B7E564BCC6B5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0" name="Rechteck 419">
              <a:extLst>
                <a:ext uri="{FF2B5EF4-FFF2-40B4-BE49-F238E27FC236}">
                  <a16:creationId xmlns:a16="http://schemas.microsoft.com/office/drawing/2014/main" id="{5D5C11D3-A1D7-89C9-5DE6-760692876280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1" name="Rechteck 420">
              <a:extLst>
                <a:ext uri="{FF2B5EF4-FFF2-40B4-BE49-F238E27FC236}">
                  <a16:creationId xmlns:a16="http://schemas.microsoft.com/office/drawing/2014/main" id="{C34B84DD-2618-186E-95CC-850F98757E7A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2" name="Rechteck 421">
              <a:extLst>
                <a:ext uri="{FF2B5EF4-FFF2-40B4-BE49-F238E27FC236}">
                  <a16:creationId xmlns:a16="http://schemas.microsoft.com/office/drawing/2014/main" id="{24DED307-8F4C-20AF-22D3-EE502BF8ADB7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3" name="Rechteck 422">
              <a:extLst>
                <a:ext uri="{FF2B5EF4-FFF2-40B4-BE49-F238E27FC236}">
                  <a16:creationId xmlns:a16="http://schemas.microsoft.com/office/drawing/2014/main" id="{08870CBE-035A-3C58-6BFF-DF75293134F6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4" name="Rechteck 423">
              <a:extLst>
                <a:ext uri="{FF2B5EF4-FFF2-40B4-BE49-F238E27FC236}">
                  <a16:creationId xmlns:a16="http://schemas.microsoft.com/office/drawing/2014/main" id="{FBE8440A-E7C3-1F13-1296-B69AF71C517A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5" name="Rechteck 424">
              <a:extLst>
                <a:ext uri="{FF2B5EF4-FFF2-40B4-BE49-F238E27FC236}">
                  <a16:creationId xmlns:a16="http://schemas.microsoft.com/office/drawing/2014/main" id="{C42048B3-D774-7B3E-35B3-5F647E60CE3A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6" name="Rechteck 425">
              <a:extLst>
                <a:ext uri="{FF2B5EF4-FFF2-40B4-BE49-F238E27FC236}">
                  <a16:creationId xmlns:a16="http://schemas.microsoft.com/office/drawing/2014/main" id="{45E1A82D-10D8-2BC1-AB8E-7F963F97AD10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7" name="Rechteck 426">
              <a:extLst>
                <a:ext uri="{FF2B5EF4-FFF2-40B4-BE49-F238E27FC236}">
                  <a16:creationId xmlns:a16="http://schemas.microsoft.com/office/drawing/2014/main" id="{AF346ABF-461C-E17F-4EE5-793C01E1A631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8" name="Rechteck 427">
              <a:extLst>
                <a:ext uri="{FF2B5EF4-FFF2-40B4-BE49-F238E27FC236}">
                  <a16:creationId xmlns:a16="http://schemas.microsoft.com/office/drawing/2014/main" id="{996EF72D-77ED-2942-83AD-08D7183F1579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9" name="Rechteck 428">
              <a:extLst>
                <a:ext uri="{FF2B5EF4-FFF2-40B4-BE49-F238E27FC236}">
                  <a16:creationId xmlns:a16="http://schemas.microsoft.com/office/drawing/2014/main" id="{0631EC10-D54D-7B10-7404-EFC2E1BC4D78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0" name="Rechteck 429">
              <a:extLst>
                <a:ext uri="{FF2B5EF4-FFF2-40B4-BE49-F238E27FC236}">
                  <a16:creationId xmlns:a16="http://schemas.microsoft.com/office/drawing/2014/main" id="{CCA997D9-D344-2D0A-D222-2FEE2B8D7A15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1" name="Rechteck 430">
              <a:extLst>
                <a:ext uri="{FF2B5EF4-FFF2-40B4-BE49-F238E27FC236}">
                  <a16:creationId xmlns:a16="http://schemas.microsoft.com/office/drawing/2014/main" id="{F72E513D-CA70-E03D-5E7D-2314CA362880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2" name="Rechteck 431">
              <a:extLst>
                <a:ext uri="{FF2B5EF4-FFF2-40B4-BE49-F238E27FC236}">
                  <a16:creationId xmlns:a16="http://schemas.microsoft.com/office/drawing/2014/main" id="{10B60DE1-666F-87BA-BACB-B0676BF1C96F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3" name="Rechteck 432">
              <a:extLst>
                <a:ext uri="{FF2B5EF4-FFF2-40B4-BE49-F238E27FC236}">
                  <a16:creationId xmlns:a16="http://schemas.microsoft.com/office/drawing/2014/main" id="{FCA2B3EC-EB8A-2CA4-6E48-44E2EC63EEE3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4" name="Rechteck 433">
              <a:extLst>
                <a:ext uri="{FF2B5EF4-FFF2-40B4-BE49-F238E27FC236}">
                  <a16:creationId xmlns:a16="http://schemas.microsoft.com/office/drawing/2014/main" id="{252ABFC4-EFC3-000C-5AA2-11A006BFA3F7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5" name="Rechteck 434">
              <a:extLst>
                <a:ext uri="{FF2B5EF4-FFF2-40B4-BE49-F238E27FC236}">
                  <a16:creationId xmlns:a16="http://schemas.microsoft.com/office/drawing/2014/main" id="{27092503-557F-D776-DED7-2732FE6D0263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6" name="Rechteck 435">
              <a:extLst>
                <a:ext uri="{FF2B5EF4-FFF2-40B4-BE49-F238E27FC236}">
                  <a16:creationId xmlns:a16="http://schemas.microsoft.com/office/drawing/2014/main" id="{EF1C5E2C-DA16-6C0D-BA3B-AA076F00C448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7" name="Rechteck 436">
              <a:extLst>
                <a:ext uri="{FF2B5EF4-FFF2-40B4-BE49-F238E27FC236}">
                  <a16:creationId xmlns:a16="http://schemas.microsoft.com/office/drawing/2014/main" id="{8C8CA615-4D21-64D2-235A-2B75991C149F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8" name="Rechteck 437">
              <a:extLst>
                <a:ext uri="{FF2B5EF4-FFF2-40B4-BE49-F238E27FC236}">
                  <a16:creationId xmlns:a16="http://schemas.microsoft.com/office/drawing/2014/main" id="{BED583A2-B635-BD52-307A-368D9C757A95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9" name="Rechteck 438">
              <a:extLst>
                <a:ext uri="{FF2B5EF4-FFF2-40B4-BE49-F238E27FC236}">
                  <a16:creationId xmlns:a16="http://schemas.microsoft.com/office/drawing/2014/main" id="{8BDAB217-CBAD-1185-D56E-6C247685BF90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0" name="Rechteck 439">
              <a:extLst>
                <a:ext uri="{FF2B5EF4-FFF2-40B4-BE49-F238E27FC236}">
                  <a16:creationId xmlns:a16="http://schemas.microsoft.com/office/drawing/2014/main" id="{F4C79D80-DB83-8C74-F89F-4191B507522B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1" name="Rechteck 440">
              <a:extLst>
                <a:ext uri="{FF2B5EF4-FFF2-40B4-BE49-F238E27FC236}">
                  <a16:creationId xmlns:a16="http://schemas.microsoft.com/office/drawing/2014/main" id="{821A838F-9907-5F7D-2E3D-4C196084BE81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2" name="Rechteck 441">
              <a:extLst>
                <a:ext uri="{FF2B5EF4-FFF2-40B4-BE49-F238E27FC236}">
                  <a16:creationId xmlns:a16="http://schemas.microsoft.com/office/drawing/2014/main" id="{1D7DF9D5-C0ED-3DD2-9ABB-C3789A3BAEEA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3" name="Rechteck 442">
              <a:extLst>
                <a:ext uri="{FF2B5EF4-FFF2-40B4-BE49-F238E27FC236}">
                  <a16:creationId xmlns:a16="http://schemas.microsoft.com/office/drawing/2014/main" id="{5AC73D31-377E-E09B-A2FC-C0FB8F62488D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pic>
        <p:nvPicPr>
          <p:cNvPr id="444" name="Logo">
            <a:extLst>
              <a:ext uri="{FF2B5EF4-FFF2-40B4-BE49-F238E27FC236}">
                <a16:creationId xmlns:a16="http://schemas.microsoft.com/office/drawing/2014/main" id="{CE584E9F-DEC8-A5CF-4775-B6BFA1E3E6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  <p:grpSp>
        <p:nvGrpSpPr>
          <p:cNvPr id="447" name="Gruppieren 446">
            <a:extLst>
              <a:ext uri="{FF2B5EF4-FFF2-40B4-BE49-F238E27FC236}">
                <a16:creationId xmlns:a16="http://schemas.microsoft.com/office/drawing/2014/main" id="{9221AE83-A768-FF01-7E3B-1F4CCD5E25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1" y="2082829"/>
            <a:ext cx="2448000" cy="0"/>
            <a:chOff x="983432" y="2082829"/>
            <a:chExt cx="2448000" cy="0"/>
          </a:xfrm>
        </p:grpSpPr>
        <p:cxnSp>
          <p:nvCxnSpPr>
            <p:cNvPr id="448" name="Line">
              <a:extLst>
                <a:ext uri="{FF2B5EF4-FFF2-40B4-BE49-F238E27FC236}">
                  <a16:creationId xmlns:a16="http://schemas.microsoft.com/office/drawing/2014/main" id="{86031114-3701-5696-C982-5ABBF728528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9" name="Line">
              <a:extLst>
                <a:ext uri="{FF2B5EF4-FFF2-40B4-BE49-F238E27FC236}">
                  <a16:creationId xmlns:a16="http://schemas.microsoft.com/office/drawing/2014/main" id="{6F3E068D-F556-32C3-9957-7CB9998D428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rgbClr val="519FB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0" name="Shape">
            <a:extLst>
              <a:ext uri="{FF2B5EF4-FFF2-40B4-BE49-F238E27FC236}">
                <a16:creationId xmlns:a16="http://schemas.microsoft.com/office/drawing/2014/main" id="{837136DD-75B7-A9DA-2446-136A878556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0848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451" name="Shape">
            <a:extLst>
              <a:ext uri="{FF2B5EF4-FFF2-40B4-BE49-F238E27FC236}">
                <a16:creationId xmlns:a16="http://schemas.microsoft.com/office/drawing/2014/main" id="{7B55139D-F664-9DDA-93E0-37843A536C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9" y="2061400"/>
            <a:ext cx="5760640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rgbClr val="519FBC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452" name="Title">
            <a:extLst>
              <a:ext uri="{FF2B5EF4-FFF2-40B4-BE49-F238E27FC236}">
                <a16:creationId xmlns:a16="http://schemas.microsoft.com/office/drawing/2014/main" id="{774EE29A-906D-1695-B556-7921AE38B61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656384" y="2205159"/>
            <a:ext cx="4896000" cy="1368000"/>
          </a:xfrm>
          <a:prstGeom prst="rect">
            <a:avLst/>
          </a:prstGeom>
        </p:spPr>
        <p:txBody>
          <a:bodyPr vert="horz" tIns="54000" anchor="t">
            <a:noAutofit/>
          </a:bodyPr>
          <a:lstStyle>
            <a:lvl1pPr algn="l" rtl="0">
              <a:lnSpc>
                <a:spcPct val="90000"/>
              </a:lnSpc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Insert your long title of presentation here in maximal three lines</a:t>
            </a:r>
            <a:endParaRPr lang="en-US" dirty="0"/>
          </a:p>
        </p:txBody>
      </p:sp>
      <p:sp>
        <p:nvSpPr>
          <p:cNvPr id="453" name="Subtitle 2">
            <a:extLst>
              <a:ext uri="{FF2B5EF4-FFF2-40B4-BE49-F238E27FC236}">
                <a16:creationId xmlns:a16="http://schemas.microsoft.com/office/drawing/2014/main" id="{382A9A11-D3F4-D45B-BFB1-A6B1DFAB09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656384" y="3789160"/>
            <a:ext cx="4320000" cy="1080000"/>
          </a:xfrm>
          <a:prstGeom prst="rect">
            <a:avLst/>
          </a:prstGeom>
        </p:spPr>
        <p:txBody>
          <a:bodyPr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445" name="Author">
            <a:extLst>
              <a:ext uri="{FF2B5EF4-FFF2-40B4-BE49-F238E27FC236}">
                <a16:creationId xmlns:a16="http://schemas.microsoft.com/office/drawing/2014/main" id="{931527DE-A27C-5CCB-6547-4533CCC98E2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400" y="2348992"/>
            <a:ext cx="2520280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US"/>
              <a:t>First name Last name</a:t>
            </a:r>
            <a:endParaRPr lang="en-US" dirty="0"/>
          </a:p>
        </p:txBody>
      </p:sp>
      <p:sp>
        <p:nvSpPr>
          <p:cNvPr id="446" name="Department, Date">
            <a:extLst>
              <a:ext uri="{FF2B5EF4-FFF2-40B4-BE49-F238E27FC236}">
                <a16:creationId xmlns:a16="http://schemas.microsoft.com/office/drawing/2014/main" id="{BAD87A5D-873C-7705-7929-63D50E45AD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2564992"/>
            <a:ext cx="2520280" cy="792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US"/>
              <a:t>Department</a:t>
            </a:r>
            <a:br>
              <a:rPr lang="en-US"/>
            </a:br>
            <a:r>
              <a:rPr lang="en-US"/>
              <a:t>DD/MM/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17242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| Magent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B0098CF-DBC2-96F6-F4D1-8FA4E6FC70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1105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0098CF-DBC2-96F6-F4D1-8FA4E6FC70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F82CCF50-AC8D-71AA-CBE7-91CD8E4F31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F1D45EF1-1413-2179-1179-9D95C3347955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31ECF7D-4D5E-6CE7-8B6E-6AFE834483D0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5E42FB58-7083-1C5F-E4A0-08F64FC059B2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664E6B38-6346-3095-8090-D2D9E38AB9A2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20F86035-04B5-F5C8-CE41-6579B114C488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938D8A27-30C2-EB83-16AC-C7F5349B5395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2" name="Rechteck 171">
              <a:extLst>
                <a:ext uri="{FF2B5EF4-FFF2-40B4-BE49-F238E27FC236}">
                  <a16:creationId xmlns:a16="http://schemas.microsoft.com/office/drawing/2014/main" id="{16BB91D7-E7B6-EF7A-A1CD-03E0CE9C380E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3" name="Rechteck 172">
              <a:extLst>
                <a:ext uri="{FF2B5EF4-FFF2-40B4-BE49-F238E27FC236}">
                  <a16:creationId xmlns:a16="http://schemas.microsoft.com/office/drawing/2014/main" id="{B74522FD-EAC1-8631-C335-737D38AB4D84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37F35849-A141-C30A-132A-ABA53F763516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F91649A4-3EF4-AF64-04BE-C5197DC40B86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FE505EA5-9AB6-4C84-F856-A92E9AE3962F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2298381E-6F93-21E2-303C-B4CC379F76E2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3" name="Rechteck 212">
              <a:extLst>
                <a:ext uri="{FF2B5EF4-FFF2-40B4-BE49-F238E27FC236}">
                  <a16:creationId xmlns:a16="http://schemas.microsoft.com/office/drawing/2014/main" id="{A9A2761B-9283-EA11-00DE-9E34DA9CA034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39368781-2621-7E6A-AB49-25EAA7A408CC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5" name="Rechteck 214">
              <a:extLst>
                <a:ext uri="{FF2B5EF4-FFF2-40B4-BE49-F238E27FC236}">
                  <a16:creationId xmlns:a16="http://schemas.microsoft.com/office/drawing/2014/main" id="{E799809A-1F99-F902-C843-4C6028CFFA1B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6" name="Rechteck 215">
              <a:extLst>
                <a:ext uri="{FF2B5EF4-FFF2-40B4-BE49-F238E27FC236}">
                  <a16:creationId xmlns:a16="http://schemas.microsoft.com/office/drawing/2014/main" id="{0E6D5FDF-2B76-9E9A-53BA-ED656E72EA7F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7" name="Rechteck 216">
              <a:extLst>
                <a:ext uri="{FF2B5EF4-FFF2-40B4-BE49-F238E27FC236}">
                  <a16:creationId xmlns:a16="http://schemas.microsoft.com/office/drawing/2014/main" id="{EFAE6407-C778-8873-CB85-EE763AAB9F61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8" name="Rechteck 217">
              <a:extLst>
                <a:ext uri="{FF2B5EF4-FFF2-40B4-BE49-F238E27FC236}">
                  <a16:creationId xmlns:a16="http://schemas.microsoft.com/office/drawing/2014/main" id="{1209747A-6209-09A5-CC1D-1194157A6539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9" name="Rechteck 218">
              <a:extLst>
                <a:ext uri="{FF2B5EF4-FFF2-40B4-BE49-F238E27FC236}">
                  <a16:creationId xmlns:a16="http://schemas.microsoft.com/office/drawing/2014/main" id="{507C611C-2D4F-4B39-C4BC-1E8E39B6C2FC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0" name="Rechteck 219">
              <a:extLst>
                <a:ext uri="{FF2B5EF4-FFF2-40B4-BE49-F238E27FC236}">
                  <a16:creationId xmlns:a16="http://schemas.microsoft.com/office/drawing/2014/main" id="{929E5C75-2F11-A324-5C09-A5FFDCCFF3D3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1" name="Rechteck 220">
              <a:extLst>
                <a:ext uri="{FF2B5EF4-FFF2-40B4-BE49-F238E27FC236}">
                  <a16:creationId xmlns:a16="http://schemas.microsoft.com/office/drawing/2014/main" id="{C64C9CC6-3D80-F396-C8ED-0C4A332484AA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2" name="Rechteck 221">
              <a:extLst>
                <a:ext uri="{FF2B5EF4-FFF2-40B4-BE49-F238E27FC236}">
                  <a16:creationId xmlns:a16="http://schemas.microsoft.com/office/drawing/2014/main" id="{29EFDB8E-770D-9D67-90DC-249C243CB8EF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3" name="Rechteck 222">
              <a:extLst>
                <a:ext uri="{FF2B5EF4-FFF2-40B4-BE49-F238E27FC236}">
                  <a16:creationId xmlns:a16="http://schemas.microsoft.com/office/drawing/2014/main" id="{852EAC4E-0B42-47E7-B0B0-302D2D8321EE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4" name="Rechteck 223">
              <a:extLst>
                <a:ext uri="{FF2B5EF4-FFF2-40B4-BE49-F238E27FC236}">
                  <a16:creationId xmlns:a16="http://schemas.microsoft.com/office/drawing/2014/main" id="{FA579DF0-7795-03E7-7CAB-0E4FC2AE5FAE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DCE22264-E28D-AFEE-3914-8F8511D5FA5F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D08DA59B-5593-F3BF-7FC3-0FC358200802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7" name="Rechteck 226">
              <a:extLst>
                <a:ext uri="{FF2B5EF4-FFF2-40B4-BE49-F238E27FC236}">
                  <a16:creationId xmlns:a16="http://schemas.microsoft.com/office/drawing/2014/main" id="{35563DD8-35ED-43F2-72B2-F0E25AC11A8D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B23906F4-E896-3A96-B396-6D3694FD35BB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9" name="Rechteck 228">
              <a:extLst>
                <a:ext uri="{FF2B5EF4-FFF2-40B4-BE49-F238E27FC236}">
                  <a16:creationId xmlns:a16="http://schemas.microsoft.com/office/drawing/2014/main" id="{ADCE39CB-ECFD-B3CA-C1F9-0EE6A072A4AE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0" name="Rechteck 229">
              <a:extLst>
                <a:ext uri="{FF2B5EF4-FFF2-40B4-BE49-F238E27FC236}">
                  <a16:creationId xmlns:a16="http://schemas.microsoft.com/office/drawing/2014/main" id="{EB9FF971-B82A-D748-6034-8E7759739D90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1" name="Rechteck 230">
              <a:extLst>
                <a:ext uri="{FF2B5EF4-FFF2-40B4-BE49-F238E27FC236}">
                  <a16:creationId xmlns:a16="http://schemas.microsoft.com/office/drawing/2014/main" id="{F6A37980-C02A-A7D8-D1DB-255989FE1536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2" name="Rechteck 231">
              <a:extLst>
                <a:ext uri="{FF2B5EF4-FFF2-40B4-BE49-F238E27FC236}">
                  <a16:creationId xmlns:a16="http://schemas.microsoft.com/office/drawing/2014/main" id="{22FCA950-F21C-DCD9-1582-3A04CA07531B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3" name="Rechteck 232">
              <a:extLst>
                <a:ext uri="{FF2B5EF4-FFF2-40B4-BE49-F238E27FC236}">
                  <a16:creationId xmlns:a16="http://schemas.microsoft.com/office/drawing/2014/main" id="{664178BE-D70D-B339-33C6-9ED9D7F758CB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4" name="Rechteck 233">
              <a:extLst>
                <a:ext uri="{FF2B5EF4-FFF2-40B4-BE49-F238E27FC236}">
                  <a16:creationId xmlns:a16="http://schemas.microsoft.com/office/drawing/2014/main" id="{B5B1E0EA-7711-E4DA-6672-40BAF0A4D261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5" name="Rechteck 234">
              <a:extLst>
                <a:ext uri="{FF2B5EF4-FFF2-40B4-BE49-F238E27FC236}">
                  <a16:creationId xmlns:a16="http://schemas.microsoft.com/office/drawing/2014/main" id="{72B62C78-1900-EA6E-43B8-3F4E23A465A9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6" name="Rechteck 235">
              <a:extLst>
                <a:ext uri="{FF2B5EF4-FFF2-40B4-BE49-F238E27FC236}">
                  <a16:creationId xmlns:a16="http://schemas.microsoft.com/office/drawing/2014/main" id="{ACAE0931-D038-4BD2-20B8-EE05B9EAA041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7" name="Rechteck 236">
              <a:extLst>
                <a:ext uri="{FF2B5EF4-FFF2-40B4-BE49-F238E27FC236}">
                  <a16:creationId xmlns:a16="http://schemas.microsoft.com/office/drawing/2014/main" id="{4EB2539E-5A60-DCC9-FA20-C3E732D96E65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8" name="Rechteck 237">
              <a:extLst>
                <a:ext uri="{FF2B5EF4-FFF2-40B4-BE49-F238E27FC236}">
                  <a16:creationId xmlns:a16="http://schemas.microsoft.com/office/drawing/2014/main" id="{1814B4FB-2CAA-7EB1-C773-88527B1267EF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9" name="Rechteck 238">
              <a:extLst>
                <a:ext uri="{FF2B5EF4-FFF2-40B4-BE49-F238E27FC236}">
                  <a16:creationId xmlns:a16="http://schemas.microsoft.com/office/drawing/2014/main" id="{EA886707-B801-22A0-F0E9-AC0C8D58EE0A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0" name="Rechteck 239">
              <a:extLst>
                <a:ext uri="{FF2B5EF4-FFF2-40B4-BE49-F238E27FC236}">
                  <a16:creationId xmlns:a16="http://schemas.microsoft.com/office/drawing/2014/main" id="{8652C363-740C-F649-A2F4-065CBAC49F06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1" name="Rechteck 240">
              <a:extLst>
                <a:ext uri="{FF2B5EF4-FFF2-40B4-BE49-F238E27FC236}">
                  <a16:creationId xmlns:a16="http://schemas.microsoft.com/office/drawing/2014/main" id="{E9552B0B-28DE-4291-210B-0D845A12E9A3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2" name="Rechteck 241">
              <a:extLst>
                <a:ext uri="{FF2B5EF4-FFF2-40B4-BE49-F238E27FC236}">
                  <a16:creationId xmlns:a16="http://schemas.microsoft.com/office/drawing/2014/main" id="{BC8B5324-AC0D-867C-CC6D-BC6118077141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3" name="Rechteck 242">
              <a:extLst>
                <a:ext uri="{FF2B5EF4-FFF2-40B4-BE49-F238E27FC236}">
                  <a16:creationId xmlns:a16="http://schemas.microsoft.com/office/drawing/2014/main" id="{BDB5714C-7FB7-69C3-BC66-0BAD63AF4DC4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4" name="Rechteck 243">
              <a:extLst>
                <a:ext uri="{FF2B5EF4-FFF2-40B4-BE49-F238E27FC236}">
                  <a16:creationId xmlns:a16="http://schemas.microsoft.com/office/drawing/2014/main" id="{926BA2AC-73A1-6C36-0EAA-A13CAFA16BC6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5" name="Rechteck 244">
              <a:extLst>
                <a:ext uri="{FF2B5EF4-FFF2-40B4-BE49-F238E27FC236}">
                  <a16:creationId xmlns:a16="http://schemas.microsoft.com/office/drawing/2014/main" id="{EF571841-CD57-0F3E-EF77-C655169A5CB0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6" name="Rechteck 245">
              <a:extLst>
                <a:ext uri="{FF2B5EF4-FFF2-40B4-BE49-F238E27FC236}">
                  <a16:creationId xmlns:a16="http://schemas.microsoft.com/office/drawing/2014/main" id="{C8E0BF00-836D-BD68-9560-FE57E6D4FC7D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7" name="Rechteck 246">
              <a:extLst>
                <a:ext uri="{FF2B5EF4-FFF2-40B4-BE49-F238E27FC236}">
                  <a16:creationId xmlns:a16="http://schemas.microsoft.com/office/drawing/2014/main" id="{C805ED61-D2A9-1476-4E64-893A49664AC2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8" name="Rechteck 247">
              <a:extLst>
                <a:ext uri="{FF2B5EF4-FFF2-40B4-BE49-F238E27FC236}">
                  <a16:creationId xmlns:a16="http://schemas.microsoft.com/office/drawing/2014/main" id="{3A9089DC-9049-6A13-1566-EC964C321CCB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9" name="Rechteck 248">
              <a:extLst>
                <a:ext uri="{FF2B5EF4-FFF2-40B4-BE49-F238E27FC236}">
                  <a16:creationId xmlns:a16="http://schemas.microsoft.com/office/drawing/2014/main" id="{FB842C0A-7B84-910A-FDEA-055E983E00EB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0" name="Rechteck 249">
              <a:extLst>
                <a:ext uri="{FF2B5EF4-FFF2-40B4-BE49-F238E27FC236}">
                  <a16:creationId xmlns:a16="http://schemas.microsoft.com/office/drawing/2014/main" id="{48873349-850F-61DB-9C6E-6B025FFCA9F1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1" name="Rechteck 250">
              <a:extLst>
                <a:ext uri="{FF2B5EF4-FFF2-40B4-BE49-F238E27FC236}">
                  <a16:creationId xmlns:a16="http://schemas.microsoft.com/office/drawing/2014/main" id="{E668CCD0-074F-5014-3343-67409E7C943F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2" name="Rechteck 251">
              <a:extLst>
                <a:ext uri="{FF2B5EF4-FFF2-40B4-BE49-F238E27FC236}">
                  <a16:creationId xmlns:a16="http://schemas.microsoft.com/office/drawing/2014/main" id="{FDC70A77-43C1-8639-4BA3-03E914874015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3" name="Rechteck 252">
              <a:extLst>
                <a:ext uri="{FF2B5EF4-FFF2-40B4-BE49-F238E27FC236}">
                  <a16:creationId xmlns:a16="http://schemas.microsoft.com/office/drawing/2014/main" id="{9B470030-211F-142F-778C-9D3904FBC09B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4" name="Rechteck 253">
              <a:extLst>
                <a:ext uri="{FF2B5EF4-FFF2-40B4-BE49-F238E27FC236}">
                  <a16:creationId xmlns:a16="http://schemas.microsoft.com/office/drawing/2014/main" id="{70190B47-C519-5BEF-98CA-D3E5B14AED6B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5" name="Rechteck 254">
              <a:extLst>
                <a:ext uri="{FF2B5EF4-FFF2-40B4-BE49-F238E27FC236}">
                  <a16:creationId xmlns:a16="http://schemas.microsoft.com/office/drawing/2014/main" id="{7E9921D4-6AE9-4ADA-F3BE-F87D697BDEC6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7739BDFF-180C-390E-E4D9-85C74133980F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3CA1F511-4678-17A2-1691-7EFAC378DA4D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1EC4D92B-F50A-BF43-4E6F-2BE3222C4A8D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EFBDC69A-B7FC-172F-24A5-48DDF473360E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8057ED5E-9276-B070-0428-2372C52AA551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9021EE4E-05F0-CCA4-7A88-D740D8B01654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60E681C1-AA2A-8B45-97BA-8F54B2F2153C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6DF70FE7-E4C3-4D8D-40A6-98343B423CAF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351E1E4E-667A-05CC-8975-86E6B95C7432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05E04E42-7A0E-B810-DEDE-BE1A45B677BA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43525712-0C94-F118-DB74-563D27BAF641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D74385FC-1323-B0D1-5EB1-31067A0C1D9A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7362D7B9-3A45-106F-4604-03354DAA1019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A246ECF1-BD1A-4457-F0B0-9215694C73A9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0" name="Rechteck 269">
              <a:extLst>
                <a:ext uri="{FF2B5EF4-FFF2-40B4-BE49-F238E27FC236}">
                  <a16:creationId xmlns:a16="http://schemas.microsoft.com/office/drawing/2014/main" id="{885A6630-F457-3D57-97E5-B37C9B442C47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1" name="Rechteck 270">
              <a:extLst>
                <a:ext uri="{FF2B5EF4-FFF2-40B4-BE49-F238E27FC236}">
                  <a16:creationId xmlns:a16="http://schemas.microsoft.com/office/drawing/2014/main" id="{82AFF486-9B3E-E999-D9DD-E55BF78A6835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9065781A-A3C7-9C9E-1E9A-46361C239FFD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E798BB9C-87FB-6E23-0621-D41755F865D8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7193340B-9801-4D78-A200-7B83099FD128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860DB300-8445-DB07-1913-14C8A98459C2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057A437E-4D2C-960E-8A5C-97213E8CFEA2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489E7755-77B6-145E-DDE3-70D291A43E3E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265A5581-45D2-BA58-1C02-55186D440866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673D37DB-4337-FE1C-6615-4657CC415517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52B0293E-6496-8D24-1453-CFDF83F8CFB3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C87B4648-B6B3-667A-94B3-AD77A3D9E62A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DBD53BE0-CAA0-B255-6851-F7CE735F9B5D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3" name="Rechteck 282">
              <a:extLst>
                <a:ext uri="{FF2B5EF4-FFF2-40B4-BE49-F238E27FC236}">
                  <a16:creationId xmlns:a16="http://schemas.microsoft.com/office/drawing/2014/main" id="{458EC90F-78E7-73AF-3389-C31FD510732A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0E586992-3C07-8BC5-46FE-06525DAC2A8E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84071912-14F1-54E7-B535-1610C1C6931B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FB94E6ED-A4EB-8354-6378-3440B0BAE8A9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FF01F104-55FF-F0B9-0EFA-22835DB146A2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EF04B698-9714-D915-BF55-63D3B1990489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2A4388E0-2B5B-2373-F308-6E82E26D1AD1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0025A6DE-EB02-7E21-BE1A-72D6D04B2DD2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6512F9F9-5D21-FE7A-B27E-37708495EEB1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4EAE6FC6-3020-76E8-1758-01ACCD855CEC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0DCD3B8F-B48D-8192-1D24-ADF3C810F0E2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3B090F12-B2AF-7BF0-C328-32FB0028C231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0035B1EF-2F52-C4EA-F58B-EF79D7762E7F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2F01DD9B-CF3E-D01C-2721-4C23F48C8712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4E0C8342-2468-C416-D418-CCC48E30CE4B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8D1EF65B-1AC3-E653-A9B0-9C57872E0001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EF56C678-A96E-2C6E-ECB8-450E8245CEE9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81950E06-DDEA-0574-2B50-D95A76C3C161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CFFF59EE-4BC5-D7FC-6BD3-8DB7E80C7DA3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CE8E5665-841D-439D-88F9-C0482D213167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D51C9449-A3AC-EB89-4852-421D2A670377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C57FFAAC-E227-D0ED-AFED-5C9BD33A3AAD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1E886C4F-096D-71CF-7C4D-DF86BD55D9A7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69053717-98E1-683D-BAD1-082785210534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9DFD58B2-8138-B7FF-224D-8713A4070833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5D79BECC-0554-89E6-FF01-E4B43E5FB58E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8721D6C0-EB7F-25FB-3032-D0A24D1CD931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E5FF118A-F75E-E9D0-2A74-1AE891020EEF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C1467030-00D9-1604-1296-C10E4620710E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4E8CFE52-7F20-1A6F-2FB9-E9AB6FBC6535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192AB724-786F-5456-0327-BA9658F9C9B1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3400A77F-6766-12AE-ABF4-E2DDABBA1A12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63F3154C-D126-54C7-8FF9-54828F0EAAE5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3AFA8A15-EFA6-31E0-E385-4A8841DF92D9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D0D86538-BC21-C290-5815-BAF2E8E935B7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55E5B7D2-9E53-B633-FE80-5E15245D345C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26A48755-ACE9-8556-D55C-4A0C0432D850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F32AAAE1-763B-F4FC-5358-0BAE45AF412E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645F32EB-AFAA-49C6-003F-851ED76E7E9D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D6C617D8-97F2-D7BB-0295-938B828BA7C5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72AB4B90-3073-E981-549B-3CF209097AE3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1BC855CE-ADB8-0066-2B13-DAF402B9D105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0E77CEF3-6B9E-D0E6-DBB6-C461B8EB1F42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A087F359-63EC-089B-2CFC-FF5ABB29BE5B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80572B67-7D10-3D35-B4C7-80B05490354F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FB8DA8F8-A462-CDE2-A51F-3D6456CD36B1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94B0F9E2-EE5B-C65C-984A-EE652DB49C30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E7EC6427-04DA-47CB-17CC-FCB14DFBF1CC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BE52F97C-E17F-C11B-0683-C1B3A23CE31D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D580A496-4D81-6BA5-5F30-C10E6702B348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5317D3F2-D04F-777E-2002-87845719095B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3D06D903-5749-EDA0-1A03-9684D1622CFE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24213A02-2D31-8234-FA2F-80950967E43C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48B5F45E-FD0D-8121-36D6-2AE268CFFECD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8D815B26-6838-FF20-2FA7-0BD7AC40E2A3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FA8BB8B7-DF39-EB0E-51B4-95343C14E372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DDF8CE9A-5EC0-CD6C-C81E-97960FB42341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90906833-3297-4443-F0F7-A1009662225C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C866BE7C-07B5-D0C7-178B-EC0FB7FF1D9A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10F7F222-00B4-1CD8-2878-A2D770711531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18425981-E168-58C7-FC9E-903B2B00162A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934A7AD3-495D-82BB-FEAF-7ED562DE4C1E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349E896F-19AD-C92B-EC27-A2CEC3827ED2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B016E223-2580-A63E-5110-E95D0ACF55E0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9D31E695-01D1-5797-C3D7-028A9125937C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E5844D6D-B146-72B7-E858-FC3E4AE0A0A5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F00A0CC2-369A-2D67-3345-0D68D1F17550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851722DE-C462-2073-FA8E-4F695130E5CE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06E45819-AD49-8875-F29A-87BBD5B7E776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3C5E75E6-6796-912C-0361-465BA7871EA5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3F1D9520-3624-B3F2-C9A9-231BA696DABA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E6A80A22-C74A-5A04-96DF-568B63452921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E36E6904-2344-33E6-252C-AAC22A97D3D8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D7B285F8-507F-6920-E4F8-954AF97B3711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A07DA9F8-43D4-6490-EC8D-B7AA61A1E163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0897592B-5BF2-BAE6-0B94-19160374AC23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49089D65-6E0E-CF4E-A859-511934CF609C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5DFC814A-FDB1-FD93-30AC-84AC7AE573DB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9125E63C-FCE4-4F2B-5DA5-57A86E462219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DC13DAD2-F54D-6935-233A-2C4611FA542D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9522CC35-B808-95E4-8260-19F61B10D691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FC420D5F-126E-A4A9-DEB2-00993A4A0A45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592A07D9-4B2F-1E98-3779-1707DA3A2613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39BAD770-F3E7-182A-955D-21A103DE1AB4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A4BDE51D-1CB2-6C51-3FF4-02ABDCE9B474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CED435C8-D4C9-3835-D587-E0E834E83C2F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13340522-EE91-1A08-B231-0E9911D1C059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8D435A81-CB44-38A3-8F5A-C5FD555974E1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B7E86F9B-1971-4CE1-B7DF-0B5CE0445805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994F6B04-CDCA-C318-CD1C-EFF88064D65B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7CEF5DB6-CA82-1E10-578C-18D47F30D281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E6785616-FD42-3D7A-48D2-FFEDF06D5C6A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E2F131A8-B17A-B634-573D-A41B9202A5C3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6AD91C81-1777-8DC7-49BF-267B7D184DDE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4C49B4D4-C30A-DE57-E482-BEC792C5C1A8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9926BD96-9B4A-60D4-BA70-17C1CDC6CE48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F1662142-0CDA-771D-EAF2-428F2F861924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131E3891-8963-7047-9A62-EC78E9DF168A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ACB779BD-E252-4801-D481-34D090CD8EDD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C01F8A0F-7B94-F13F-F286-2A6C0575CE43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FA539BAA-EF22-086B-0891-FBD76EE717DD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E2C60E01-F078-06F4-47A0-1C3C6B02036E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E86E1E23-0D21-27BE-2724-E9DEEDEAC1A7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9A3E77E7-CEAF-7DCA-467A-8C1D6CBE7ABB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1B8B5B4B-CF97-D78E-66A1-85C749291533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10FAAB18-6797-A678-E178-FB790C06B767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B72C259D-B03D-E1F8-20AE-DCFD6A0345D2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pic>
        <p:nvPicPr>
          <p:cNvPr id="390" name="Logo">
            <a:extLst>
              <a:ext uri="{FF2B5EF4-FFF2-40B4-BE49-F238E27FC236}">
                <a16:creationId xmlns:a16="http://schemas.microsoft.com/office/drawing/2014/main" id="{3627F822-9B55-3809-49A9-52FA4A204E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  <p:grpSp>
        <p:nvGrpSpPr>
          <p:cNvPr id="403" name="Gruppieren 402">
            <a:extLst>
              <a:ext uri="{FF2B5EF4-FFF2-40B4-BE49-F238E27FC236}">
                <a16:creationId xmlns:a16="http://schemas.microsoft.com/office/drawing/2014/main" id="{83A786F0-CFEF-2D98-E7D9-F4EC9FE066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1" y="2082829"/>
            <a:ext cx="2448000" cy="0"/>
            <a:chOff x="983432" y="2082829"/>
            <a:chExt cx="2448000" cy="0"/>
          </a:xfrm>
        </p:grpSpPr>
        <p:cxnSp>
          <p:nvCxnSpPr>
            <p:cNvPr id="404" name="Line">
              <a:extLst>
                <a:ext uri="{FF2B5EF4-FFF2-40B4-BE49-F238E27FC236}">
                  <a16:creationId xmlns:a16="http://schemas.microsoft.com/office/drawing/2014/main" id="{0CFC1E8E-9C4E-C938-A2CB-E252F6107F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5" name="Line">
              <a:extLst>
                <a:ext uri="{FF2B5EF4-FFF2-40B4-BE49-F238E27FC236}">
                  <a16:creationId xmlns:a16="http://schemas.microsoft.com/office/drawing/2014/main" id="{F8E15E37-AFB6-540E-647D-AA8E8340BD1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6" name="Shape">
            <a:extLst>
              <a:ext uri="{FF2B5EF4-FFF2-40B4-BE49-F238E27FC236}">
                <a16:creationId xmlns:a16="http://schemas.microsoft.com/office/drawing/2014/main" id="{87FA4392-0D1B-C338-7F51-6219712A85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0848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407" name="Bildplatzhalter 406">
            <a:extLst>
              <a:ext uri="{FF2B5EF4-FFF2-40B4-BE49-F238E27FC236}">
                <a16:creationId xmlns:a16="http://schemas.microsoft.com/office/drawing/2014/main" id="{2510D404-DBC3-1692-EA41-E7524DB6C9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367809" y="2061400"/>
            <a:ext cx="5760640" cy="3463099"/>
          </a:xfrm>
          <a:custGeom>
            <a:avLst/>
            <a:gdLst>
              <a:gd name="connsiteX0" fmla="*/ 5760640 w 5760640"/>
              <a:gd name="connsiteY0" fmla="*/ 0 h 3463099"/>
              <a:gd name="connsiteX1" fmla="*/ 4609453 w 5760640"/>
              <a:gd name="connsiteY1" fmla="*/ 2311556 h 3463099"/>
              <a:gd name="connsiteX2" fmla="*/ 0 w 5760640"/>
              <a:gd name="connsiteY2" fmla="*/ 3463099 h 3463099"/>
              <a:gd name="connsiteX3" fmla="*/ 0 w 5760640"/>
              <a:gd name="connsiteY3" fmla="*/ 518 h 3463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60640" h="3463099">
                <a:moveTo>
                  <a:pt x="5760640" y="0"/>
                </a:moveTo>
                <a:lnTo>
                  <a:pt x="4609453" y="2311556"/>
                </a:lnTo>
                <a:lnTo>
                  <a:pt x="0" y="3463099"/>
                </a:lnTo>
                <a:lnTo>
                  <a:pt x="0" y="518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399" name="Title">
            <a:extLst>
              <a:ext uri="{FF2B5EF4-FFF2-40B4-BE49-F238E27FC236}">
                <a16:creationId xmlns:a16="http://schemas.microsoft.com/office/drawing/2014/main" id="{5A31CA2D-E074-BD09-8FB1-60D8252638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695400" y="2564904"/>
            <a:ext cx="2952000" cy="1152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36000" rIns="216000" anchor="t">
            <a:noAutofit/>
          </a:bodyPr>
          <a:lstStyle>
            <a:lvl1pPr algn="l" rtl="0">
              <a:lnSpc>
                <a:spcPct val="90000"/>
              </a:lnSpc>
              <a:defRPr sz="2400"/>
            </a:lvl1pPr>
          </a:lstStyle>
          <a:p>
            <a:r>
              <a:rPr lang="en-US"/>
              <a:t>Insert your long title here in max. three lines</a:t>
            </a:r>
            <a:endParaRPr lang="en-US" dirty="0"/>
          </a:p>
        </p:txBody>
      </p:sp>
      <p:sp>
        <p:nvSpPr>
          <p:cNvPr id="400" name="Subtitle 2">
            <a:extLst>
              <a:ext uri="{FF2B5EF4-FFF2-40B4-BE49-F238E27FC236}">
                <a16:creationId xmlns:a16="http://schemas.microsoft.com/office/drawing/2014/main" id="{86E7FA45-9FD2-F40E-013B-E42E1250F9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400" y="3717032"/>
            <a:ext cx="2952000" cy="1202385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401" name="Author">
            <a:extLst>
              <a:ext uri="{FF2B5EF4-FFF2-40B4-BE49-F238E27FC236}">
                <a16:creationId xmlns:a16="http://schemas.microsoft.com/office/drawing/2014/main" id="{B0691ABE-DB6B-FCA3-26EE-D19124967C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400" y="4869160"/>
            <a:ext cx="2952000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 anchor="b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US"/>
              <a:t>First name Last name</a:t>
            </a:r>
            <a:endParaRPr lang="en-US" dirty="0"/>
          </a:p>
        </p:txBody>
      </p:sp>
      <p:sp>
        <p:nvSpPr>
          <p:cNvPr id="402" name="Department, Date">
            <a:extLst>
              <a:ext uri="{FF2B5EF4-FFF2-40B4-BE49-F238E27FC236}">
                <a16:creationId xmlns:a16="http://schemas.microsoft.com/office/drawing/2014/main" id="{6F2378A6-2EA0-7AD3-D3B3-69216EA41E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5085160"/>
            <a:ext cx="2952000" cy="720104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US"/>
              <a:t>Department</a:t>
            </a:r>
            <a:br>
              <a:rPr lang="en-US"/>
            </a:br>
            <a:r>
              <a:rPr lang="en-US"/>
              <a:t>DD/MM/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06145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|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F6978B3-EFDC-78E8-88AE-D7B076C83F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1903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6978B3-EFDC-78E8-88AE-D7B076C83F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D0B7EAD1-D403-6006-8638-3B821879AC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8B7C92CF-EA39-582F-C369-FE148172783F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E6F027C0-A2BB-A0CC-1CF3-57934A8CE893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E62F518F-2AD9-099C-EC8A-3B22D3467D45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72FB2EC0-2F3A-2048-6FC6-DC4397442D98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1E3B162B-1D4A-1415-F076-A950A7CCDAA0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D5939C76-D103-3E74-7476-367ED478A48F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2" name="Rechteck 171">
              <a:extLst>
                <a:ext uri="{FF2B5EF4-FFF2-40B4-BE49-F238E27FC236}">
                  <a16:creationId xmlns:a16="http://schemas.microsoft.com/office/drawing/2014/main" id="{7718F72E-7079-D94C-8D3D-782E947F895D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3" name="Rechteck 172">
              <a:extLst>
                <a:ext uri="{FF2B5EF4-FFF2-40B4-BE49-F238E27FC236}">
                  <a16:creationId xmlns:a16="http://schemas.microsoft.com/office/drawing/2014/main" id="{860C586F-B095-7AC1-E4F0-07D38DCE17CD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5536E526-096B-4DEB-2B08-C20AF7862D69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2C02C7AC-0F11-2357-090E-150B2EF10EFF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E9FED89E-41D9-5607-E552-903C27416822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EF024D74-FAFD-D892-77F5-5CF4A28B9D8F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3" name="Rechteck 212">
              <a:extLst>
                <a:ext uri="{FF2B5EF4-FFF2-40B4-BE49-F238E27FC236}">
                  <a16:creationId xmlns:a16="http://schemas.microsoft.com/office/drawing/2014/main" id="{989CEA06-DBE6-279F-E184-79B5CC771588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6DA004B8-A0F1-0F05-9438-ED25C38EB938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5" name="Rechteck 214">
              <a:extLst>
                <a:ext uri="{FF2B5EF4-FFF2-40B4-BE49-F238E27FC236}">
                  <a16:creationId xmlns:a16="http://schemas.microsoft.com/office/drawing/2014/main" id="{E609046D-5092-1D0D-1641-BDCB3A8726E8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6" name="Rechteck 215">
              <a:extLst>
                <a:ext uri="{FF2B5EF4-FFF2-40B4-BE49-F238E27FC236}">
                  <a16:creationId xmlns:a16="http://schemas.microsoft.com/office/drawing/2014/main" id="{622C8FD2-DBB5-3447-1EB8-9FE3FDF0A8D4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7" name="Rechteck 216">
              <a:extLst>
                <a:ext uri="{FF2B5EF4-FFF2-40B4-BE49-F238E27FC236}">
                  <a16:creationId xmlns:a16="http://schemas.microsoft.com/office/drawing/2014/main" id="{1C4E9C6D-5CF8-2B15-B255-15647B2A64FA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8" name="Rechteck 217">
              <a:extLst>
                <a:ext uri="{FF2B5EF4-FFF2-40B4-BE49-F238E27FC236}">
                  <a16:creationId xmlns:a16="http://schemas.microsoft.com/office/drawing/2014/main" id="{0F833EE5-CAE6-5744-6906-50D3F2B0FEE1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9" name="Rechteck 218">
              <a:extLst>
                <a:ext uri="{FF2B5EF4-FFF2-40B4-BE49-F238E27FC236}">
                  <a16:creationId xmlns:a16="http://schemas.microsoft.com/office/drawing/2014/main" id="{454C5197-AED1-149B-ED26-262B2841F50D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0" name="Rechteck 219">
              <a:extLst>
                <a:ext uri="{FF2B5EF4-FFF2-40B4-BE49-F238E27FC236}">
                  <a16:creationId xmlns:a16="http://schemas.microsoft.com/office/drawing/2014/main" id="{5505D093-E6CC-2743-D6F0-5167B1DF11E6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1" name="Rechteck 220">
              <a:extLst>
                <a:ext uri="{FF2B5EF4-FFF2-40B4-BE49-F238E27FC236}">
                  <a16:creationId xmlns:a16="http://schemas.microsoft.com/office/drawing/2014/main" id="{A1CECBF9-8FF4-009E-2C38-FF42B7F6648B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2" name="Rechteck 221">
              <a:extLst>
                <a:ext uri="{FF2B5EF4-FFF2-40B4-BE49-F238E27FC236}">
                  <a16:creationId xmlns:a16="http://schemas.microsoft.com/office/drawing/2014/main" id="{AB3E564B-BE98-E755-FBF3-311F1B592A64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3" name="Rechteck 222">
              <a:extLst>
                <a:ext uri="{FF2B5EF4-FFF2-40B4-BE49-F238E27FC236}">
                  <a16:creationId xmlns:a16="http://schemas.microsoft.com/office/drawing/2014/main" id="{85F4CCA9-5C75-95AF-AF39-09ADF2CA3157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4" name="Rechteck 223">
              <a:extLst>
                <a:ext uri="{FF2B5EF4-FFF2-40B4-BE49-F238E27FC236}">
                  <a16:creationId xmlns:a16="http://schemas.microsoft.com/office/drawing/2014/main" id="{AD04EC9C-A152-96F5-8EFB-917EB42D5D81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B90CA084-0212-16E7-35F3-21520E0D735F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D5FF6BEF-8F32-1CA3-F39D-C68BB959D9CC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7" name="Rechteck 226">
              <a:extLst>
                <a:ext uri="{FF2B5EF4-FFF2-40B4-BE49-F238E27FC236}">
                  <a16:creationId xmlns:a16="http://schemas.microsoft.com/office/drawing/2014/main" id="{0F47FABF-E354-5DE1-E669-D9E3FE443B5F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5411DC85-0684-D24B-C4F0-A233ADBE7657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9" name="Rechteck 228">
              <a:extLst>
                <a:ext uri="{FF2B5EF4-FFF2-40B4-BE49-F238E27FC236}">
                  <a16:creationId xmlns:a16="http://schemas.microsoft.com/office/drawing/2014/main" id="{40FCDB6F-59A2-1ECB-B9EA-D2B293D2E535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0" name="Rechteck 229">
              <a:extLst>
                <a:ext uri="{FF2B5EF4-FFF2-40B4-BE49-F238E27FC236}">
                  <a16:creationId xmlns:a16="http://schemas.microsoft.com/office/drawing/2014/main" id="{EDC1BBBA-34C5-1993-3F40-B5BD08423839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1" name="Rechteck 230">
              <a:extLst>
                <a:ext uri="{FF2B5EF4-FFF2-40B4-BE49-F238E27FC236}">
                  <a16:creationId xmlns:a16="http://schemas.microsoft.com/office/drawing/2014/main" id="{0A7642A7-F6C9-6C53-FFFE-2CBF33A29079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2" name="Rechteck 231">
              <a:extLst>
                <a:ext uri="{FF2B5EF4-FFF2-40B4-BE49-F238E27FC236}">
                  <a16:creationId xmlns:a16="http://schemas.microsoft.com/office/drawing/2014/main" id="{134183F6-066E-7BEC-20BE-8656CA33F940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3" name="Rechteck 232">
              <a:extLst>
                <a:ext uri="{FF2B5EF4-FFF2-40B4-BE49-F238E27FC236}">
                  <a16:creationId xmlns:a16="http://schemas.microsoft.com/office/drawing/2014/main" id="{2C74112C-CF40-11A1-E07A-D5D1E6E5A2E1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4" name="Rechteck 233">
              <a:extLst>
                <a:ext uri="{FF2B5EF4-FFF2-40B4-BE49-F238E27FC236}">
                  <a16:creationId xmlns:a16="http://schemas.microsoft.com/office/drawing/2014/main" id="{4A92AE38-2D76-9897-6BE9-302642AFAE56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5" name="Rechteck 234">
              <a:extLst>
                <a:ext uri="{FF2B5EF4-FFF2-40B4-BE49-F238E27FC236}">
                  <a16:creationId xmlns:a16="http://schemas.microsoft.com/office/drawing/2014/main" id="{2A59BE32-6AD3-AB05-E1D5-5993AAFB1592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6" name="Rechteck 235">
              <a:extLst>
                <a:ext uri="{FF2B5EF4-FFF2-40B4-BE49-F238E27FC236}">
                  <a16:creationId xmlns:a16="http://schemas.microsoft.com/office/drawing/2014/main" id="{57812970-ABA0-1409-C41E-5117C2FB29C9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7" name="Rechteck 236">
              <a:extLst>
                <a:ext uri="{FF2B5EF4-FFF2-40B4-BE49-F238E27FC236}">
                  <a16:creationId xmlns:a16="http://schemas.microsoft.com/office/drawing/2014/main" id="{60911A34-795A-DC38-F998-D942935BE375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8" name="Rechteck 237">
              <a:extLst>
                <a:ext uri="{FF2B5EF4-FFF2-40B4-BE49-F238E27FC236}">
                  <a16:creationId xmlns:a16="http://schemas.microsoft.com/office/drawing/2014/main" id="{32F3BA15-C907-A99D-6ECC-087B3100B834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9" name="Rechteck 238">
              <a:extLst>
                <a:ext uri="{FF2B5EF4-FFF2-40B4-BE49-F238E27FC236}">
                  <a16:creationId xmlns:a16="http://schemas.microsoft.com/office/drawing/2014/main" id="{3E05A9E2-EB93-275D-1878-58432B2326EA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0" name="Rechteck 239">
              <a:extLst>
                <a:ext uri="{FF2B5EF4-FFF2-40B4-BE49-F238E27FC236}">
                  <a16:creationId xmlns:a16="http://schemas.microsoft.com/office/drawing/2014/main" id="{6A5D0DA1-4F2E-6C74-E3D7-727F08630655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1" name="Rechteck 240">
              <a:extLst>
                <a:ext uri="{FF2B5EF4-FFF2-40B4-BE49-F238E27FC236}">
                  <a16:creationId xmlns:a16="http://schemas.microsoft.com/office/drawing/2014/main" id="{8424702E-0D6D-2DE5-AA50-0E0D960ADE7B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2" name="Rechteck 241">
              <a:extLst>
                <a:ext uri="{FF2B5EF4-FFF2-40B4-BE49-F238E27FC236}">
                  <a16:creationId xmlns:a16="http://schemas.microsoft.com/office/drawing/2014/main" id="{41891A94-F223-2C1A-AEA8-98B30DFEA822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3" name="Rechteck 242">
              <a:extLst>
                <a:ext uri="{FF2B5EF4-FFF2-40B4-BE49-F238E27FC236}">
                  <a16:creationId xmlns:a16="http://schemas.microsoft.com/office/drawing/2014/main" id="{5E127752-2FFB-9432-AB82-21110CA13765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4" name="Rechteck 243">
              <a:extLst>
                <a:ext uri="{FF2B5EF4-FFF2-40B4-BE49-F238E27FC236}">
                  <a16:creationId xmlns:a16="http://schemas.microsoft.com/office/drawing/2014/main" id="{07FD6154-47DA-E3BF-1B6B-32A7C8045CFC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5" name="Rechteck 244">
              <a:extLst>
                <a:ext uri="{FF2B5EF4-FFF2-40B4-BE49-F238E27FC236}">
                  <a16:creationId xmlns:a16="http://schemas.microsoft.com/office/drawing/2014/main" id="{14B7037C-6618-375B-C35E-2FA260E2D0A2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6" name="Rechteck 245">
              <a:extLst>
                <a:ext uri="{FF2B5EF4-FFF2-40B4-BE49-F238E27FC236}">
                  <a16:creationId xmlns:a16="http://schemas.microsoft.com/office/drawing/2014/main" id="{0ED46A30-0599-2E80-4CF1-D01FA67CF114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7" name="Rechteck 246">
              <a:extLst>
                <a:ext uri="{FF2B5EF4-FFF2-40B4-BE49-F238E27FC236}">
                  <a16:creationId xmlns:a16="http://schemas.microsoft.com/office/drawing/2014/main" id="{DC788DBE-029C-2F6B-6BE1-95D9ED27C0C9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8" name="Rechteck 247">
              <a:extLst>
                <a:ext uri="{FF2B5EF4-FFF2-40B4-BE49-F238E27FC236}">
                  <a16:creationId xmlns:a16="http://schemas.microsoft.com/office/drawing/2014/main" id="{F9C25BAD-8AF5-77A0-A905-6AF5E69F4C6F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9" name="Rechteck 248">
              <a:extLst>
                <a:ext uri="{FF2B5EF4-FFF2-40B4-BE49-F238E27FC236}">
                  <a16:creationId xmlns:a16="http://schemas.microsoft.com/office/drawing/2014/main" id="{091583D8-5A98-EC02-A8E7-9420B2607D81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0" name="Rechteck 249">
              <a:extLst>
                <a:ext uri="{FF2B5EF4-FFF2-40B4-BE49-F238E27FC236}">
                  <a16:creationId xmlns:a16="http://schemas.microsoft.com/office/drawing/2014/main" id="{9F765DE5-48A5-5DB4-31F7-1C923A981DE4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1" name="Rechteck 250">
              <a:extLst>
                <a:ext uri="{FF2B5EF4-FFF2-40B4-BE49-F238E27FC236}">
                  <a16:creationId xmlns:a16="http://schemas.microsoft.com/office/drawing/2014/main" id="{58D831CA-DAA2-34F7-C06B-8ADFCE54197A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2" name="Rechteck 251">
              <a:extLst>
                <a:ext uri="{FF2B5EF4-FFF2-40B4-BE49-F238E27FC236}">
                  <a16:creationId xmlns:a16="http://schemas.microsoft.com/office/drawing/2014/main" id="{B3109F73-5954-B6A1-4C0E-A394DEE300A1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3" name="Rechteck 252">
              <a:extLst>
                <a:ext uri="{FF2B5EF4-FFF2-40B4-BE49-F238E27FC236}">
                  <a16:creationId xmlns:a16="http://schemas.microsoft.com/office/drawing/2014/main" id="{09630349-B93F-A093-B591-A3AA2489C7D5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4" name="Rechteck 253">
              <a:extLst>
                <a:ext uri="{FF2B5EF4-FFF2-40B4-BE49-F238E27FC236}">
                  <a16:creationId xmlns:a16="http://schemas.microsoft.com/office/drawing/2014/main" id="{90358D0A-EB14-556D-3C85-4DAE5F4230C9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5" name="Rechteck 254">
              <a:extLst>
                <a:ext uri="{FF2B5EF4-FFF2-40B4-BE49-F238E27FC236}">
                  <a16:creationId xmlns:a16="http://schemas.microsoft.com/office/drawing/2014/main" id="{C6DDB27E-22FA-DAAE-41A0-88E64DB43665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E1582447-6864-0519-DD57-DCF6607D1D9F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006C0A17-721F-00D6-596C-6FD9473A982A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FF0CD5CE-CCEF-842E-5934-01871EF41C8F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FB9B51FD-67C1-3A33-FC10-55D5EECDA3AF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91E3CB2E-E243-5E35-555B-C24A7DA60999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212AE44E-E40A-1396-306B-67030EC6D1AB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A60B7763-F800-69F3-9E20-07489CC7D553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1D9D2C50-E11F-B0D2-F251-D077D5AE71B5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EDCD3041-1880-15B3-1DB6-E12265EEBC70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8351321B-22FC-4ADA-12A5-F7803BBFA530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CC42B3A6-4DF6-8B84-8E61-ECD9EC17C590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2C11D9FE-C4C0-AFB2-9422-E5553086247A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FE032BFE-818A-B89A-9AAA-04000FC7AD0E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10D2A200-BC43-7D10-15F9-394C5E0C2474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0" name="Rechteck 269">
              <a:extLst>
                <a:ext uri="{FF2B5EF4-FFF2-40B4-BE49-F238E27FC236}">
                  <a16:creationId xmlns:a16="http://schemas.microsoft.com/office/drawing/2014/main" id="{A3C40986-AB5F-E186-C0A2-770B695D0B06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1" name="Rechteck 270">
              <a:extLst>
                <a:ext uri="{FF2B5EF4-FFF2-40B4-BE49-F238E27FC236}">
                  <a16:creationId xmlns:a16="http://schemas.microsoft.com/office/drawing/2014/main" id="{8232B754-C652-FF67-59A0-05C8789A5508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651F8887-008F-1685-DF04-76155EBA9707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EC83B9C4-2620-CBE8-C414-CF1DD20EABD1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B2F67A20-8B7F-B6BF-2134-49936E06F7CA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223C6353-7F74-1858-A8C4-ABB3DA02307B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62A88E0F-9E6B-9D04-4A87-928F25805D94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27B869E8-67A0-FFDB-1D22-0ADD55EB282E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7F3FE13F-CA7D-ECC3-808D-DC81977743B0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30D055BF-302C-B16C-7F84-CBDAEA291C2C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BC79BF5B-CDDA-E770-A9D2-D02A990CA6FB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5E6C8FE4-10B9-0629-B7E5-89212887A54C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5CA203C2-30D1-F8F6-D00A-9F48A29DDF90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3" name="Rechteck 282">
              <a:extLst>
                <a:ext uri="{FF2B5EF4-FFF2-40B4-BE49-F238E27FC236}">
                  <a16:creationId xmlns:a16="http://schemas.microsoft.com/office/drawing/2014/main" id="{68ED8DE5-3252-EA59-6128-D15942EBD1EB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40BCE36B-B7B7-B0CC-AD94-B858BE10E17C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E23430E9-48A5-62F2-888B-1CA5057A6F71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7D12BDF6-784E-83CF-5C45-FFAC2A87791F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B4F8BF2B-03F7-3664-5747-98FE8369B354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1A1D6489-AC9F-67D1-D9AA-387E5A85CC93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99ADACAE-E4A1-BA88-EF20-C56C9A6FF8A3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428F2B26-C0DE-1D27-3843-EA5B03BCD81B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84928061-64D2-896A-906E-5FD795FB5964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310AAD0F-B6F1-CCAD-F063-7FDD6A670DF3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0C8FC18E-3F7A-B37C-74A6-079BFF3EF06D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8ACC7A2B-796B-7C92-FBBE-54E1F1E533C6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E3578EC2-EFEC-321D-3A2F-769902DD5690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53934412-4E19-858B-37E4-4D303D4933BB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FC10BFA0-E91C-8DFB-0C36-DEEC89645D21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FA9DFD86-DC67-5951-76CA-C2DDAC4F1863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EC01C746-8380-120D-4250-B51A4177D83F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50F07972-9DDD-78B7-559B-2C11467CD2E1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44A5AA82-5B56-999E-99CF-779CF1683C91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DFAC789B-05BF-776F-5277-462BD8747A65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38AE2885-CF13-394D-6055-6FE201938551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BBACC2DB-997B-404C-F3C5-BDE6CD46D2D2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7AA08332-ECA8-8808-559A-C292C836C94D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AA97677D-272D-689C-4DE5-C056750B0983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B240D7A5-45AC-37D5-07C4-BA8AB595EA0D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2F08070C-69A8-7CF7-6671-928F0A0F5276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915BB64D-30EF-2A19-79AB-BE5E29DD6F5B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8FD1C94A-DB0D-FDE2-3638-86B99B1F8376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5AAE3E07-7E81-F4A3-F93C-F2446FD1E3D4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80C20069-DA6F-6B69-D5E6-A9789ABACD5D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20C983B4-3570-DCCE-31E1-96062DBD8D39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43E84DB9-7B83-ADDA-269B-113F555A42DC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32561406-9D94-61B1-262C-2D9CAD9B1177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6E3FD0B6-180B-6821-067B-0E398687E5D2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3B0C3F3F-8364-0766-2A90-E9C70808933E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C6EE40DA-61B0-C72F-CFD5-506F3A3818F7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6704919F-C0DC-FAF1-6B07-6E2F7D979087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84F7FF9B-9E84-1779-4691-6C5868BA282F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E5FA257C-8057-2E81-3693-BAC3D0D92894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63B74D79-03A0-4D84-6A0D-BFF43F778008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80C45A54-E9E8-8833-8738-3DA56022342C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B417FB20-695F-81D4-5E78-E351F1A69B3B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0AE0B98A-58A7-006F-A931-F23D39E12F7A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957F01F1-9004-BEDF-CBC7-9100131098EE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851BB049-309C-B6B9-5A38-91489499DC71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4B6DE0B5-EB30-F32C-0726-37D0C108BE7A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25A31F02-55E9-F9F8-43A9-BD7C501C54C2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BE254222-E5D6-7769-FCDF-E09CAF38FE3E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99AFA52A-340D-E229-F4A5-70EC6FCDF3DC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3BE35DE5-EA7C-D630-22C0-DDD9568F967A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403851DE-1D64-2C8B-0D34-DDAE03C75A0D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A8DBCA75-B9C3-35F0-1615-FFA310B936E7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E2CE0505-B1EB-23F4-19C2-BAF966A3552C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8645E52A-83C9-B173-ED3C-7C98B453838A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5DD4F53E-3168-F6FD-B6C0-4425F262610A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54350890-E211-13FC-67B8-21F57B849529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4E5E9DD5-9B62-471C-1EBF-11D5684AD075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5984D6AD-11B0-0C65-8A44-A0717419255C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057838B9-00EC-6C01-836F-0111D2A1121C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2748F153-CD21-7316-29BE-CD7E0D86FCFE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20A56734-CE41-4078-11E0-D1D8BD9A8FBF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3D427AAA-14DF-6315-60A3-520D28C5F366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7B4F843A-811A-81A9-50B1-511FF8F42C97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B6296AC4-F068-DA85-9212-3D6482ECDDC4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4EC56454-FA18-2BA5-4034-0AE451F8C654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531A28E7-5A0B-AE1B-795C-CC66F14567B0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D8213420-EBD0-7E34-2963-995BA09AF8C4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8D92521C-D37C-23A6-FBC1-53B4E18180BC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692DB327-17EF-B959-62D1-33E17838C916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4A80F828-9C99-626A-9602-EB6FDDE69103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691DD7AB-D56F-D993-BDB2-89F89DFF70BC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AEA624D0-8297-AB24-72B7-F21D62419DA1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B3E1279C-685E-77C2-336D-CCD19C67F92D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43ED1D1F-82DB-4EDD-4FCD-63A4D1377AAF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160E2D9A-3B69-56B6-353F-0B24CA5F1692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7CB1A176-2A4E-F51A-50DF-5E4FD5A4ACEE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9CDF43FF-9094-C05F-22B6-6C6E1CCCBE46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2859005D-AD1F-15BD-1A2E-551AD1AC06ED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1D9A0E22-888E-05BD-D7EC-CA3AD8BB138F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C9765E93-6A65-C40D-70CC-7502AF5A56CB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305AEA0D-B67D-A870-5021-DFE6B69178E8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B9C742C5-26E6-F17C-5BE5-0E68C28E4C02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987B3872-F081-BD47-4CC5-E5906B90793F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D5ADB594-5A53-DAC3-8DF7-6FE9ACAF2600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54FAA1F8-465D-4C65-94AC-96E4721D3039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F3BA2099-45E9-6BAC-9E80-E0AA4C00DF8F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C89CD14E-5CCA-0392-3B52-D8D09D28CCDA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594F2001-87DF-3231-C564-21B33EED8191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39B490BA-67E5-7896-5B6C-9C4192D12353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C86D55C9-590F-17D1-A93D-7724BB3C8786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DD18BEBE-C39C-215D-08C1-16CA14DC9A0B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2A9274BE-75CB-50D6-ED97-BDDF647076D3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B2F57AEC-1468-4E9A-2A3A-252F016035DF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E7C6F021-CC83-1425-2BE2-26EE411920E0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40645E0C-9F0A-CF1A-75B6-B69F2D6BBD39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5E789FFB-8FAA-7C0F-327D-F9AECB76D024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98785188-8E49-FFB3-8EB1-85A80C1F0B20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E7296F80-6D6D-96B6-FBC8-690D59A615F6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71B971D6-0D6D-2337-3755-7956ED1E27AD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A3588D1A-5AE0-2C42-D18F-339521E382DA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387B6B08-8E78-0607-2B42-0F6BB272A351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7080A25F-BA47-2185-5C99-38D938B877B3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4EBA54C3-45A4-0D1E-CB32-55AF924D9706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B80A2D11-08CD-7047-EA68-AD4324489C33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704EB6CC-28C4-4F1B-4A14-747452C89921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49AD51F4-67F4-63FA-57B0-FC919813BCB8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6A618C66-DDAB-DAA6-EF13-028F5F418CF2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pic>
        <p:nvPicPr>
          <p:cNvPr id="390" name="Logo">
            <a:extLst>
              <a:ext uri="{FF2B5EF4-FFF2-40B4-BE49-F238E27FC236}">
                <a16:creationId xmlns:a16="http://schemas.microsoft.com/office/drawing/2014/main" id="{96E1BBEE-8F44-7FB4-F875-1DCE3DB0FA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  <p:grpSp>
        <p:nvGrpSpPr>
          <p:cNvPr id="395" name="Gruppieren 394">
            <a:extLst>
              <a:ext uri="{FF2B5EF4-FFF2-40B4-BE49-F238E27FC236}">
                <a16:creationId xmlns:a16="http://schemas.microsoft.com/office/drawing/2014/main" id="{86733395-689B-B1DC-3DA2-BDA86CB2D0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1" y="2082829"/>
            <a:ext cx="2448000" cy="0"/>
            <a:chOff x="983432" y="2082829"/>
            <a:chExt cx="2448000" cy="0"/>
          </a:xfrm>
        </p:grpSpPr>
        <p:cxnSp>
          <p:nvCxnSpPr>
            <p:cNvPr id="396" name="Line">
              <a:extLst>
                <a:ext uri="{FF2B5EF4-FFF2-40B4-BE49-F238E27FC236}">
                  <a16:creationId xmlns:a16="http://schemas.microsoft.com/office/drawing/2014/main" id="{6359EF94-3185-D196-FD29-AEA5CBBC9FD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7" name="Line">
              <a:extLst>
                <a:ext uri="{FF2B5EF4-FFF2-40B4-BE49-F238E27FC236}">
                  <a16:creationId xmlns:a16="http://schemas.microsoft.com/office/drawing/2014/main" id="{DDD5C039-ED42-74AB-0FD5-84E3A555340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8" name="Shape">
            <a:extLst>
              <a:ext uri="{FF2B5EF4-FFF2-40B4-BE49-F238E27FC236}">
                <a16:creationId xmlns:a16="http://schemas.microsoft.com/office/drawing/2014/main" id="{477750BE-BB1D-4D56-EC7F-426D9A6570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0848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399" name="Bildplatzhalter 398">
            <a:extLst>
              <a:ext uri="{FF2B5EF4-FFF2-40B4-BE49-F238E27FC236}">
                <a16:creationId xmlns:a16="http://schemas.microsoft.com/office/drawing/2014/main" id="{31543CDB-C044-44F8-7750-4F8FFD210E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367809" y="2061400"/>
            <a:ext cx="5760640" cy="3463099"/>
          </a:xfrm>
          <a:custGeom>
            <a:avLst/>
            <a:gdLst>
              <a:gd name="connsiteX0" fmla="*/ 5760640 w 5760640"/>
              <a:gd name="connsiteY0" fmla="*/ 0 h 3463099"/>
              <a:gd name="connsiteX1" fmla="*/ 4609453 w 5760640"/>
              <a:gd name="connsiteY1" fmla="*/ 2311556 h 3463099"/>
              <a:gd name="connsiteX2" fmla="*/ 0 w 5760640"/>
              <a:gd name="connsiteY2" fmla="*/ 3463099 h 3463099"/>
              <a:gd name="connsiteX3" fmla="*/ 0 w 5760640"/>
              <a:gd name="connsiteY3" fmla="*/ 518 h 3463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60640" h="3463099">
                <a:moveTo>
                  <a:pt x="5760640" y="0"/>
                </a:moveTo>
                <a:lnTo>
                  <a:pt x="4609453" y="2311556"/>
                </a:lnTo>
                <a:lnTo>
                  <a:pt x="0" y="3463099"/>
                </a:lnTo>
                <a:lnTo>
                  <a:pt x="0" y="518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391" name="Title">
            <a:extLst>
              <a:ext uri="{FF2B5EF4-FFF2-40B4-BE49-F238E27FC236}">
                <a16:creationId xmlns:a16="http://schemas.microsoft.com/office/drawing/2014/main" id="{77CF7618-62C1-59D8-3F1E-39D5FFD18F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695400" y="2564904"/>
            <a:ext cx="2952000" cy="1152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36000" rIns="216000" anchor="t">
            <a:noAutofit/>
          </a:bodyPr>
          <a:lstStyle>
            <a:lvl1pPr algn="l" rtl="0">
              <a:lnSpc>
                <a:spcPct val="90000"/>
              </a:lnSpc>
              <a:defRPr sz="2400"/>
            </a:lvl1pPr>
          </a:lstStyle>
          <a:p>
            <a:r>
              <a:rPr lang="en-US"/>
              <a:t>Insert your long title here in max. three lines</a:t>
            </a:r>
            <a:endParaRPr lang="en-US" dirty="0"/>
          </a:p>
        </p:txBody>
      </p:sp>
      <p:sp>
        <p:nvSpPr>
          <p:cNvPr id="392" name="Subtitle 2">
            <a:extLst>
              <a:ext uri="{FF2B5EF4-FFF2-40B4-BE49-F238E27FC236}">
                <a16:creationId xmlns:a16="http://schemas.microsoft.com/office/drawing/2014/main" id="{F31B0785-48A2-10D1-559E-CD4E7BF103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400" y="3717032"/>
            <a:ext cx="2952000" cy="1202385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393" name="Author">
            <a:extLst>
              <a:ext uri="{FF2B5EF4-FFF2-40B4-BE49-F238E27FC236}">
                <a16:creationId xmlns:a16="http://schemas.microsoft.com/office/drawing/2014/main" id="{32E862E9-C1BE-11CB-4DD2-17F6C7EF54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400" y="4869160"/>
            <a:ext cx="2952000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 anchor="b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US"/>
              <a:t>First name Last name</a:t>
            </a:r>
            <a:endParaRPr lang="en-US" dirty="0"/>
          </a:p>
        </p:txBody>
      </p:sp>
      <p:sp>
        <p:nvSpPr>
          <p:cNvPr id="394" name="Department, Date">
            <a:extLst>
              <a:ext uri="{FF2B5EF4-FFF2-40B4-BE49-F238E27FC236}">
                <a16:creationId xmlns:a16="http://schemas.microsoft.com/office/drawing/2014/main" id="{A46B147F-22E8-D942-D908-E04960ACCE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5085160"/>
            <a:ext cx="2952000" cy="720104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US"/>
              <a:t>Department</a:t>
            </a:r>
            <a:br>
              <a:rPr lang="en-US"/>
            </a:br>
            <a:r>
              <a:rPr lang="en-US"/>
              <a:t>DD/MM/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32818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|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F66227E-E8A5-844C-CF10-B33AD1F70B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9842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66227E-E8A5-844C-CF10-B33AD1F70B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32534F82-1506-EBFD-8238-2A3F85566F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5D8080AE-AF83-3B4F-C0DC-1D334A29B9AF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BC326249-F777-5B56-C3FA-677BDADB4DCA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22E961BF-DA7D-4A16-47E3-2C4EB81CDD92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D6DD0E49-17F5-E90D-B347-C3CF04F8A7E7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158EF7C0-5A26-3623-35A7-8FF5FD3D1A45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15A7D909-AD3B-9783-1B2B-83A76C90172A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2" name="Rechteck 171">
              <a:extLst>
                <a:ext uri="{FF2B5EF4-FFF2-40B4-BE49-F238E27FC236}">
                  <a16:creationId xmlns:a16="http://schemas.microsoft.com/office/drawing/2014/main" id="{B479E4C1-99FA-3A5A-1F27-6EC380E4A540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3" name="Rechteck 172">
              <a:extLst>
                <a:ext uri="{FF2B5EF4-FFF2-40B4-BE49-F238E27FC236}">
                  <a16:creationId xmlns:a16="http://schemas.microsoft.com/office/drawing/2014/main" id="{49F639A4-D1E6-6C4E-17B4-DD3622FD4CCA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0AB83A91-A1D3-941E-7AB9-2AE0D3ECA3F5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63CE720C-BE12-BB10-A98A-72720E664547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1ACFEF9F-C299-4C80-DB65-19CC5F22084B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E1CC0775-7794-AAAD-52F4-1BFB1FD9337F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3" name="Rechteck 212">
              <a:extLst>
                <a:ext uri="{FF2B5EF4-FFF2-40B4-BE49-F238E27FC236}">
                  <a16:creationId xmlns:a16="http://schemas.microsoft.com/office/drawing/2014/main" id="{2CFE9583-286B-87DD-1C36-94D3295EB913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47DA1C60-D5A6-721F-C767-2D5702BD5806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5" name="Rechteck 214">
              <a:extLst>
                <a:ext uri="{FF2B5EF4-FFF2-40B4-BE49-F238E27FC236}">
                  <a16:creationId xmlns:a16="http://schemas.microsoft.com/office/drawing/2014/main" id="{2F207EC8-546F-1137-E2FA-5BF0D29DF9A6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6" name="Rechteck 215">
              <a:extLst>
                <a:ext uri="{FF2B5EF4-FFF2-40B4-BE49-F238E27FC236}">
                  <a16:creationId xmlns:a16="http://schemas.microsoft.com/office/drawing/2014/main" id="{FF3FCB96-48AB-22CB-2A7B-8D2968874F24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7" name="Rechteck 216">
              <a:extLst>
                <a:ext uri="{FF2B5EF4-FFF2-40B4-BE49-F238E27FC236}">
                  <a16:creationId xmlns:a16="http://schemas.microsoft.com/office/drawing/2014/main" id="{C6C9272E-00EC-C142-527C-15B2A6AF0D53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8" name="Rechteck 217">
              <a:extLst>
                <a:ext uri="{FF2B5EF4-FFF2-40B4-BE49-F238E27FC236}">
                  <a16:creationId xmlns:a16="http://schemas.microsoft.com/office/drawing/2014/main" id="{DA855F50-BFB6-FDCB-605D-82AEB671DFE9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9" name="Rechteck 218">
              <a:extLst>
                <a:ext uri="{FF2B5EF4-FFF2-40B4-BE49-F238E27FC236}">
                  <a16:creationId xmlns:a16="http://schemas.microsoft.com/office/drawing/2014/main" id="{4281739E-E7B7-9BDB-131F-84AC8C23BA96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0" name="Rechteck 219">
              <a:extLst>
                <a:ext uri="{FF2B5EF4-FFF2-40B4-BE49-F238E27FC236}">
                  <a16:creationId xmlns:a16="http://schemas.microsoft.com/office/drawing/2014/main" id="{C04C16CB-5373-D852-FB5B-60914E7AF52A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1" name="Rechteck 220">
              <a:extLst>
                <a:ext uri="{FF2B5EF4-FFF2-40B4-BE49-F238E27FC236}">
                  <a16:creationId xmlns:a16="http://schemas.microsoft.com/office/drawing/2014/main" id="{48C4EAAC-78ED-C7D0-8211-5405B2C8ADCA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2" name="Rechteck 221">
              <a:extLst>
                <a:ext uri="{FF2B5EF4-FFF2-40B4-BE49-F238E27FC236}">
                  <a16:creationId xmlns:a16="http://schemas.microsoft.com/office/drawing/2014/main" id="{73D46493-72AD-597A-D3CC-438D81F718DC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3" name="Rechteck 222">
              <a:extLst>
                <a:ext uri="{FF2B5EF4-FFF2-40B4-BE49-F238E27FC236}">
                  <a16:creationId xmlns:a16="http://schemas.microsoft.com/office/drawing/2014/main" id="{24D8B43D-A5A2-8CBB-5495-B660467A0AAB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4" name="Rechteck 223">
              <a:extLst>
                <a:ext uri="{FF2B5EF4-FFF2-40B4-BE49-F238E27FC236}">
                  <a16:creationId xmlns:a16="http://schemas.microsoft.com/office/drawing/2014/main" id="{EB9D1010-B747-503A-8066-C5ED5BC0E590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437ABC38-73D9-6559-0A64-5E8D0CB9476E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E8E9BA53-CCD6-0513-F591-306770708630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7" name="Rechteck 226">
              <a:extLst>
                <a:ext uri="{FF2B5EF4-FFF2-40B4-BE49-F238E27FC236}">
                  <a16:creationId xmlns:a16="http://schemas.microsoft.com/office/drawing/2014/main" id="{1468DA82-BBB6-29B8-F453-58AD471F1255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43263AA6-23B0-7397-E8C2-0EE9F0D881EB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9" name="Rechteck 228">
              <a:extLst>
                <a:ext uri="{FF2B5EF4-FFF2-40B4-BE49-F238E27FC236}">
                  <a16:creationId xmlns:a16="http://schemas.microsoft.com/office/drawing/2014/main" id="{F661DD01-F5F0-B43E-E1FF-D13097785BF3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0" name="Rechteck 229">
              <a:extLst>
                <a:ext uri="{FF2B5EF4-FFF2-40B4-BE49-F238E27FC236}">
                  <a16:creationId xmlns:a16="http://schemas.microsoft.com/office/drawing/2014/main" id="{821932BF-F2C0-F6A2-BE67-A123A05AE1CC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1" name="Rechteck 230">
              <a:extLst>
                <a:ext uri="{FF2B5EF4-FFF2-40B4-BE49-F238E27FC236}">
                  <a16:creationId xmlns:a16="http://schemas.microsoft.com/office/drawing/2014/main" id="{0B003E75-1D77-183D-6E22-FE16A2596159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2" name="Rechteck 231">
              <a:extLst>
                <a:ext uri="{FF2B5EF4-FFF2-40B4-BE49-F238E27FC236}">
                  <a16:creationId xmlns:a16="http://schemas.microsoft.com/office/drawing/2014/main" id="{96DEAB5D-90E2-4153-6B77-EA5AD8E0BE61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3" name="Rechteck 232">
              <a:extLst>
                <a:ext uri="{FF2B5EF4-FFF2-40B4-BE49-F238E27FC236}">
                  <a16:creationId xmlns:a16="http://schemas.microsoft.com/office/drawing/2014/main" id="{41168525-4BE4-965A-64B3-8819FA9D79C9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4" name="Rechteck 233">
              <a:extLst>
                <a:ext uri="{FF2B5EF4-FFF2-40B4-BE49-F238E27FC236}">
                  <a16:creationId xmlns:a16="http://schemas.microsoft.com/office/drawing/2014/main" id="{7E83C9FF-28AA-B4FE-F794-48A93886CA5B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5" name="Rechteck 234">
              <a:extLst>
                <a:ext uri="{FF2B5EF4-FFF2-40B4-BE49-F238E27FC236}">
                  <a16:creationId xmlns:a16="http://schemas.microsoft.com/office/drawing/2014/main" id="{E7462BBA-675E-BBCB-4A30-6CC137FF9F79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6" name="Rechteck 235">
              <a:extLst>
                <a:ext uri="{FF2B5EF4-FFF2-40B4-BE49-F238E27FC236}">
                  <a16:creationId xmlns:a16="http://schemas.microsoft.com/office/drawing/2014/main" id="{57AF37C3-247E-1FBD-2BA4-784ABFE9A93A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7" name="Rechteck 236">
              <a:extLst>
                <a:ext uri="{FF2B5EF4-FFF2-40B4-BE49-F238E27FC236}">
                  <a16:creationId xmlns:a16="http://schemas.microsoft.com/office/drawing/2014/main" id="{A8BF931C-C333-6389-150F-601F175977D1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8" name="Rechteck 237">
              <a:extLst>
                <a:ext uri="{FF2B5EF4-FFF2-40B4-BE49-F238E27FC236}">
                  <a16:creationId xmlns:a16="http://schemas.microsoft.com/office/drawing/2014/main" id="{702D6551-24FF-FF39-C272-C7232F56CBA7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9" name="Rechteck 238">
              <a:extLst>
                <a:ext uri="{FF2B5EF4-FFF2-40B4-BE49-F238E27FC236}">
                  <a16:creationId xmlns:a16="http://schemas.microsoft.com/office/drawing/2014/main" id="{411626C7-335D-D874-13DF-A76A12897459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0" name="Rechteck 239">
              <a:extLst>
                <a:ext uri="{FF2B5EF4-FFF2-40B4-BE49-F238E27FC236}">
                  <a16:creationId xmlns:a16="http://schemas.microsoft.com/office/drawing/2014/main" id="{8B148FB8-C0C0-A645-83CE-67E19139A152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1" name="Rechteck 240">
              <a:extLst>
                <a:ext uri="{FF2B5EF4-FFF2-40B4-BE49-F238E27FC236}">
                  <a16:creationId xmlns:a16="http://schemas.microsoft.com/office/drawing/2014/main" id="{7BA5B129-73E9-C5AB-3398-4E8FD3FE4084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2" name="Rechteck 241">
              <a:extLst>
                <a:ext uri="{FF2B5EF4-FFF2-40B4-BE49-F238E27FC236}">
                  <a16:creationId xmlns:a16="http://schemas.microsoft.com/office/drawing/2014/main" id="{6D877FEF-E81B-65FC-FEBC-62A8C582CB5B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3" name="Rechteck 242">
              <a:extLst>
                <a:ext uri="{FF2B5EF4-FFF2-40B4-BE49-F238E27FC236}">
                  <a16:creationId xmlns:a16="http://schemas.microsoft.com/office/drawing/2014/main" id="{94099468-B996-CC9D-69C1-2D7CAA5BD129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4" name="Rechteck 243">
              <a:extLst>
                <a:ext uri="{FF2B5EF4-FFF2-40B4-BE49-F238E27FC236}">
                  <a16:creationId xmlns:a16="http://schemas.microsoft.com/office/drawing/2014/main" id="{F4FA763D-3005-F2F4-10A0-ED8F132E79AE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5" name="Rechteck 244">
              <a:extLst>
                <a:ext uri="{FF2B5EF4-FFF2-40B4-BE49-F238E27FC236}">
                  <a16:creationId xmlns:a16="http://schemas.microsoft.com/office/drawing/2014/main" id="{29682364-1D4A-FB00-BA89-4D76DE584234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6" name="Rechteck 245">
              <a:extLst>
                <a:ext uri="{FF2B5EF4-FFF2-40B4-BE49-F238E27FC236}">
                  <a16:creationId xmlns:a16="http://schemas.microsoft.com/office/drawing/2014/main" id="{B58D876E-3793-7EFA-AA5B-00125CA374E0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7" name="Rechteck 246">
              <a:extLst>
                <a:ext uri="{FF2B5EF4-FFF2-40B4-BE49-F238E27FC236}">
                  <a16:creationId xmlns:a16="http://schemas.microsoft.com/office/drawing/2014/main" id="{80191F52-E13B-72FD-2E75-6B595EC2665C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8" name="Rechteck 247">
              <a:extLst>
                <a:ext uri="{FF2B5EF4-FFF2-40B4-BE49-F238E27FC236}">
                  <a16:creationId xmlns:a16="http://schemas.microsoft.com/office/drawing/2014/main" id="{C9F244E1-BF86-3DF8-9A58-4B02584B7426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9" name="Rechteck 248">
              <a:extLst>
                <a:ext uri="{FF2B5EF4-FFF2-40B4-BE49-F238E27FC236}">
                  <a16:creationId xmlns:a16="http://schemas.microsoft.com/office/drawing/2014/main" id="{D14EE24A-F952-5130-4FB5-2FBAEC086821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0" name="Rechteck 249">
              <a:extLst>
                <a:ext uri="{FF2B5EF4-FFF2-40B4-BE49-F238E27FC236}">
                  <a16:creationId xmlns:a16="http://schemas.microsoft.com/office/drawing/2014/main" id="{F8E5A96D-8D8A-97F5-96D2-399E425F19FB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1" name="Rechteck 250">
              <a:extLst>
                <a:ext uri="{FF2B5EF4-FFF2-40B4-BE49-F238E27FC236}">
                  <a16:creationId xmlns:a16="http://schemas.microsoft.com/office/drawing/2014/main" id="{EF7C7DD9-2BB0-1E23-AC5B-9FAD412BD337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2" name="Rechteck 251">
              <a:extLst>
                <a:ext uri="{FF2B5EF4-FFF2-40B4-BE49-F238E27FC236}">
                  <a16:creationId xmlns:a16="http://schemas.microsoft.com/office/drawing/2014/main" id="{AF107BAA-784B-7CF0-8A0A-F5B4CAA7DF03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3" name="Rechteck 252">
              <a:extLst>
                <a:ext uri="{FF2B5EF4-FFF2-40B4-BE49-F238E27FC236}">
                  <a16:creationId xmlns:a16="http://schemas.microsoft.com/office/drawing/2014/main" id="{F2FE2ED3-05EF-3D21-6A3A-54E4430BBBAB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4" name="Rechteck 253">
              <a:extLst>
                <a:ext uri="{FF2B5EF4-FFF2-40B4-BE49-F238E27FC236}">
                  <a16:creationId xmlns:a16="http://schemas.microsoft.com/office/drawing/2014/main" id="{36EE0479-6AF7-23B0-9143-1E7D473986E1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5" name="Rechteck 254">
              <a:extLst>
                <a:ext uri="{FF2B5EF4-FFF2-40B4-BE49-F238E27FC236}">
                  <a16:creationId xmlns:a16="http://schemas.microsoft.com/office/drawing/2014/main" id="{46634663-152C-3F16-7240-37D328C5B56F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8EBB1F17-D396-0307-26C4-B269910A49B1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23D2124E-93E5-E21B-5687-B86DDB906490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A1BFEADB-AF63-D874-2550-09EFE52467ED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F6875E95-249A-A482-36DD-1081407297C5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E5F521E5-C95D-650A-0870-FFDBB97B60BC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5FFF7890-7927-791B-DEC5-D44A8078A242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ACD3E02D-4E72-71CE-B37B-B1823D43002B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D17B773B-4EA4-4C93-EA2D-459E5A69C1F3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5DD5E1CE-A44C-223C-73B6-2F75D76784DA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48A8B844-BE83-034C-D901-8B4999184DE2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4695CB49-EDC9-1DA0-7DA9-1DEC526A17EC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66CAA2D2-895B-8940-7E52-BBEBCDEF8B73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B53D8AC4-8D17-338E-149D-BCC53BE8B5B7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0B1E8C07-A0C0-61EB-58F6-63A873E0188D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0" name="Rechteck 269">
              <a:extLst>
                <a:ext uri="{FF2B5EF4-FFF2-40B4-BE49-F238E27FC236}">
                  <a16:creationId xmlns:a16="http://schemas.microsoft.com/office/drawing/2014/main" id="{0C3C644C-1654-C9C4-A20F-414EB9929FAB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1" name="Rechteck 270">
              <a:extLst>
                <a:ext uri="{FF2B5EF4-FFF2-40B4-BE49-F238E27FC236}">
                  <a16:creationId xmlns:a16="http://schemas.microsoft.com/office/drawing/2014/main" id="{3BA8B1E7-9033-A636-6C35-71F27C815723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15FC7DDE-2878-6F09-C189-8E52B1220099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DA75147D-1D80-4CE1-D090-7A971D567216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EE9B3972-0150-DD80-45C8-A3212272D6A1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DE2D9045-F74E-1478-3EE8-00DE9D255A45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5FCE645C-4519-5755-AD97-FE310E5605E4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D74B9EDC-D7B0-A1C0-9654-18BD4185ACEE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D6463FFD-8AA6-5995-495C-77CA3159912B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93D6D3A8-B445-981B-587E-0B5323834F3D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F96E58A7-6D5A-538E-9006-8230B2F74944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AF4517F7-E5FD-D8EF-836B-5716F5C5A5FA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8A5B91A1-403C-83A8-33B4-A70A055AAA55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3" name="Rechteck 282">
              <a:extLst>
                <a:ext uri="{FF2B5EF4-FFF2-40B4-BE49-F238E27FC236}">
                  <a16:creationId xmlns:a16="http://schemas.microsoft.com/office/drawing/2014/main" id="{2E28C4FC-DA87-BEF0-4A16-9B5B34053824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5E592081-8E7C-EB64-94D5-E97C655691B0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97B31262-C004-1B77-F6B5-4A860776D4AC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055FC7A0-0700-5460-D215-DE79D3C13109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FC2029D4-6CB4-E460-E1B5-1F91D006CB75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FC1C4111-69C1-BC9C-B332-8E3A700CA0B7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5434EB44-A966-91E3-3032-FF9136855CEB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7575E3BC-19E2-DE93-EB83-A5AAE10708C3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50762871-F1DA-FB45-2F50-78F99EC73BEB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095C8337-DB1F-09E5-ED29-CD396B2CA4BF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735E28DB-B140-44A6-B165-5F6E5F7D16D5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A7916FD5-974C-0ABE-6F9F-4DC38722AD66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31C32AC5-8088-58B8-F758-9122FADDE40C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9A6753EC-91CB-BCE6-1BAA-4B9825B2E428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EB924952-E665-EC37-DAA1-CF6D07AFDADF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440850A6-C8B6-970B-F0B8-9BB820BD1698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E101BA5C-0696-874D-2424-E986E0CD6556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B5473C80-F860-7B10-EDF2-21F0718ACBF4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399EF873-220F-959C-5A9F-7504E462C386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0092FE3C-1F32-990A-8E2D-6617A13047E4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340A177D-CEC2-35A6-6637-BA783D0AA91A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8D9A015C-D984-D8EF-B43D-4A5D7CEC39B8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8F1D5FE6-9BF6-23A4-3875-0C03DC62787C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1AF14334-ED89-DC4D-A747-2A3149E95403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AF380567-1BEF-D144-E6CE-AD87A8FB1A87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A48469E2-8004-7AE7-9209-AFA2A99C3AAC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0DE39E82-0D89-D957-ECB4-063D88A8E311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2C195A2A-3F2C-046A-31BA-EDA65ABA684C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63BADE9B-4EC8-6FB4-83AC-8597CBC2FFA9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F94EC168-956C-0905-4669-1E5F3200407C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06BD54F1-F400-A51D-70B0-949B4AE5432B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1C9B8F9D-423B-53C5-7031-C0F29D2A07CF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BD9D6A2F-7F82-AA2C-B46B-F1D35116F43B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B42B637F-B697-A05B-E506-8582E04F5063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386C7AB2-3DB7-B8B0-8F8E-932BF77798B5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DF2C3921-A6EE-1564-8EB6-86E54CAE2F37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9A291F76-F9C0-4F1F-322B-F8C7B8D2649F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FA125E10-7CAF-F526-8FEC-E27E7FDC9326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5A3BF2D0-6A06-F29A-3657-BA90B3703F17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25F71FB4-D6B8-A0FE-9672-6632D2E1258C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A652998C-3EC7-BBB5-6D2F-5E7C1F96362B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09EAA50E-0B31-AC04-F6D6-F10E52B9F4E5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C525EE89-11AE-229F-69FE-298E6A89AAB7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FC309F6C-B597-5BCB-27FC-DA7C41A614DD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C0F13427-A1DE-89C9-F1A3-6998F03DFE5D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75568E60-1C8A-E7DE-1D3A-87ED86E984CF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887AF5E4-682A-B89B-E9D7-8AC515F58250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9E2B0B3C-85E5-CE06-F36C-6B63B36DADCC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5B3B5E18-1BD3-A166-84B7-EC6854E6F119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A64AEAE6-889A-8031-4AF7-77A36D6C04F5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7949AF8C-0F4C-D570-6A0C-ABAB83C5EB5E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B8BC125B-AFFC-84D5-43B2-FC41E5B561D5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19CBFE2D-1F4A-38ED-5DC4-E3C956CAD277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A037AE53-43BB-8111-F6BC-3FF00615C29C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84CF2BAA-0E7A-1A64-738A-77538E867FB3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470FBC55-675A-4E80-4401-7ED3E9BA727D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8C92ECB3-C0F5-81EB-ACBC-6DA198F6F407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FC491929-101B-B10E-C62C-AD30B5F7DD38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C32CA8D9-07C7-BA48-B2F8-863B353E9FCC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1A9B1259-B694-CD32-C2DA-85EF65E42187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7F7A2297-390D-E084-DFAA-D415006AAF07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71144E8E-2823-61C3-D930-12801B7CDA8A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19554DE5-E0F3-3D41-472F-13F3763316CC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BBE45D6E-1506-D449-DAB8-E4AC4BC4B70D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48A90556-9999-C807-3E5E-99054EAE6657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CFFF9AE8-7FFF-642E-EA0E-252110334DB4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D00C04BB-FD84-7C92-0A17-05F4C19331D2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91A5D1AD-FAD3-8920-AA6B-881738C7A579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091D4A12-1AFA-3923-1836-D29070546D4A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5E4FC953-2CD8-1F44-0AEB-C2724625531B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1F2CCFB4-C12F-CE74-57CD-FF12D420CA89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D5889B24-014C-AACD-6704-59A4A0D5C14C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48907522-1FD0-5C35-A116-15B577F49970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6CD48130-78E2-FFE6-90D2-788927EBA5B0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1A053ED9-AF37-ECE5-EEA2-04A5D1B8EA83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94F1E6CA-38D5-6415-FECE-9FE38050D140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5FB83D34-4A22-4A04-1093-571CBFDB4AC7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845ECAF5-AD2D-B461-083C-37EFC201EA98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4774FB9A-B077-63B4-8D96-87F1C21D3B01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29B5E140-51EC-3F0D-C4CF-B7ECE78D9BBE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C9AA032B-80DC-A135-6C91-B2682CCD5754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E868F3A5-6207-CAD3-B0DB-DE755FC4DE6A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ED6F84BD-2D87-DA06-692B-51F281295878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C9E9CDD8-98DD-33DF-1E5A-7178FD8BBCA6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99C36470-3EB7-2F89-9B16-F09DF70B91D7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72FC14F1-9EB7-2DE0-6785-CA0E51AA9630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AC05846F-3741-1A74-BB34-1F2924DD54F2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51F5A38E-1326-554E-20C1-4DFE94F43BCC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A87FB715-D88F-35AC-332E-06F6F985E417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EA6CB972-20D1-B212-802B-EDB7AB98A2AE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0040422A-A05C-53B1-13CC-B636F95ED3D3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666AC9D4-7B45-E1BA-A64B-FA31E7C456CF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F9915DAC-1BD3-AE4B-F004-D5A18AEA5899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2FA6E05B-0AE3-01B2-8714-7BF9DDE18533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51E06D59-CDD0-BAB1-665B-431268EA64EA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0D353E87-C263-4055-8EE9-1F7F06FA8830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B26CB989-A5A8-620B-ACAF-43DA60181597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A6764D34-83D5-1B60-6501-E750EE85E0E9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AFBD627E-5245-6945-06F3-5CED924717FB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7866DF84-586B-A0EB-8AD1-DF720D177B2C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36D8321F-48E0-27E1-0C95-9BD7853368D5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82016D08-4B10-E41B-28D8-6384695E2775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CCCCC6CB-B481-B65E-56B0-68E3EB05EF24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DCB9DB2C-53AB-B02B-A941-F1209DF9BA9B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A18DB5F0-03F5-17CA-1D04-ECB89DC7AACF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8AFC8ABD-924D-919F-73EE-7515D9B53BA6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69F1A562-3F13-F7E3-2205-7960A4ED1078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pic>
        <p:nvPicPr>
          <p:cNvPr id="390" name="Logo">
            <a:extLst>
              <a:ext uri="{FF2B5EF4-FFF2-40B4-BE49-F238E27FC236}">
                <a16:creationId xmlns:a16="http://schemas.microsoft.com/office/drawing/2014/main" id="{68AC4FDA-6697-1E82-D72F-E80B2C9017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  <p:grpSp>
        <p:nvGrpSpPr>
          <p:cNvPr id="395" name="Gruppieren 394">
            <a:extLst>
              <a:ext uri="{FF2B5EF4-FFF2-40B4-BE49-F238E27FC236}">
                <a16:creationId xmlns:a16="http://schemas.microsoft.com/office/drawing/2014/main" id="{2A2B01A3-8671-A6DB-3AD5-52305CBD43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1" y="2082829"/>
            <a:ext cx="2448000" cy="0"/>
            <a:chOff x="983432" y="2082829"/>
            <a:chExt cx="2448000" cy="0"/>
          </a:xfrm>
        </p:grpSpPr>
        <p:cxnSp>
          <p:nvCxnSpPr>
            <p:cNvPr id="396" name="Line">
              <a:extLst>
                <a:ext uri="{FF2B5EF4-FFF2-40B4-BE49-F238E27FC236}">
                  <a16:creationId xmlns:a16="http://schemas.microsoft.com/office/drawing/2014/main" id="{D5CA2A2B-3AFA-2A34-9C4F-1795B8C546F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7" name="Line">
              <a:extLst>
                <a:ext uri="{FF2B5EF4-FFF2-40B4-BE49-F238E27FC236}">
                  <a16:creationId xmlns:a16="http://schemas.microsoft.com/office/drawing/2014/main" id="{499FA9B0-41DE-42A0-0D2E-9B835D55D04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rgbClr val="519FB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8" name="Shape">
            <a:extLst>
              <a:ext uri="{FF2B5EF4-FFF2-40B4-BE49-F238E27FC236}">
                <a16:creationId xmlns:a16="http://schemas.microsoft.com/office/drawing/2014/main" id="{F5321458-CC8B-D7DB-B839-3ED0BCCC26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0848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399" name="Bildplatzhalter 398">
            <a:extLst>
              <a:ext uri="{FF2B5EF4-FFF2-40B4-BE49-F238E27FC236}">
                <a16:creationId xmlns:a16="http://schemas.microsoft.com/office/drawing/2014/main" id="{548B01D6-1A79-F4B3-0D53-2E69D8FF9D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367809" y="2061400"/>
            <a:ext cx="5760640" cy="3463099"/>
          </a:xfrm>
          <a:custGeom>
            <a:avLst/>
            <a:gdLst>
              <a:gd name="connsiteX0" fmla="*/ 5760640 w 5760640"/>
              <a:gd name="connsiteY0" fmla="*/ 0 h 3463099"/>
              <a:gd name="connsiteX1" fmla="*/ 4609453 w 5760640"/>
              <a:gd name="connsiteY1" fmla="*/ 2311556 h 3463099"/>
              <a:gd name="connsiteX2" fmla="*/ 0 w 5760640"/>
              <a:gd name="connsiteY2" fmla="*/ 3463099 h 3463099"/>
              <a:gd name="connsiteX3" fmla="*/ 0 w 5760640"/>
              <a:gd name="connsiteY3" fmla="*/ 518 h 3463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60640" h="3463099">
                <a:moveTo>
                  <a:pt x="5760640" y="0"/>
                </a:moveTo>
                <a:lnTo>
                  <a:pt x="4609453" y="2311556"/>
                </a:lnTo>
                <a:lnTo>
                  <a:pt x="0" y="3463099"/>
                </a:lnTo>
                <a:lnTo>
                  <a:pt x="0" y="518"/>
                </a:lnTo>
                <a:close/>
              </a:path>
            </a:pathLst>
          </a:custGeom>
          <a:solidFill>
            <a:srgbClr val="519FBC"/>
          </a:solidFill>
        </p:spPr>
        <p:txBody>
          <a:bodyPr wrap="square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391" name="Title">
            <a:extLst>
              <a:ext uri="{FF2B5EF4-FFF2-40B4-BE49-F238E27FC236}">
                <a16:creationId xmlns:a16="http://schemas.microsoft.com/office/drawing/2014/main" id="{AFE8FB08-C394-0927-1635-0D7B1B1DF06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695400" y="2564904"/>
            <a:ext cx="2952000" cy="1152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36000" rIns="216000" anchor="t">
            <a:noAutofit/>
          </a:bodyPr>
          <a:lstStyle>
            <a:lvl1pPr algn="l" rtl="0">
              <a:lnSpc>
                <a:spcPct val="90000"/>
              </a:lnSpc>
              <a:defRPr sz="2400"/>
            </a:lvl1pPr>
          </a:lstStyle>
          <a:p>
            <a:r>
              <a:rPr lang="en-US"/>
              <a:t>Insert your long title here in max. three lines</a:t>
            </a:r>
            <a:endParaRPr lang="en-US" dirty="0"/>
          </a:p>
        </p:txBody>
      </p:sp>
      <p:sp>
        <p:nvSpPr>
          <p:cNvPr id="392" name="Subtitle 2">
            <a:extLst>
              <a:ext uri="{FF2B5EF4-FFF2-40B4-BE49-F238E27FC236}">
                <a16:creationId xmlns:a16="http://schemas.microsoft.com/office/drawing/2014/main" id="{2C73C20C-0C65-985B-DA85-E7C67365D3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400" y="3717032"/>
            <a:ext cx="2952000" cy="1202385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393" name="Author">
            <a:extLst>
              <a:ext uri="{FF2B5EF4-FFF2-40B4-BE49-F238E27FC236}">
                <a16:creationId xmlns:a16="http://schemas.microsoft.com/office/drawing/2014/main" id="{B9D7B0DE-954C-8A3D-EF54-7991A0A4CE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400" y="4869160"/>
            <a:ext cx="2952000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 anchor="b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US"/>
              <a:t>First name Last name</a:t>
            </a:r>
            <a:endParaRPr lang="en-US" dirty="0"/>
          </a:p>
        </p:txBody>
      </p:sp>
      <p:sp>
        <p:nvSpPr>
          <p:cNvPr id="394" name="Department, Date">
            <a:extLst>
              <a:ext uri="{FF2B5EF4-FFF2-40B4-BE49-F238E27FC236}">
                <a16:creationId xmlns:a16="http://schemas.microsoft.com/office/drawing/2014/main" id="{ECE5E946-7FD8-F6AF-AB1B-79AA7DAF0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5085160"/>
            <a:ext cx="2952000" cy="720104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US"/>
              <a:t>Department</a:t>
            </a:r>
            <a:br>
              <a:rPr lang="en-US"/>
            </a:br>
            <a:r>
              <a:rPr lang="en-US"/>
              <a:t>DD/MM/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13017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|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58C59EB-0BF6-6C64-F71E-8DCEA92A43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2879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8C59EB-0BF6-6C64-F71E-8DCEA92A43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32534F82-1506-EBFD-8238-2A3F85566F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  <a:solidFill>
            <a:schemeClr val="tx1"/>
          </a:solidFill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5D8080AE-AF83-3B4F-C0DC-1D334A29B9AF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BC326249-F777-5B56-C3FA-677BDADB4DCA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22E961BF-DA7D-4A16-47E3-2C4EB81CDD92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D6DD0E49-17F5-E90D-B347-C3CF04F8A7E7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158EF7C0-5A26-3623-35A7-8FF5FD3D1A45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15A7D909-AD3B-9783-1B2B-83A76C90172A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2" name="Rechteck 171">
              <a:extLst>
                <a:ext uri="{FF2B5EF4-FFF2-40B4-BE49-F238E27FC236}">
                  <a16:creationId xmlns:a16="http://schemas.microsoft.com/office/drawing/2014/main" id="{B479E4C1-99FA-3A5A-1F27-6EC380E4A540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3" name="Rechteck 172">
              <a:extLst>
                <a:ext uri="{FF2B5EF4-FFF2-40B4-BE49-F238E27FC236}">
                  <a16:creationId xmlns:a16="http://schemas.microsoft.com/office/drawing/2014/main" id="{49F639A4-D1E6-6C4E-17B4-DD3622FD4CCA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0AB83A91-A1D3-941E-7AB9-2AE0D3ECA3F5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63CE720C-BE12-BB10-A98A-72720E664547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1ACFEF9F-C299-4C80-DB65-19CC5F22084B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E1CC0775-7794-AAAD-52F4-1BFB1FD9337F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3" name="Rechteck 212">
              <a:extLst>
                <a:ext uri="{FF2B5EF4-FFF2-40B4-BE49-F238E27FC236}">
                  <a16:creationId xmlns:a16="http://schemas.microsoft.com/office/drawing/2014/main" id="{2CFE9583-286B-87DD-1C36-94D3295EB913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47DA1C60-D5A6-721F-C767-2D5702BD5806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5" name="Rechteck 214">
              <a:extLst>
                <a:ext uri="{FF2B5EF4-FFF2-40B4-BE49-F238E27FC236}">
                  <a16:creationId xmlns:a16="http://schemas.microsoft.com/office/drawing/2014/main" id="{2F207EC8-546F-1137-E2FA-5BF0D29DF9A6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6" name="Rechteck 215">
              <a:extLst>
                <a:ext uri="{FF2B5EF4-FFF2-40B4-BE49-F238E27FC236}">
                  <a16:creationId xmlns:a16="http://schemas.microsoft.com/office/drawing/2014/main" id="{FF3FCB96-48AB-22CB-2A7B-8D2968874F24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7" name="Rechteck 216">
              <a:extLst>
                <a:ext uri="{FF2B5EF4-FFF2-40B4-BE49-F238E27FC236}">
                  <a16:creationId xmlns:a16="http://schemas.microsoft.com/office/drawing/2014/main" id="{C6C9272E-00EC-C142-527C-15B2A6AF0D53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8" name="Rechteck 217">
              <a:extLst>
                <a:ext uri="{FF2B5EF4-FFF2-40B4-BE49-F238E27FC236}">
                  <a16:creationId xmlns:a16="http://schemas.microsoft.com/office/drawing/2014/main" id="{DA855F50-BFB6-FDCB-605D-82AEB671DFE9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9" name="Rechteck 218">
              <a:extLst>
                <a:ext uri="{FF2B5EF4-FFF2-40B4-BE49-F238E27FC236}">
                  <a16:creationId xmlns:a16="http://schemas.microsoft.com/office/drawing/2014/main" id="{4281739E-E7B7-9BDB-131F-84AC8C23BA96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0" name="Rechteck 219">
              <a:extLst>
                <a:ext uri="{FF2B5EF4-FFF2-40B4-BE49-F238E27FC236}">
                  <a16:creationId xmlns:a16="http://schemas.microsoft.com/office/drawing/2014/main" id="{C04C16CB-5373-D852-FB5B-60914E7AF52A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1" name="Rechteck 220">
              <a:extLst>
                <a:ext uri="{FF2B5EF4-FFF2-40B4-BE49-F238E27FC236}">
                  <a16:creationId xmlns:a16="http://schemas.microsoft.com/office/drawing/2014/main" id="{48C4EAAC-78ED-C7D0-8211-5405B2C8ADCA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2" name="Rechteck 221">
              <a:extLst>
                <a:ext uri="{FF2B5EF4-FFF2-40B4-BE49-F238E27FC236}">
                  <a16:creationId xmlns:a16="http://schemas.microsoft.com/office/drawing/2014/main" id="{73D46493-72AD-597A-D3CC-438D81F718DC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3" name="Rechteck 222">
              <a:extLst>
                <a:ext uri="{FF2B5EF4-FFF2-40B4-BE49-F238E27FC236}">
                  <a16:creationId xmlns:a16="http://schemas.microsoft.com/office/drawing/2014/main" id="{24D8B43D-A5A2-8CBB-5495-B660467A0AAB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4" name="Rechteck 223">
              <a:extLst>
                <a:ext uri="{FF2B5EF4-FFF2-40B4-BE49-F238E27FC236}">
                  <a16:creationId xmlns:a16="http://schemas.microsoft.com/office/drawing/2014/main" id="{EB9D1010-B747-503A-8066-C5ED5BC0E590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437ABC38-73D9-6559-0A64-5E8D0CB9476E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E8E9BA53-CCD6-0513-F591-306770708630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7" name="Rechteck 226">
              <a:extLst>
                <a:ext uri="{FF2B5EF4-FFF2-40B4-BE49-F238E27FC236}">
                  <a16:creationId xmlns:a16="http://schemas.microsoft.com/office/drawing/2014/main" id="{1468DA82-BBB6-29B8-F453-58AD471F1255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43263AA6-23B0-7397-E8C2-0EE9F0D881EB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9" name="Rechteck 228">
              <a:extLst>
                <a:ext uri="{FF2B5EF4-FFF2-40B4-BE49-F238E27FC236}">
                  <a16:creationId xmlns:a16="http://schemas.microsoft.com/office/drawing/2014/main" id="{F661DD01-F5F0-B43E-E1FF-D13097785BF3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0" name="Rechteck 229">
              <a:extLst>
                <a:ext uri="{FF2B5EF4-FFF2-40B4-BE49-F238E27FC236}">
                  <a16:creationId xmlns:a16="http://schemas.microsoft.com/office/drawing/2014/main" id="{821932BF-F2C0-F6A2-BE67-A123A05AE1CC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1" name="Rechteck 230">
              <a:extLst>
                <a:ext uri="{FF2B5EF4-FFF2-40B4-BE49-F238E27FC236}">
                  <a16:creationId xmlns:a16="http://schemas.microsoft.com/office/drawing/2014/main" id="{0B003E75-1D77-183D-6E22-FE16A2596159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2" name="Rechteck 231">
              <a:extLst>
                <a:ext uri="{FF2B5EF4-FFF2-40B4-BE49-F238E27FC236}">
                  <a16:creationId xmlns:a16="http://schemas.microsoft.com/office/drawing/2014/main" id="{96DEAB5D-90E2-4153-6B77-EA5AD8E0BE61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3" name="Rechteck 232">
              <a:extLst>
                <a:ext uri="{FF2B5EF4-FFF2-40B4-BE49-F238E27FC236}">
                  <a16:creationId xmlns:a16="http://schemas.microsoft.com/office/drawing/2014/main" id="{41168525-4BE4-965A-64B3-8819FA9D79C9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4" name="Rechteck 233">
              <a:extLst>
                <a:ext uri="{FF2B5EF4-FFF2-40B4-BE49-F238E27FC236}">
                  <a16:creationId xmlns:a16="http://schemas.microsoft.com/office/drawing/2014/main" id="{7E83C9FF-28AA-B4FE-F794-48A93886CA5B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5" name="Rechteck 234">
              <a:extLst>
                <a:ext uri="{FF2B5EF4-FFF2-40B4-BE49-F238E27FC236}">
                  <a16:creationId xmlns:a16="http://schemas.microsoft.com/office/drawing/2014/main" id="{E7462BBA-675E-BBCB-4A30-6CC137FF9F79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6" name="Rechteck 235">
              <a:extLst>
                <a:ext uri="{FF2B5EF4-FFF2-40B4-BE49-F238E27FC236}">
                  <a16:creationId xmlns:a16="http://schemas.microsoft.com/office/drawing/2014/main" id="{57AF37C3-247E-1FBD-2BA4-784ABFE9A93A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7" name="Rechteck 236">
              <a:extLst>
                <a:ext uri="{FF2B5EF4-FFF2-40B4-BE49-F238E27FC236}">
                  <a16:creationId xmlns:a16="http://schemas.microsoft.com/office/drawing/2014/main" id="{A8BF931C-C333-6389-150F-601F175977D1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8" name="Rechteck 237">
              <a:extLst>
                <a:ext uri="{FF2B5EF4-FFF2-40B4-BE49-F238E27FC236}">
                  <a16:creationId xmlns:a16="http://schemas.microsoft.com/office/drawing/2014/main" id="{702D6551-24FF-FF39-C272-C7232F56CBA7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9" name="Rechteck 238">
              <a:extLst>
                <a:ext uri="{FF2B5EF4-FFF2-40B4-BE49-F238E27FC236}">
                  <a16:creationId xmlns:a16="http://schemas.microsoft.com/office/drawing/2014/main" id="{411626C7-335D-D874-13DF-A76A12897459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0" name="Rechteck 239">
              <a:extLst>
                <a:ext uri="{FF2B5EF4-FFF2-40B4-BE49-F238E27FC236}">
                  <a16:creationId xmlns:a16="http://schemas.microsoft.com/office/drawing/2014/main" id="{8B148FB8-C0C0-A645-83CE-67E19139A152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1" name="Rechteck 240">
              <a:extLst>
                <a:ext uri="{FF2B5EF4-FFF2-40B4-BE49-F238E27FC236}">
                  <a16:creationId xmlns:a16="http://schemas.microsoft.com/office/drawing/2014/main" id="{7BA5B129-73E9-C5AB-3398-4E8FD3FE4084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2" name="Rechteck 241">
              <a:extLst>
                <a:ext uri="{FF2B5EF4-FFF2-40B4-BE49-F238E27FC236}">
                  <a16:creationId xmlns:a16="http://schemas.microsoft.com/office/drawing/2014/main" id="{6D877FEF-E81B-65FC-FEBC-62A8C582CB5B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3" name="Rechteck 242">
              <a:extLst>
                <a:ext uri="{FF2B5EF4-FFF2-40B4-BE49-F238E27FC236}">
                  <a16:creationId xmlns:a16="http://schemas.microsoft.com/office/drawing/2014/main" id="{94099468-B996-CC9D-69C1-2D7CAA5BD129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4" name="Rechteck 243">
              <a:extLst>
                <a:ext uri="{FF2B5EF4-FFF2-40B4-BE49-F238E27FC236}">
                  <a16:creationId xmlns:a16="http://schemas.microsoft.com/office/drawing/2014/main" id="{F4FA763D-3005-F2F4-10A0-ED8F132E79AE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5" name="Rechteck 244">
              <a:extLst>
                <a:ext uri="{FF2B5EF4-FFF2-40B4-BE49-F238E27FC236}">
                  <a16:creationId xmlns:a16="http://schemas.microsoft.com/office/drawing/2014/main" id="{29682364-1D4A-FB00-BA89-4D76DE584234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6" name="Rechteck 245">
              <a:extLst>
                <a:ext uri="{FF2B5EF4-FFF2-40B4-BE49-F238E27FC236}">
                  <a16:creationId xmlns:a16="http://schemas.microsoft.com/office/drawing/2014/main" id="{B58D876E-3793-7EFA-AA5B-00125CA374E0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7" name="Rechteck 246">
              <a:extLst>
                <a:ext uri="{FF2B5EF4-FFF2-40B4-BE49-F238E27FC236}">
                  <a16:creationId xmlns:a16="http://schemas.microsoft.com/office/drawing/2014/main" id="{80191F52-E13B-72FD-2E75-6B595EC2665C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8" name="Rechteck 247">
              <a:extLst>
                <a:ext uri="{FF2B5EF4-FFF2-40B4-BE49-F238E27FC236}">
                  <a16:creationId xmlns:a16="http://schemas.microsoft.com/office/drawing/2014/main" id="{C9F244E1-BF86-3DF8-9A58-4B02584B7426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9" name="Rechteck 248">
              <a:extLst>
                <a:ext uri="{FF2B5EF4-FFF2-40B4-BE49-F238E27FC236}">
                  <a16:creationId xmlns:a16="http://schemas.microsoft.com/office/drawing/2014/main" id="{D14EE24A-F952-5130-4FB5-2FBAEC086821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0" name="Rechteck 249">
              <a:extLst>
                <a:ext uri="{FF2B5EF4-FFF2-40B4-BE49-F238E27FC236}">
                  <a16:creationId xmlns:a16="http://schemas.microsoft.com/office/drawing/2014/main" id="{F8E5A96D-8D8A-97F5-96D2-399E425F19FB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1" name="Rechteck 250">
              <a:extLst>
                <a:ext uri="{FF2B5EF4-FFF2-40B4-BE49-F238E27FC236}">
                  <a16:creationId xmlns:a16="http://schemas.microsoft.com/office/drawing/2014/main" id="{EF7C7DD9-2BB0-1E23-AC5B-9FAD412BD337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2" name="Rechteck 251">
              <a:extLst>
                <a:ext uri="{FF2B5EF4-FFF2-40B4-BE49-F238E27FC236}">
                  <a16:creationId xmlns:a16="http://schemas.microsoft.com/office/drawing/2014/main" id="{AF107BAA-784B-7CF0-8A0A-F5B4CAA7DF03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3" name="Rechteck 252">
              <a:extLst>
                <a:ext uri="{FF2B5EF4-FFF2-40B4-BE49-F238E27FC236}">
                  <a16:creationId xmlns:a16="http://schemas.microsoft.com/office/drawing/2014/main" id="{F2FE2ED3-05EF-3D21-6A3A-54E4430BBBAB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4" name="Rechteck 253">
              <a:extLst>
                <a:ext uri="{FF2B5EF4-FFF2-40B4-BE49-F238E27FC236}">
                  <a16:creationId xmlns:a16="http://schemas.microsoft.com/office/drawing/2014/main" id="{36EE0479-6AF7-23B0-9143-1E7D473986E1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5" name="Rechteck 254">
              <a:extLst>
                <a:ext uri="{FF2B5EF4-FFF2-40B4-BE49-F238E27FC236}">
                  <a16:creationId xmlns:a16="http://schemas.microsoft.com/office/drawing/2014/main" id="{46634663-152C-3F16-7240-37D328C5B56F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8EBB1F17-D396-0307-26C4-B269910A49B1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23D2124E-93E5-E21B-5687-B86DDB906490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A1BFEADB-AF63-D874-2550-09EFE52467ED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F6875E95-249A-A482-36DD-1081407297C5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E5F521E5-C95D-650A-0870-FFDBB97B60BC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5FFF7890-7927-791B-DEC5-D44A8078A242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ACD3E02D-4E72-71CE-B37B-B1823D43002B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D17B773B-4EA4-4C93-EA2D-459E5A69C1F3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5DD5E1CE-A44C-223C-73B6-2F75D76784DA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48A8B844-BE83-034C-D901-8B4999184DE2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4695CB49-EDC9-1DA0-7DA9-1DEC526A17EC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66CAA2D2-895B-8940-7E52-BBEBCDEF8B73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B53D8AC4-8D17-338E-149D-BCC53BE8B5B7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0B1E8C07-A0C0-61EB-58F6-63A873E0188D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0" name="Rechteck 269">
              <a:extLst>
                <a:ext uri="{FF2B5EF4-FFF2-40B4-BE49-F238E27FC236}">
                  <a16:creationId xmlns:a16="http://schemas.microsoft.com/office/drawing/2014/main" id="{0C3C644C-1654-C9C4-A20F-414EB9929FAB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1" name="Rechteck 270">
              <a:extLst>
                <a:ext uri="{FF2B5EF4-FFF2-40B4-BE49-F238E27FC236}">
                  <a16:creationId xmlns:a16="http://schemas.microsoft.com/office/drawing/2014/main" id="{3BA8B1E7-9033-A636-6C35-71F27C815723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15FC7DDE-2878-6F09-C189-8E52B1220099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DA75147D-1D80-4CE1-D090-7A971D567216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EE9B3972-0150-DD80-45C8-A3212272D6A1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DE2D9045-F74E-1478-3EE8-00DE9D255A45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5FCE645C-4519-5755-AD97-FE310E5605E4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D74B9EDC-D7B0-A1C0-9654-18BD4185ACEE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D6463FFD-8AA6-5995-495C-77CA3159912B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93D6D3A8-B445-981B-587E-0B5323834F3D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F96E58A7-6D5A-538E-9006-8230B2F74944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AF4517F7-E5FD-D8EF-836B-5716F5C5A5FA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8A5B91A1-403C-83A8-33B4-A70A055AAA55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3" name="Rechteck 282">
              <a:extLst>
                <a:ext uri="{FF2B5EF4-FFF2-40B4-BE49-F238E27FC236}">
                  <a16:creationId xmlns:a16="http://schemas.microsoft.com/office/drawing/2014/main" id="{2E28C4FC-DA87-BEF0-4A16-9B5B34053824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5E592081-8E7C-EB64-94D5-E97C655691B0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97B31262-C004-1B77-F6B5-4A860776D4AC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055FC7A0-0700-5460-D215-DE79D3C13109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FC2029D4-6CB4-E460-E1B5-1F91D006CB75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FC1C4111-69C1-BC9C-B332-8E3A700CA0B7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5434EB44-A966-91E3-3032-FF9136855CEB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7575E3BC-19E2-DE93-EB83-A5AAE10708C3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50762871-F1DA-FB45-2F50-78F99EC73BEB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095C8337-DB1F-09E5-ED29-CD396B2CA4BF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735E28DB-B140-44A6-B165-5F6E5F7D16D5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A7916FD5-974C-0ABE-6F9F-4DC38722AD66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31C32AC5-8088-58B8-F758-9122FADDE40C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9A6753EC-91CB-BCE6-1BAA-4B9825B2E428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EB924952-E665-EC37-DAA1-CF6D07AFDADF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440850A6-C8B6-970B-F0B8-9BB820BD1698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E101BA5C-0696-874D-2424-E986E0CD6556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B5473C80-F860-7B10-EDF2-21F0718ACBF4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399EF873-220F-959C-5A9F-7504E462C386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0092FE3C-1F32-990A-8E2D-6617A13047E4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340A177D-CEC2-35A6-6637-BA783D0AA91A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8D9A015C-D984-D8EF-B43D-4A5D7CEC39B8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8F1D5FE6-9BF6-23A4-3875-0C03DC62787C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1AF14334-ED89-DC4D-A747-2A3149E95403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AF380567-1BEF-D144-E6CE-AD87A8FB1A87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A48469E2-8004-7AE7-9209-AFA2A99C3AAC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0DE39E82-0D89-D957-ECB4-063D88A8E311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2C195A2A-3F2C-046A-31BA-EDA65ABA684C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63BADE9B-4EC8-6FB4-83AC-8597CBC2FFA9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F94EC168-956C-0905-4669-1E5F3200407C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06BD54F1-F400-A51D-70B0-949B4AE5432B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1C9B8F9D-423B-53C5-7031-C0F29D2A07CF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BD9D6A2F-7F82-AA2C-B46B-F1D35116F43B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B42B637F-B697-A05B-E506-8582E04F5063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386C7AB2-3DB7-B8B0-8F8E-932BF77798B5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DF2C3921-A6EE-1564-8EB6-86E54CAE2F37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9A291F76-F9C0-4F1F-322B-F8C7B8D2649F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FA125E10-7CAF-F526-8FEC-E27E7FDC9326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5A3BF2D0-6A06-F29A-3657-BA90B3703F17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25F71FB4-D6B8-A0FE-9672-6632D2E1258C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A652998C-3EC7-BBB5-6D2F-5E7C1F96362B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09EAA50E-0B31-AC04-F6D6-F10E52B9F4E5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C525EE89-11AE-229F-69FE-298E6A89AAB7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FC309F6C-B597-5BCB-27FC-DA7C41A614DD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C0F13427-A1DE-89C9-F1A3-6998F03DFE5D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75568E60-1C8A-E7DE-1D3A-87ED86E984CF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887AF5E4-682A-B89B-E9D7-8AC515F58250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9E2B0B3C-85E5-CE06-F36C-6B63B36DADCC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5B3B5E18-1BD3-A166-84B7-EC6854E6F119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A64AEAE6-889A-8031-4AF7-77A36D6C04F5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7949AF8C-0F4C-D570-6A0C-ABAB83C5EB5E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B8BC125B-AFFC-84D5-43B2-FC41E5B561D5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19CBFE2D-1F4A-38ED-5DC4-E3C956CAD277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A037AE53-43BB-8111-F6BC-3FF00615C29C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84CF2BAA-0E7A-1A64-738A-77538E867FB3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470FBC55-675A-4E80-4401-7ED3E9BA727D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8C92ECB3-C0F5-81EB-ACBC-6DA198F6F407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FC491929-101B-B10E-C62C-AD30B5F7DD38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C32CA8D9-07C7-BA48-B2F8-863B353E9FCC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1A9B1259-B694-CD32-C2DA-85EF65E42187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7F7A2297-390D-E084-DFAA-D415006AAF07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71144E8E-2823-61C3-D930-12801B7CDA8A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19554DE5-E0F3-3D41-472F-13F3763316CC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BBE45D6E-1506-D449-DAB8-E4AC4BC4B70D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48A90556-9999-C807-3E5E-99054EAE6657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CFFF9AE8-7FFF-642E-EA0E-252110334DB4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D00C04BB-FD84-7C92-0A17-05F4C19331D2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91A5D1AD-FAD3-8920-AA6B-881738C7A579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091D4A12-1AFA-3923-1836-D29070546D4A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5E4FC953-2CD8-1F44-0AEB-C2724625531B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1F2CCFB4-C12F-CE74-57CD-FF12D420CA89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D5889B24-014C-AACD-6704-59A4A0D5C14C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48907522-1FD0-5C35-A116-15B577F49970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6CD48130-78E2-FFE6-90D2-788927EBA5B0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1A053ED9-AF37-ECE5-EEA2-04A5D1B8EA83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94F1E6CA-38D5-6415-FECE-9FE38050D140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5FB83D34-4A22-4A04-1093-571CBFDB4AC7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845ECAF5-AD2D-B461-083C-37EFC201EA98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4774FB9A-B077-63B4-8D96-87F1C21D3B01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29B5E140-51EC-3F0D-C4CF-B7ECE78D9BBE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C9AA032B-80DC-A135-6C91-B2682CCD5754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E868F3A5-6207-CAD3-B0DB-DE755FC4DE6A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ED6F84BD-2D87-DA06-692B-51F281295878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C9E9CDD8-98DD-33DF-1E5A-7178FD8BBCA6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99C36470-3EB7-2F89-9B16-F09DF70B91D7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72FC14F1-9EB7-2DE0-6785-CA0E51AA9630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AC05846F-3741-1A74-BB34-1F2924DD54F2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51F5A38E-1326-554E-20C1-4DFE94F43BCC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A87FB715-D88F-35AC-332E-06F6F985E417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EA6CB972-20D1-B212-802B-EDB7AB98A2AE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0040422A-A05C-53B1-13CC-B636F95ED3D3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666AC9D4-7B45-E1BA-A64B-FA31E7C456CF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F9915DAC-1BD3-AE4B-F004-D5A18AEA5899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2FA6E05B-0AE3-01B2-8714-7BF9DDE18533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51E06D59-CDD0-BAB1-665B-431268EA64EA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0D353E87-C263-4055-8EE9-1F7F06FA8830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B26CB989-A5A8-620B-ACAF-43DA60181597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A6764D34-83D5-1B60-6501-E750EE85E0E9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AFBD627E-5245-6945-06F3-5CED924717FB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7866DF84-586B-A0EB-8AD1-DF720D177B2C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36D8321F-48E0-27E1-0C95-9BD7853368D5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82016D08-4B10-E41B-28D8-6384695E2775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CCCCC6CB-B481-B65E-56B0-68E3EB05EF24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DCB9DB2C-53AB-B02B-A941-F1209DF9BA9B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A18DB5F0-03F5-17CA-1D04-ECB89DC7AACF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8AFC8ABD-924D-919F-73EE-7515D9B53BA6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69F1A562-3F13-F7E3-2205-7960A4ED1078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grpSp>
        <p:nvGrpSpPr>
          <p:cNvPr id="395" name="Gruppieren 394">
            <a:extLst>
              <a:ext uri="{FF2B5EF4-FFF2-40B4-BE49-F238E27FC236}">
                <a16:creationId xmlns:a16="http://schemas.microsoft.com/office/drawing/2014/main" id="{2A2B01A3-8671-A6DB-3AD5-52305CBD43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1" y="2082829"/>
            <a:ext cx="2448000" cy="0"/>
            <a:chOff x="983432" y="2082829"/>
            <a:chExt cx="2448000" cy="0"/>
          </a:xfrm>
        </p:grpSpPr>
        <p:cxnSp>
          <p:nvCxnSpPr>
            <p:cNvPr id="396" name="Line">
              <a:extLst>
                <a:ext uri="{FF2B5EF4-FFF2-40B4-BE49-F238E27FC236}">
                  <a16:creationId xmlns:a16="http://schemas.microsoft.com/office/drawing/2014/main" id="{D5CA2A2B-3AFA-2A34-9C4F-1795B8C546F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7" name="Line">
              <a:extLst>
                <a:ext uri="{FF2B5EF4-FFF2-40B4-BE49-F238E27FC236}">
                  <a16:creationId xmlns:a16="http://schemas.microsoft.com/office/drawing/2014/main" id="{499FA9B0-41DE-42A0-0D2E-9B835D55D04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8" name="Shape">
            <a:extLst>
              <a:ext uri="{FF2B5EF4-FFF2-40B4-BE49-F238E27FC236}">
                <a16:creationId xmlns:a16="http://schemas.microsoft.com/office/drawing/2014/main" id="{F5321458-CC8B-D7DB-B839-3ED0BCCC26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0848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399" name="Bildplatzhalter 398">
            <a:extLst>
              <a:ext uri="{FF2B5EF4-FFF2-40B4-BE49-F238E27FC236}">
                <a16:creationId xmlns:a16="http://schemas.microsoft.com/office/drawing/2014/main" id="{548B01D6-1A79-F4B3-0D53-2E69D8FF9D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367809" y="2061400"/>
            <a:ext cx="5760640" cy="3463099"/>
          </a:xfrm>
          <a:custGeom>
            <a:avLst/>
            <a:gdLst>
              <a:gd name="connsiteX0" fmla="*/ 5760640 w 5760640"/>
              <a:gd name="connsiteY0" fmla="*/ 0 h 3463099"/>
              <a:gd name="connsiteX1" fmla="*/ 4609453 w 5760640"/>
              <a:gd name="connsiteY1" fmla="*/ 2311556 h 3463099"/>
              <a:gd name="connsiteX2" fmla="*/ 0 w 5760640"/>
              <a:gd name="connsiteY2" fmla="*/ 3463099 h 3463099"/>
              <a:gd name="connsiteX3" fmla="*/ 0 w 5760640"/>
              <a:gd name="connsiteY3" fmla="*/ 518 h 3463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60640" h="3463099">
                <a:moveTo>
                  <a:pt x="5760640" y="0"/>
                </a:moveTo>
                <a:lnTo>
                  <a:pt x="4609453" y="2311556"/>
                </a:lnTo>
                <a:lnTo>
                  <a:pt x="0" y="3463099"/>
                </a:lnTo>
                <a:lnTo>
                  <a:pt x="0" y="51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391" name="Title">
            <a:extLst>
              <a:ext uri="{FF2B5EF4-FFF2-40B4-BE49-F238E27FC236}">
                <a16:creationId xmlns:a16="http://schemas.microsoft.com/office/drawing/2014/main" id="{AFE8FB08-C394-0927-1635-0D7B1B1DF06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695400" y="2564904"/>
            <a:ext cx="2952000" cy="1152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36000" rIns="216000" anchor="t">
            <a:noAutofit/>
          </a:bodyPr>
          <a:lstStyle>
            <a:lvl1pPr algn="l" rtl="0">
              <a:lnSpc>
                <a:spcPct val="90000"/>
              </a:lnSpc>
              <a:defRPr sz="2400"/>
            </a:lvl1pPr>
          </a:lstStyle>
          <a:p>
            <a:r>
              <a:rPr lang="en-US"/>
              <a:t>Insert your long title here in max. three lines</a:t>
            </a:r>
            <a:endParaRPr lang="en-US" dirty="0"/>
          </a:p>
        </p:txBody>
      </p:sp>
      <p:sp>
        <p:nvSpPr>
          <p:cNvPr id="392" name="Subtitle 2">
            <a:extLst>
              <a:ext uri="{FF2B5EF4-FFF2-40B4-BE49-F238E27FC236}">
                <a16:creationId xmlns:a16="http://schemas.microsoft.com/office/drawing/2014/main" id="{2C73C20C-0C65-985B-DA85-E7C67365D3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400" y="3717032"/>
            <a:ext cx="2952000" cy="1202385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393" name="Author">
            <a:extLst>
              <a:ext uri="{FF2B5EF4-FFF2-40B4-BE49-F238E27FC236}">
                <a16:creationId xmlns:a16="http://schemas.microsoft.com/office/drawing/2014/main" id="{B9D7B0DE-954C-8A3D-EF54-7991A0A4CE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400" y="4869160"/>
            <a:ext cx="2952000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 anchor="b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US"/>
              <a:t>First name Last name</a:t>
            </a:r>
            <a:endParaRPr lang="en-US" dirty="0"/>
          </a:p>
        </p:txBody>
      </p:sp>
      <p:sp>
        <p:nvSpPr>
          <p:cNvPr id="394" name="Department, Date">
            <a:extLst>
              <a:ext uri="{FF2B5EF4-FFF2-40B4-BE49-F238E27FC236}">
                <a16:creationId xmlns:a16="http://schemas.microsoft.com/office/drawing/2014/main" id="{ECE5E946-7FD8-F6AF-AB1B-79AA7DAF0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5085160"/>
            <a:ext cx="2952000" cy="720104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US"/>
              <a:t>Department</a:t>
            </a:r>
            <a:br>
              <a:rPr lang="en-US"/>
            </a:br>
            <a:r>
              <a:rPr lang="en-US"/>
              <a:t>DD/MM/YYYY</a:t>
            </a:r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EF79F37-1353-AEA3-D709-2A510576702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28448" y="335757"/>
            <a:ext cx="1357200" cy="575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5589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big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7D60792-5F5C-8045-4309-30820D6DE5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7819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D60792-5F5C-8045-4309-30820D6DE5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6" name="Picture">
            <a:extLst>
              <a:ext uri="{FF2B5EF4-FFF2-40B4-BE49-F238E27FC236}">
                <a16:creationId xmlns:a16="http://schemas.microsoft.com/office/drawing/2014/main" id="{7F971BB4-CECE-4C6B-9C8F-D4F40265C4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EFDF75BA-555D-4338-B380-D9FEBC0FA6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9" hasCustomPrompt="1"/>
          </p:nvPr>
        </p:nvSpPr>
        <p:spPr bwMode="gray">
          <a:xfrm>
            <a:off x="10128000" y="333000"/>
            <a:ext cx="1357200" cy="576000"/>
          </a:xfr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27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 rtl="0">
              <a:spcBef>
                <a:spcPts val="0"/>
              </a:spcBef>
              <a:buNone/>
              <a:defRPr sz="100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10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0">
                <a:latin typeface="+mn-lt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 sz="1000" b="0"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0"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0"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0"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0">
                <a:latin typeface="+mn-lt"/>
              </a:defRPr>
            </a:lvl9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9BBA445-B1E4-2FDB-A199-21D492801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1425" y="1484785"/>
            <a:ext cx="4034431" cy="4608834"/>
          </a:xfrm>
          <a:custGeom>
            <a:avLst/>
            <a:gdLst>
              <a:gd name="connsiteX0" fmla="*/ 4029048 w 5051672"/>
              <a:gd name="connsiteY0" fmla="*/ 0 h 3547859"/>
              <a:gd name="connsiteX1" fmla="*/ 5051672 w 5051672"/>
              <a:gd name="connsiteY1" fmla="*/ 3547859 h 3547859"/>
              <a:gd name="connsiteX2" fmla="*/ 0 w 5051672"/>
              <a:gd name="connsiteY2" fmla="*/ 2520032 h 3547859"/>
              <a:gd name="connsiteX3" fmla="*/ 0 w 5051672"/>
              <a:gd name="connsiteY3" fmla="*/ 377 h 3547859"/>
              <a:gd name="connsiteX0" fmla="*/ 4029048 w 5075736"/>
              <a:gd name="connsiteY0" fmla="*/ 0 h 3229981"/>
              <a:gd name="connsiteX1" fmla="*/ 5075736 w 5075736"/>
              <a:gd name="connsiteY1" fmla="*/ 3229981 h 3229981"/>
              <a:gd name="connsiteX2" fmla="*/ 0 w 5075736"/>
              <a:gd name="connsiteY2" fmla="*/ 2520032 h 3229981"/>
              <a:gd name="connsiteX3" fmla="*/ 0 w 5075736"/>
              <a:gd name="connsiteY3" fmla="*/ 377 h 3229981"/>
              <a:gd name="connsiteX4" fmla="*/ 4029048 w 5075736"/>
              <a:gd name="connsiteY4" fmla="*/ 0 h 3229981"/>
              <a:gd name="connsiteX0" fmla="*/ 4029048 w 5051673"/>
              <a:gd name="connsiteY0" fmla="*/ 0 h 3229981"/>
              <a:gd name="connsiteX1" fmla="*/ 5051673 w 5051673"/>
              <a:gd name="connsiteY1" fmla="*/ 3229981 h 3229981"/>
              <a:gd name="connsiteX2" fmla="*/ 0 w 5051673"/>
              <a:gd name="connsiteY2" fmla="*/ 2520032 h 3229981"/>
              <a:gd name="connsiteX3" fmla="*/ 0 w 5051673"/>
              <a:gd name="connsiteY3" fmla="*/ 377 h 3229981"/>
              <a:gd name="connsiteX4" fmla="*/ 4029048 w 5051673"/>
              <a:gd name="connsiteY4" fmla="*/ 0 h 3229981"/>
              <a:gd name="connsiteX0" fmla="*/ 4029048 w 5042148"/>
              <a:gd name="connsiteY0" fmla="*/ 0 h 3243584"/>
              <a:gd name="connsiteX1" fmla="*/ 5042148 w 5042148"/>
              <a:gd name="connsiteY1" fmla="*/ 3243584 h 3243584"/>
              <a:gd name="connsiteX2" fmla="*/ 0 w 5042148"/>
              <a:gd name="connsiteY2" fmla="*/ 2520032 h 3243584"/>
              <a:gd name="connsiteX3" fmla="*/ 0 w 5042148"/>
              <a:gd name="connsiteY3" fmla="*/ 377 h 3243584"/>
              <a:gd name="connsiteX4" fmla="*/ 4029048 w 5042148"/>
              <a:gd name="connsiteY4" fmla="*/ 0 h 3243584"/>
              <a:gd name="connsiteX0" fmla="*/ 4029048 w 5207881"/>
              <a:gd name="connsiteY0" fmla="*/ 0 h 3252176"/>
              <a:gd name="connsiteX1" fmla="*/ 5207881 w 5207881"/>
              <a:gd name="connsiteY1" fmla="*/ 3252176 h 3252176"/>
              <a:gd name="connsiteX2" fmla="*/ 0 w 5207881"/>
              <a:gd name="connsiteY2" fmla="*/ 2520032 h 3252176"/>
              <a:gd name="connsiteX3" fmla="*/ 0 w 5207881"/>
              <a:gd name="connsiteY3" fmla="*/ 377 h 3252176"/>
              <a:gd name="connsiteX4" fmla="*/ 4029048 w 5207881"/>
              <a:gd name="connsiteY4" fmla="*/ 0 h 3252176"/>
              <a:gd name="connsiteX0" fmla="*/ 4029048 w 5202414"/>
              <a:gd name="connsiteY0" fmla="*/ 0 h 3241974"/>
              <a:gd name="connsiteX1" fmla="*/ 5202414 w 5202414"/>
              <a:gd name="connsiteY1" fmla="*/ 3241974 h 3241974"/>
              <a:gd name="connsiteX2" fmla="*/ 0 w 5202414"/>
              <a:gd name="connsiteY2" fmla="*/ 2520032 h 3241974"/>
              <a:gd name="connsiteX3" fmla="*/ 0 w 5202414"/>
              <a:gd name="connsiteY3" fmla="*/ 377 h 3241974"/>
              <a:gd name="connsiteX4" fmla="*/ 4029048 w 5202414"/>
              <a:gd name="connsiteY4" fmla="*/ 0 h 3241974"/>
              <a:gd name="connsiteX0" fmla="*/ 4029048 w 4649333"/>
              <a:gd name="connsiteY0" fmla="*/ 0 h 3353258"/>
              <a:gd name="connsiteX1" fmla="*/ 4649333 w 4649333"/>
              <a:gd name="connsiteY1" fmla="*/ 3353258 h 3353258"/>
              <a:gd name="connsiteX2" fmla="*/ 0 w 4649333"/>
              <a:gd name="connsiteY2" fmla="*/ 2520032 h 3353258"/>
              <a:gd name="connsiteX3" fmla="*/ 0 w 4649333"/>
              <a:gd name="connsiteY3" fmla="*/ 377 h 3353258"/>
              <a:gd name="connsiteX4" fmla="*/ 4029048 w 4649333"/>
              <a:gd name="connsiteY4" fmla="*/ 0 h 3353258"/>
              <a:gd name="connsiteX0" fmla="*/ 4029048 w 4685283"/>
              <a:gd name="connsiteY0" fmla="*/ 0 h 3365430"/>
              <a:gd name="connsiteX1" fmla="*/ 4685283 w 4685283"/>
              <a:gd name="connsiteY1" fmla="*/ 3365430 h 3365430"/>
              <a:gd name="connsiteX2" fmla="*/ 0 w 4685283"/>
              <a:gd name="connsiteY2" fmla="*/ 2520032 h 3365430"/>
              <a:gd name="connsiteX3" fmla="*/ 0 w 4685283"/>
              <a:gd name="connsiteY3" fmla="*/ 377 h 3365430"/>
              <a:gd name="connsiteX4" fmla="*/ 4029048 w 4685283"/>
              <a:gd name="connsiteY4" fmla="*/ 0 h 3365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85283" h="3365430">
                <a:moveTo>
                  <a:pt x="4029048" y="0"/>
                </a:moveTo>
                <a:lnTo>
                  <a:pt x="4685283" y="3365430"/>
                </a:lnTo>
                <a:lnTo>
                  <a:pt x="0" y="2520032"/>
                </a:lnTo>
                <a:lnTo>
                  <a:pt x="0" y="377"/>
                </a:lnTo>
                <a:lnTo>
                  <a:pt x="4029048" y="0"/>
                </a:lnTo>
                <a:close/>
              </a:path>
            </a:pathLst>
          </a:cu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324000" tIns="252000" rIns="1152000">
            <a:noAutofit/>
          </a:bodyPr>
          <a:lstStyle>
            <a:lvl1pPr marL="0" indent="0" rtl="0"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Insert your title of presentation here in max. three lines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7A5D256E-7435-F747-CC3F-2763FDAE96A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911424" y="2996950"/>
            <a:ext cx="3527673" cy="1008112"/>
          </a:xfrm>
          <a:prstGeom prst="rect">
            <a:avLst/>
          </a:prstGeom>
          <a:noFill/>
          <a:ln w="127">
            <a:noFill/>
          </a:ln>
        </p:spPr>
        <p:txBody>
          <a:bodyPr lIns="324000" r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9" name="Author">
            <a:extLst>
              <a:ext uri="{FF2B5EF4-FFF2-40B4-BE49-F238E27FC236}">
                <a16:creationId xmlns:a16="http://schemas.microsoft.com/office/drawing/2014/main" id="{85B963E8-CCBF-3EF6-A8A8-C8FDAE42B7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911424" y="4005062"/>
            <a:ext cx="3527673" cy="216000"/>
          </a:xfrm>
          <a:prstGeom prst="rect">
            <a:avLst/>
          </a:prstGeom>
          <a:noFill/>
          <a:ln w="127">
            <a:noFill/>
          </a:ln>
        </p:spPr>
        <p:txBody>
          <a:bodyPr wrap="square" lIns="324000" rIns="0" anchor="b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First name Last name</a:t>
            </a:r>
            <a:endParaRPr lang="en-US" dirty="0"/>
          </a:p>
        </p:txBody>
      </p:sp>
      <p:sp>
        <p:nvSpPr>
          <p:cNvPr id="10" name="Department, Date">
            <a:extLst>
              <a:ext uri="{FF2B5EF4-FFF2-40B4-BE49-F238E27FC236}">
                <a16:creationId xmlns:a16="http://schemas.microsoft.com/office/drawing/2014/main" id="{8CEDCCFD-E94C-4A79-BAC4-51ECBFC54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11424" y="4221062"/>
            <a:ext cx="3527673" cy="431695"/>
          </a:xfrm>
          <a:prstGeom prst="rect">
            <a:avLst/>
          </a:prstGeom>
          <a:noFill/>
          <a:ln w="127">
            <a:noFill/>
          </a:ln>
        </p:spPr>
        <p:txBody>
          <a:bodyPr wrap="square" lIns="324000" rIns="0"/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Department</a:t>
            </a:r>
            <a:br>
              <a:rPr lang="en-US"/>
            </a:br>
            <a:r>
              <a:rPr lang="en-US"/>
              <a:t>DD/MM/YY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97278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FC9376A-2E22-10B7-4AB9-4BF70BE81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1855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C9376A-2E22-10B7-4AB9-4BF70BE81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Shape">
            <a:extLst>
              <a:ext uri="{FF2B5EF4-FFF2-40B4-BE49-F238E27FC236}">
                <a16:creationId xmlns:a16="http://schemas.microsoft.com/office/drawing/2014/main" id="{9289CF3B-0AC6-458E-9C42-399D222920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911424" y="1485729"/>
            <a:ext cx="3456384" cy="2879375"/>
          </a:xfrm>
          <a:custGeom>
            <a:avLst/>
            <a:gdLst>
              <a:gd name="T0" fmla="*/ 0 w 2227"/>
              <a:gd name="T1" fmla="*/ 0 h 2226"/>
              <a:gd name="T2" fmla="*/ 2227 w 2227"/>
              <a:gd name="T3" fmla="*/ 0 h 2226"/>
              <a:gd name="T4" fmla="*/ 2227 w 2227"/>
              <a:gd name="T5" fmla="*/ 2226 h 2226"/>
              <a:gd name="T6" fmla="*/ 371 w 2227"/>
              <a:gd name="T7" fmla="*/ 1856 h 2226"/>
              <a:gd name="T8" fmla="*/ 0 w 2227"/>
              <a:gd name="T9" fmla="*/ 0 h 2226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1659 w 10000"/>
              <a:gd name="connsiteY3" fmla="*/ 7999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1680 w 10000"/>
              <a:gd name="connsiteY3" fmla="*/ 7999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10000" y="0"/>
                </a:lnTo>
                <a:lnTo>
                  <a:pt x="10000" y="10000"/>
                </a:lnTo>
                <a:lnTo>
                  <a:pt x="1680" y="7999"/>
                </a:lnTo>
                <a:lnTo>
                  <a:pt x="0" y="0"/>
                </a:lnTo>
                <a:close/>
              </a:path>
            </a:pathLst>
          </a:custGeom>
          <a:solidFill>
            <a:srgbClr val="6A757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n-US" dirty="0"/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B5D77837-F372-41E3-A703-01233BC36B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43472" y="1743199"/>
            <a:ext cx="2664320" cy="461665"/>
          </a:xfrm>
        </p:spPr>
        <p:txBody>
          <a:bodyPr vert="horz"/>
          <a:lstStyle>
            <a:lvl1pPr algn="r" rtl="0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  <a:endParaRPr lang="en-US" dirty="0"/>
          </a:p>
        </p:txBody>
      </p:sp>
      <p:sp>
        <p:nvSpPr>
          <p:cNvPr id="17" name="Content">
            <a:extLst>
              <a:ext uri="{FF2B5EF4-FFF2-40B4-BE49-F238E27FC236}">
                <a16:creationId xmlns:a16="http://schemas.microsoft.com/office/drawing/2014/main" id="{72A9419C-8763-4B76-A999-AC385D6948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943872" y="1484784"/>
            <a:ext cx="6912768" cy="4608512"/>
          </a:xfrm>
        </p:spPr>
        <p:txBody>
          <a:bodyPr/>
          <a:lstStyle>
            <a:lvl1pPr marL="457200" indent="-457200" rtl="0">
              <a:buSzPct val="100000"/>
              <a:buFont typeface="Arial" panose="020B0604020202020204" pitchFamily="34" charset="0"/>
              <a:buAutoNum type="arabicPlain"/>
              <a:tabLst>
                <a:tab pos="6543675" algn="r"/>
              </a:tabLst>
              <a:defRPr sz="20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1pPr>
            <a:lvl2pPr marL="714375" indent="-219075" rtl="0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6543675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2pPr>
            <a:lvl3pPr marL="714375" indent="-219075" rtl="0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6543675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3pPr>
            <a:lvl4pPr marL="714375" indent="-219075" rtl="0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6543675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4pPr>
            <a:lvl5pPr marL="714375" indent="-219075" rtl="0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6543675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5pPr>
            <a:lvl6pPr marL="714375" indent="-219075" rtl="0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6543675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6pPr>
            <a:lvl7pPr marL="714375" indent="-219075" rtl="0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6543675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7pPr>
            <a:lvl8pPr marL="714375" indent="-219075" rtl="0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6543675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8pPr>
            <a:lvl9pPr marL="714375" indent="-219075" rtl="0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6543675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9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9" name="Source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87488" y="6525344"/>
            <a:ext cx="864096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401DE6E-FF1C-2A70-98BC-28AEB67104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1"/>
          </p:nvPr>
        </p:nvSpPr>
        <p:spPr>
          <a:xfrm>
            <a:off x="335360" y="6525000"/>
            <a:ext cx="1080120" cy="144000"/>
          </a:xfrm>
        </p:spPr>
        <p:txBody>
          <a:bodyPr/>
          <a:lstStyle>
            <a:lvl1pPr rtl="0">
              <a:defRPr/>
            </a:lvl1pPr>
          </a:lstStyle>
          <a:p>
            <a:fld id="{32FA92BE-846B-4F3A-91AA-13C48812D68E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CE8397C-1DFA-4E81-5DA9-2B0C7A8442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8173ECE-27F4-E0B4-78D7-45B96ACB81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0453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 &amp;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0EA33E6C-B6EA-4396-A2D1-BF412B2609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1507B77C-0D2E-12CE-1939-1BE789001261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5" name="Picture 1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35360" y="1484883"/>
            <a:ext cx="2304000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7" name="Content 1">
            <a:extLst>
              <a:ext uri="{FF2B5EF4-FFF2-40B4-BE49-F238E27FC236}">
                <a16:creationId xmlns:a16="http://schemas.microsoft.com/office/drawing/2014/main" id="{06A67EB1-7EE7-45D3-A94D-6EA201E90CF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35616" y="3789039"/>
            <a:ext cx="2304000" cy="2303785"/>
          </a:xfrm>
        </p:spPr>
        <p:txBody>
          <a:bodyPr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  <a:endParaRPr lang="en-GB"/>
          </a:p>
        </p:txBody>
      </p:sp>
      <p:sp>
        <p:nvSpPr>
          <p:cNvPr id="9" name="Picture 2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215936" y="1484556"/>
            <a:ext cx="2304000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2" name="Content 2">
            <a:extLst>
              <a:ext uri="{FF2B5EF4-FFF2-40B4-BE49-F238E27FC236}">
                <a16:creationId xmlns:a16="http://schemas.microsoft.com/office/drawing/2014/main" id="{C35DD715-4BC4-4F30-A849-B8E23CA41DB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215680" y="3789239"/>
            <a:ext cx="2304000" cy="2303586"/>
          </a:xfrm>
        </p:spPr>
        <p:txBody>
          <a:bodyPr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  <a:endParaRPr lang="en-GB"/>
          </a:p>
        </p:txBody>
      </p:sp>
      <p:sp>
        <p:nvSpPr>
          <p:cNvPr id="10" name="Picture 3">
            <a:extLst>
              <a:ext uri="{FF2B5EF4-FFF2-40B4-BE49-F238E27FC236}">
                <a16:creationId xmlns:a16="http://schemas.microsoft.com/office/drawing/2014/main" id="{13F83B90-1053-4BAE-A04B-E97DF0BCFAD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096000" y="1484556"/>
            <a:ext cx="2304000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3" name="Content 3">
            <a:extLst>
              <a:ext uri="{FF2B5EF4-FFF2-40B4-BE49-F238E27FC236}">
                <a16:creationId xmlns:a16="http://schemas.microsoft.com/office/drawing/2014/main" id="{312C35B1-615F-427F-BBA3-DA904C08CA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096000" y="3789437"/>
            <a:ext cx="2304000" cy="2303387"/>
          </a:xfrm>
        </p:spPr>
        <p:txBody>
          <a:bodyPr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</p:txBody>
      </p:sp>
      <p:sp>
        <p:nvSpPr>
          <p:cNvPr id="15" name="Picture 4">
            <a:extLst>
              <a:ext uri="{FF2B5EF4-FFF2-40B4-BE49-F238E27FC236}">
                <a16:creationId xmlns:a16="http://schemas.microsoft.com/office/drawing/2014/main" id="{66D73E2B-B33B-41C2-A349-344B52ABB4F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8976320" y="1484556"/>
            <a:ext cx="2304000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6" name="Content 4">
            <a:extLst>
              <a:ext uri="{FF2B5EF4-FFF2-40B4-BE49-F238E27FC236}">
                <a16:creationId xmlns:a16="http://schemas.microsoft.com/office/drawing/2014/main" id="{6CA8DE4A-220D-4F9A-90B4-B0BB300CB3D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8976320" y="3789437"/>
            <a:ext cx="2304000" cy="2303387"/>
          </a:xfrm>
        </p:spPr>
        <p:txBody>
          <a:bodyPr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  <a:endParaRPr lang="en-GB"/>
          </a:p>
        </p:txBody>
      </p:sp>
      <p:sp>
        <p:nvSpPr>
          <p:cNvPr id="11" name="Source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E647764-8CCE-C554-1F25-EEEE0F5D96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2AE961DF-F571-4E63-A426-058A87A19E76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488AB02-059F-77D0-CA70-E32FA49AB6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EE24804-CB38-11A2-FCB9-F55C4EE010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23749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4" orient="horz" pos="2387">
          <p15:clr>
            <a:srgbClr val="FBAE40"/>
          </p15:clr>
        </p15:guide>
        <p15:guide id="5" orient="horz" pos="3838">
          <p15:clr>
            <a:srgbClr val="FBAE40"/>
          </p15:clr>
        </p15:guide>
        <p15:guide id="6" pos="211">
          <p15:clr>
            <a:srgbClr val="FBAE40"/>
          </p15:clr>
        </p15:guide>
        <p15:guide id="7" pos="7106">
          <p15:clr>
            <a:srgbClr val="FBAE40"/>
          </p15:clr>
        </p15:guide>
        <p15:guide id="8" pos="1663">
          <p15:clr>
            <a:srgbClr val="FBAE40"/>
          </p15:clr>
        </p15:guide>
        <p15:guide id="9" orient="horz" pos="2205">
          <p15:clr>
            <a:srgbClr val="FBAE40"/>
          </p15:clr>
        </p15:guide>
        <p15:guide id="10" pos="2026">
          <p15:clr>
            <a:srgbClr val="FBAE40"/>
          </p15:clr>
        </p15:guide>
        <p15:guide id="11" pos="3477">
          <p15:clr>
            <a:srgbClr val="FBAE40"/>
          </p15:clr>
        </p15:guide>
        <p15:guide id="12" pos="3840">
          <p15:clr>
            <a:srgbClr val="FBAE40"/>
          </p15:clr>
        </p15:guide>
        <p15:guide id="13" pos="5292">
          <p15:clr>
            <a:srgbClr val="FBAE40"/>
          </p15:clr>
        </p15:guide>
        <p15:guide id="14" pos="5654">
          <p15:clr>
            <a:srgbClr val="FBAE40"/>
          </p15:clr>
        </p15:guide>
      </p15:sldGuideLst>
    </p:ext>
  </p:extLs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B2CFF4E-242A-ED50-6A96-1C90121B9D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2139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2CFF4E-242A-ED50-6A96-1C90121B9D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B5D77837-F372-41E3-A703-01233BC36B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5360" y="1413288"/>
            <a:ext cx="4032250" cy="461665"/>
          </a:xfrm>
        </p:spPr>
        <p:txBody>
          <a:bodyPr vert="horz" anchor="t"/>
          <a:lstStyle>
            <a:lvl1pPr algn="l" rtl="0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Agenda</a:t>
            </a:r>
            <a:endParaRPr lang="en-US" dirty="0"/>
          </a:p>
        </p:txBody>
      </p:sp>
      <p:sp>
        <p:nvSpPr>
          <p:cNvPr id="17" name="Content">
            <a:extLst>
              <a:ext uri="{FF2B5EF4-FFF2-40B4-BE49-F238E27FC236}">
                <a16:creationId xmlns:a16="http://schemas.microsoft.com/office/drawing/2014/main" id="{72A9419C-8763-4B76-A999-AC385D6948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35360" y="2060849"/>
            <a:ext cx="4032250" cy="4032448"/>
          </a:xfrm>
        </p:spPr>
        <p:txBody>
          <a:bodyPr/>
          <a:lstStyle>
            <a:lvl1pPr marL="266700" indent="-266700" rtl="0">
              <a:buSzPct val="100000"/>
              <a:buFont typeface="Arial" panose="020B0604020202020204" pitchFamily="34" charset="0"/>
              <a:buAutoNum type="arabicPlain"/>
              <a:tabLst>
                <a:tab pos="4038600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1pPr>
            <a:lvl2pPr marL="447675" indent="-180975" rtl="0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4038600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2pPr>
            <a:lvl3pPr marL="447675" indent="-180975" rtl="0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4038600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3pPr>
            <a:lvl4pPr marL="447675" indent="-180975" rtl="0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4038600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4pPr>
            <a:lvl5pPr marL="447675" indent="-180975" rtl="0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4038600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5pPr>
            <a:lvl6pPr marL="447675" indent="-180975" rtl="0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3524250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6pPr>
            <a:lvl7pPr marL="447675" indent="-180975" rtl="0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3524250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7pPr>
            <a:lvl8pPr marL="447675" indent="-180975" rtl="0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3524250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8pPr>
            <a:lvl9pPr marL="447675" indent="-180975" rtl="0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3524250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9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8" name="Picture">
            <a:extLst>
              <a:ext uri="{FF2B5EF4-FFF2-40B4-BE49-F238E27FC236}">
                <a16:creationId xmlns:a16="http://schemas.microsoft.com/office/drawing/2014/main" id="{A9F39496-3247-4D2A-8D5A-9E2157A6A7D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519936" y="1484784"/>
            <a:ext cx="5760640" cy="4032448"/>
          </a:xfrm>
          <a:custGeom>
            <a:avLst/>
            <a:gdLst>
              <a:gd name="connsiteX0" fmla="*/ 5544001 w 5544001"/>
              <a:gd name="connsiteY0" fmla="*/ 0 h 3551223"/>
              <a:gd name="connsiteX1" fmla="*/ 4543017 w 5544001"/>
              <a:gd name="connsiteY1" fmla="*/ 2543298 h 3551223"/>
              <a:gd name="connsiteX2" fmla="*/ 0 w 5544001"/>
              <a:gd name="connsiteY2" fmla="*/ 3551223 h 3551223"/>
              <a:gd name="connsiteX3" fmla="*/ 0 w 5544001"/>
              <a:gd name="connsiteY3" fmla="*/ 531 h 3551223"/>
              <a:gd name="connsiteX0" fmla="*/ 5544001 w 5544001"/>
              <a:gd name="connsiteY0" fmla="*/ 0 h 3551223"/>
              <a:gd name="connsiteX1" fmla="*/ 4441735 w 5544001"/>
              <a:gd name="connsiteY1" fmla="*/ 2540103 h 3551223"/>
              <a:gd name="connsiteX2" fmla="*/ 0 w 5544001"/>
              <a:gd name="connsiteY2" fmla="*/ 3551223 h 3551223"/>
              <a:gd name="connsiteX3" fmla="*/ 0 w 5544001"/>
              <a:gd name="connsiteY3" fmla="*/ 531 h 3551223"/>
              <a:gd name="connsiteX4" fmla="*/ 5544001 w 5544001"/>
              <a:gd name="connsiteY4" fmla="*/ 0 h 35512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44001" h="3551223">
                <a:moveTo>
                  <a:pt x="5544001" y="0"/>
                </a:moveTo>
                <a:lnTo>
                  <a:pt x="4441735" y="2540103"/>
                </a:lnTo>
                <a:lnTo>
                  <a:pt x="0" y="3551223"/>
                </a:lnTo>
                <a:lnTo>
                  <a:pt x="0" y="531"/>
                </a:lnTo>
                <a:lnTo>
                  <a:pt x="5544001" y="0"/>
                </a:lnTo>
                <a:close/>
              </a:path>
            </a:pathLst>
          </a:custGeom>
          <a:solidFill>
            <a:srgbClr val="D6D9DC"/>
          </a:solidFill>
        </p:spPr>
        <p:txBody>
          <a:bodyPr wrap="square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9" name="Source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87488" y="6525360"/>
            <a:ext cx="8639746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8AB4C1E-E193-441C-73B2-5910012838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 rtl="0">
              <a:defRPr/>
            </a:lvl1pPr>
          </a:lstStyle>
          <a:p>
            <a:fld id="{BC15081F-0737-4F45-A07D-6B01C38B2F29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EB2A54-14B0-0DE4-D475-31EBCC2FD5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183B58-29F7-0FD4-5AA2-C4A998AFAF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77841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picture | for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B5492A3-9558-4F6F-400B-812D05A862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9662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5492A3-9558-4F6F-400B-812D05A86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B5D77837-F372-41E3-A703-01233BC36B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9936" y="1412776"/>
            <a:ext cx="5760640" cy="461665"/>
          </a:xfrm>
        </p:spPr>
        <p:txBody>
          <a:bodyPr vert="horz" anchor="t"/>
          <a:lstStyle>
            <a:lvl1pPr algn="l" rtl="0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Agenda</a:t>
            </a:r>
            <a:endParaRPr lang="en-US" dirty="0"/>
          </a:p>
        </p:txBody>
      </p:sp>
      <p:sp>
        <p:nvSpPr>
          <p:cNvPr id="8" name="Picture">
            <a:extLst>
              <a:ext uri="{FF2B5EF4-FFF2-40B4-BE49-F238E27FC236}">
                <a16:creationId xmlns:a16="http://schemas.microsoft.com/office/drawing/2014/main" id="{A9F39496-3247-4D2A-8D5A-9E2157A6A7D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905952" y="1484785"/>
            <a:ext cx="4037919" cy="2895027"/>
          </a:xfrm>
          <a:custGeom>
            <a:avLst/>
            <a:gdLst>
              <a:gd name="connsiteX0" fmla="*/ 5544001 w 5544001"/>
              <a:gd name="connsiteY0" fmla="*/ 0 h 3551223"/>
              <a:gd name="connsiteX1" fmla="*/ 4543017 w 5544001"/>
              <a:gd name="connsiteY1" fmla="*/ 2543298 h 3551223"/>
              <a:gd name="connsiteX2" fmla="*/ 0 w 5544001"/>
              <a:gd name="connsiteY2" fmla="*/ 3551223 h 3551223"/>
              <a:gd name="connsiteX3" fmla="*/ 0 w 5544001"/>
              <a:gd name="connsiteY3" fmla="*/ 531 h 3551223"/>
              <a:gd name="connsiteX0" fmla="*/ 5544001 w 5544001"/>
              <a:gd name="connsiteY0" fmla="*/ 0 h 3551223"/>
              <a:gd name="connsiteX1" fmla="*/ 4441735 w 5544001"/>
              <a:gd name="connsiteY1" fmla="*/ 2540103 h 3551223"/>
              <a:gd name="connsiteX2" fmla="*/ 0 w 5544001"/>
              <a:gd name="connsiteY2" fmla="*/ 3551223 h 3551223"/>
              <a:gd name="connsiteX3" fmla="*/ 0 w 5544001"/>
              <a:gd name="connsiteY3" fmla="*/ 531 h 3551223"/>
              <a:gd name="connsiteX4" fmla="*/ 5544001 w 5544001"/>
              <a:gd name="connsiteY4" fmla="*/ 0 h 3551223"/>
              <a:gd name="connsiteX0" fmla="*/ 4585198 w 4585198"/>
              <a:gd name="connsiteY0" fmla="*/ 0 h 3551223"/>
              <a:gd name="connsiteX1" fmla="*/ 4441735 w 4585198"/>
              <a:gd name="connsiteY1" fmla="*/ 2540103 h 3551223"/>
              <a:gd name="connsiteX2" fmla="*/ 0 w 4585198"/>
              <a:gd name="connsiteY2" fmla="*/ 3551223 h 3551223"/>
              <a:gd name="connsiteX3" fmla="*/ 0 w 4585198"/>
              <a:gd name="connsiteY3" fmla="*/ 531 h 3551223"/>
              <a:gd name="connsiteX4" fmla="*/ 4585198 w 4585198"/>
              <a:gd name="connsiteY4" fmla="*/ 0 h 3551223"/>
              <a:gd name="connsiteX0" fmla="*/ 4585198 w 4589243"/>
              <a:gd name="connsiteY0" fmla="*/ 0 h 3551223"/>
              <a:gd name="connsiteX1" fmla="*/ 4589243 w 4589243"/>
              <a:gd name="connsiteY1" fmla="*/ 2135159 h 3551223"/>
              <a:gd name="connsiteX2" fmla="*/ 0 w 4589243"/>
              <a:gd name="connsiteY2" fmla="*/ 3551223 h 3551223"/>
              <a:gd name="connsiteX3" fmla="*/ 0 w 4589243"/>
              <a:gd name="connsiteY3" fmla="*/ 531 h 3551223"/>
              <a:gd name="connsiteX4" fmla="*/ 4585198 w 4589243"/>
              <a:gd name="connsiteY4" fmla="*/ 0 h 3551223"/>
              <a:gd name="connsiteX0" fmla="*/ 4585198 w 4589243"/>
              <a:gd name="connsiteY0" fmla="*/ 0 h 3551223"/>
              <a:gd name="connsiteX1" fmla="*/ 4589243 w 4589243"/>
              <a:gd name="connsiteY1" fmla="*/ 2135159 h 3551223"/>
              <a:gd name="connsiteX2" fmla="*/ 0 w 4589243"/>
              <a:gd name="connsiteY2" fmla="*/ 3551223 h 3551223"/>
              <a:gd name="connsiteX3" fmla="*/ 1263038 w 4589243"/>
              <a:gd name="connsiteY3" fmla="*/ 531 h 3551223"/>
              <a:gd name="connsiteX4" fmla="*/ 4585198 w 4589243"/>
              <a:gd name="connsiteY4" fmla="*/ 0 h 3551223"/>
              <a:gd name="connsiteX0" fmla="*/ 4013604 w 4017649"/>
              <a:gd name="connsiteY0" fmla="*/ 0 h 2783519"/>
              <a:gd name="connsiteX1" fmla="*/ 4017649 w 4017649"/>
              <a:gd name="connsiteY1" fmla="*/ 2135159 h 2783519"/>
              <a:gd name="connsiteX2" fmla="*/ 0 w 4017649"/>
              <a:gd name="connsiteY2" fmla="*/ 2783519 h 2783519"/>
              <a:gd name="connsiteX3" fmla="*/ 691444 w 4017649"/>
              <a:gd name="connsiteY3" fmla="*/ 531 h 2783519"/>
              <a:gd name="connsiteX4" fmla="*/ 4013604 w 4017649"/>
              <a:gd name="connsiteY4" fmla="*/ 0 h 2783519"/>
              <a:gd name="connsiteX0" fmla="*/ 3649314 w 3653359"/>
              <a:gd name="connsiteY0" fmla="*/ 0 h 2528493"/>
              <a:gd name="connsiteX1" fmla="*/ 3653359 w 3653359"/>
              <a:gd name="connsiteY1" fmla="*/ 2135159 h 2528493"/>
              <a:gd name="connsiteX2" fmla="*/ 0 w 3653359"/>
              <a:gd name="connsiteY2" fmla="*/ 2528493 h 2528493"/>
              <a:gd name="connsiteX3" fmla="*/ 327154 w 3653359"/>
              <a:gd name="connsiteY3" fmla="*/ 531 h 2528493"/>
              <a:gd name="connsiteX4" fmla="*/ 3649314 w 3653359"/>
              <a:gd name="connsiteY4" fmla="*/ 0 h 2528493"/>
              <a:gd name="connsiteX0" fmla="*/ 3880327 w 3884372"/>
              <a:gd name="connsiteY0" fmla="*/ 0 h 2664507"/>
              <a:gd name="connsiteX1" fmla="*/ 3884372 w 3884372"/>
              <a:gd name="connsiteY1" fmla="*/ 2135159 h 2664507"/>
              <a:gd name="connsiteX2" fmla="*/ 0 w 3884372"/>
              <a:gd name="connsiteY2" fmla="*/ 2664507 h 2664507"/>
              <a:gd name="connsiteX3" fmla="*/ 558167 w 3884372"/>
              <a:gd name="connsiteY3" fmla="*/ 531 h 2664507"/>
              <a:gd name="connsiteX4" fmla="*/ 3880327 w 3884372"/>
              <a:gd name="connsiteY4" fmla="*/ 0 h 2664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84372" h="2664507">
                <a:moveTo>
                  <a:pt x="3880327" y="0"/>
                </a:moveTo>
                <a:cubicBezTo>
                  <a:pt x="3881675" y="711720"/>
                  <a:pt x="3883024" y="1423439"/>
                  <a:pt x="3884372" y="2135159"/>
                </a:cubicBezTo>
                <a:lnTo>
                  <a:pt x="0" y="2664507"/>
                </a:lnTo>
                <a:lnTo>
                  <a:pt x="558167" y="531"/>
                </a:lnTo>
                <a:lnTo>
                  <a:pt x="3880327" y="0"/>
                </a:lnTo>
                <a:close/>
              </a:path>
            </a:pathLst>
          </a:custGeom>
          <a:solidFill>
            <a:srgbClr val="D6D9DC"/>
          </a:solidFill>
        </p:spPr>
        <p:txBody>
          <a:bodyPr wrap="square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9" name="Source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87488" y="6525360"/>
            <a:ext cx="864096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DDBB81F-46E9-988D-D974-0DBA6D5EB4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8A17D5A0-10C8-4160-88E6-EE640ABC90A3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AACD181-5A1B-9A2A-CEEC-CAF69755C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7AA28C3-8AC8-CBDA-1BB5-4D0BA3AE02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0235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7">
          <p15:clr>
            <a:srgbClr val="FBAE40"/>
          </p15:clr>
        </p15:guide>
        <p15:guide id="2" pos="7106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58DBFBB-23AA-233F-1755-88F17A1B60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3302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58DBFBB-23AA-233F-1755-88F17A1B60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Line">
            <a:extLst>
              <a:ext uri="{FF2B5EF4-FFF2-40B4-BE49-F238E27FC236}">
                <a16:creationId xmlns:a16="http://schemas.microsoft.com/office/drawing/2014/main" id="{78C23B66-615F-4718-BD9E-FC56288257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248296" y="1484784"/>
            <a:ext cx="1728024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7248128" y="1989024"/>
            <a:ext cx="4032448" cy="1223952"/>
          </a:xfrm>
          <a:prstGeom prst="rect">
            <a:avLst/>
          </a:prstGeom>
        </p:spPr>
        <p:txBody>
          <a:bodyPr vert="horz">
            <a:noAutofit/>
          </a:bodyPr>
          <a:lstStyle>
            <a:lvl1pPr marL="361950" indent="-361950" rtl="0"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1	Divider slide | Insert your headline in maximal three lines here</a:t>
            </a:r>
            <a:endParaRPr lang="en-US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4FDF9C42-D4C2-4901-8C80-4142CE35C1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128" y="3745606"/>
            <a:ext cx="4032448" cy="1195561"/>
          </a:xfrm>
          <a:prstGeom prst="rect">
            <a:avLst/>
          </a:prstGeom>
          <a:noFill/>
          <a:ln w="0">
            <a:noFill/>
          </a:ln>
        </p:spPr>
        <p:txBody>
          <a:bodyPr lIns="0" r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17" name="Picture">
            <a:extLst>
              <a:ext uri="{FF2B5EF4-FFF2-40B4-BE49-F238E27FC236}">
                <a16:creationId xmlns:a16="http://schemas.microsoft.com/office/drawing/2014/main" id="{98F4FF65-FEA2-42DE-8EE1-50E91E928FE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23637" y="1484784"/>
            <a:ext cx="5748427" cy="4611217"/>
          </a:xfrm>
          <a:custGeom>
            <a:avLst/>
            <a:gdLst>
              <a:gd name="connsiteX0" fmla="*/ 1008000 w 7056002"/>
              <a:gd name="connsiteY0" fmla="*/ 0 h 5040002"/>
              <a:gd name="connsiteX1" fmla="*/ 7056002 w 7056002"/>
              <a:gd name="connsiteY1" fmla="*/ 0 h 5040002"/>
              <a:gd name="connsiteX2" fmla="*/ 7056002 w 7056002"/>
              <a:gd name="connsiteY2" fmla="*/ 4033656 h 5040002"/>
              <a:gd name="connsiteX3" fmla="*/ 0 w 7056002"/>
              <a:gd name="connsiteY3" fmla="*/ 5040002 h 5040002"/>
              <a:gd name="connsiteX0" fmla="*/ 1174688 w 7056002"/>
              <a:gd name="connsiteY0" fmla="*/ 0 h 5040002"/>
              <a:gd name="connsiteX1" fmla="*/ 7056002 w 7056002"/>
              <a:gd name="connsiteY1" fmla="*/ 0 h 5040002"/>
              <a:gd name="connsiteX2" fmla="*/ 7056002 w 7056002"/>
              <a:gd name="connsiteY2" fmla="*/ 4033656 h 5040002"/>
              <a:gd name="connsiteX3" fmla="*/ 0 w 7056002"/>
              <a:gd name="connsiteY3" fmla="*/ 5040002 h 5040002"/>
              <a:gd name="connsiteX4" fmla="*/ 1174688 w 7056002"/>
              <a:gd name="connsiteY4" fmla="*/ 0 h 5040002"/>
              <a:gd name="connsiteX0" fmla="*/ 1174688 w 7056002"/>
              <a:gd name="connsiteY0" fmla="*/ 0 h 5040002"/>
              <a:gd name="connsiteX1" fmla="*/ 7056002 w 7056002"/>
              <a:gd name="connsiteY1" fmla="*/ 0 h 5040002"/>
              <a:gd name="connsiteX2" fmla="*/ 7053224 w 7056002"/>
              <a:gd name="connsiteY2" fmla="*/ 3919886 h 5040002"/>
              <a:gd name="connsiteX3" fmla="*/ 0 w 7056002"/>
              <a:gd name="connsiteY3" fmla="*/ 5040002 h 5040002"/>
              <a:gd name="connsiteX4" fmla="*/ 1174688 w 7056002"/>
              <a:gd name="connsiteY4" fmla="*/ 0 h 5040002"/>
              <a:gd name="connsiteX0" fmla="*/ 1445452 w 7326766"/>
              <a:gd name="connsiteY0" fmla="*/ 0 h 5196122"/>
              <a:gd name="connsiteX1" fmla="*/ 7326766 w 7326766"/>
              <a:gd name="connsiteY1" fmla="*/ 0 h 5196122"/>
              <a:gd name="connsiteX2" fmla="*/ 7323988 w 7326766"/>
              <a:gd name="connsiteY2" fmla="*/ 3919886 h 5196122"/>
              <a:gd name="connsiteX3" fmla="*/ 0 w 7326766"/>
              <a:gd name="connsiteY3" fmla="*/ 5196122 h 5196122"/>
              <a:gd name="connsiteX4" fmla="*/ 1445452 w 7326766"/>
              <a:gd name="connsiteY4" fmla="*/ 0 h 5196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26766" h="5196122">
                <a:moveTo>
                  <a:pt x="1445452" y="0"/>
                </a:moveTo>
                <a:lnTo>
                  <a:pt x="7326766" y="0"/>
                </a:lnTo>
                <a:lnTo>
                  <a:pt x="7323988" y="3919886"/>
                </a:lnTo>
                <a:cubicBezTo>
                  <a:pt x="4972913" y="4293258"/>
                  <a:pt x="2351075" y="4822750"/>
                  <a:pt x="0" y="5196122"/>
                </a:cubicBezTo>
                <a:cubicBezTo>
                  <a:pt x="336000" y="3516121"/>
                  <a:pt x="1109452" y="1680001"/>
                  <a:pt x="1445452" y="0"/>
                </a:cubicBezTo>
                <a:close/>
              </a:path>
            </a:pathLst>
          </a:custGeom>
          <a:solidFill>
            <a:srgbClr val="D6D9DC"/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0" name="Source">
            <a:extLst>
              <a:ext uri="{FF2B5EF4-FFF2-40B4-BE49-F238E27FC236}">
                <a16:creationId xmlns:a16="http://schemas.microsoft.com/office/drawing/2014/main" id="{4DBD7890-AED9-4944-BFE1-FABFDC77A9B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487488" y="6525000"/>
            <a:ext cx="9144512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FA7DD22-07DB-6A1C-6F72-BB52B9126F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965A1DD8-E768-490F-B5BA-3B623DD41918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2A2A817-BB61-9C2D-8F92-EEE4D20DA7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A769AE6-21E3-6291-8C0F-448B679ACC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09340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big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5040FFF-BB59-D8C7-ACC7-BF967079DB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6047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040FFF-BB59-D8C7-ACC7-BF967079D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25EC39D-88B9-67E2-DD98-DA61BF97259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0" y="0"/>
            <a:ext cx="10704512" cy="6858000"/>
          </a:xfrm>
          <a:custGeom>
            <a:avLst/>
            <a:gdLst>
              <a:gd name="connsiteX0" fmla="*/ 0 w 10632504"/>
              <a:gd name="connsiteY0" fmla="*/ 0 h 6858000"/>
              <a:gd name="connsiteX1" fmla="*/ 10632504 w 10632504"/>
              <a:gd name="connsiteY1" fmla="*/ 0 h 6858000"/>
              <a:gd name="connsiteX2" fmla="*/ 10632504 w 10632504"/>
              <a:gd name="connsiteY2" fmla="*/ 6858000 h 6858000"/>
              <a:gd name="connsiteX3" fmla="*/ 0 w 1063250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632504" h="6858000">
                <a:moveTo>
                  <a:pt x="0" y="0"/>
                </a:moveTo>
                <a:lnTo>
                  <a:pt x="10632504" y="0"/>
                </a:lnTo>
                <a:lnTo>
                  <a:pt x="106325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85" name="Source">
            <a:extLst>
              <a:ext uri="{FF2B5EF4-FFF2-40B4-BE49-F238E27FC236}">
                <a16:creationId xmlns:a16="http://schemas.microsoft.com/office/drawing/2014/main" id="{4FD5BD59-3BB3-4388-9EA8-4404672D38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87488" y="6525360"/>
            <a:ext cx="864096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80" name="Title">
            <a:extLst>
              <a:ext uri="{FF2B5EF4-FFF2-40B4-BE49-F238E27FC236}">
                <a16:creationId xmlns:a16="http://schemas.microsoft.com/office/drawing/2014/main" id="{9F73BC7C-461B-4374-A3A1-113AB5807B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2699" y="2060848"/>
            <a:ext cx="3454514" cy="3455987"/>
          </a:xfrm>
          <a:custGeom>
            <a:avLst/>
            <a:gdLst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517775 w 3022600"/>
              <a:gd name="connsiteY2" fmla="*/ 2520950 h 3024187"/>
              <a:gd name="connsiteX3" fmla="*/ 0 w 3022600"/>
              <a:gd name="connsiteY3" fmla="*/ 3024187 h 3024187"/>
              <a:gd name="connsiteX0" fmla="*/ 0 w 2882900"/>
              <a:gd name="connsiteY0" fmla="*/ 0 h 3024187"/>
              <a:gd name="connsiteX1" fmla="*/ 2882900 w 2882900"/>
              <a:gd name="connsiteY1" fmla="*/ 0 h 3024187"/>
              <a:gd name="connsiteX2" fmla="*/ 2517775 w 2882900"/>
              <a:gd name="connsiteY2" fmla="*/ 2520950 h 3024187"/>
              <a:gd name="connsiteX3" fmla="*/ 0 w 2882900"/>
              <a:gd name="connsiteY3" fmla="*/ 3024187 h 3024187"/>
              <a:gd name="connsiteX4" fmla="*/ 0 w 2882900"/>
              <a:gd name="connsiteY4" fmla="*/ 0 h 3024187"/>
              <a:gd name="connsiteX0" fmla="*/ 0 w 2882900"/>
              <a:gd name="connsiteY0" fmla="*/ 0 h 3455987"/>
              <a:gd name="connsiteX1" fmla="*/ 2882900 w 2882900"/>
              <a:gd name="connsiteY1" fmla="*/ 0 h 3455987"/>
              <a:gd name="connsiteX2" fmla="*/ 2517775 w 2882900"/>
              <a:gd name="connsiteY2" fmla="*/ 2520950 h 3455987"/>
              <a:gd name="connsiteX3" fmla="*/ 0 w 2882900"/>
              <a:gd name="connsiteY3" fmla="*/ 3455987 h 3455987"/>
              <a:gd name="connsiteX4" fmla="*/ 0 w 2882900"/>
              <a:gd name="connsiteY4" fmla="*/ 0 h 3455987"/>
              <a:gd name="connsiteX0" fmla="*/ 0 w 2882900"/>
              <a:gd name="connsiteY0" fmla="*/ 0 h 3455987"/>
              <a:gd name="connsiteX1" fmla="*/ 2882900 w 2882900"/>
              <a:gd name="connsiteY1" fmla="*/ 0 h 3455987"/>
              <a:gd name="connsiteX2" fmla="*/ 2411790 w 2882900"/>
              <a:gd name="connsiteY2" fmla="*/ 2330450 h 3455987"/>
              <a:gd name="connsiteX3" fmla="*/ 0 w 2882900"/>
              <a:gd name="connsiteY3" fmla="*/ 3455987 h 3455987"/>
              <a:gd name="connsiteX4" fmla="*/ 0 w 2882900"/>
              <a:gd name="connsiteY4" fmla="*/ 0 h 3455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2900" h="3455987">
                <a:moveTo>
                  <a:pt x="0" y="0"/>
                </a:moveTo>
                <a:lnTo>
                  <a:pt x="2882900" y="0"/>
                </a:lnTo>
                <a:lnTo>
                  <a:pt x="2411790" y="2330450"/>
                </a:lnTo>
                <a:lnTo>
                  <a:pt x="0" y="345598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324000" tIns="288000" rIns="288000">
            <a:noAutofit/>
          </a:bodyPr>
          <a:lstStyle>
            <a:lvl1pPr marL="355600" indent="-355600" rtl="0"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1	Insert Chapter title here in max. 3 lines</a:t>
            </a:r>
            <a:endParaRPr lang="en-US" dirty="0"/>
          </a:p>
        </p:txBody>
      </p:sp>
      <p:sp>
        <p:nvSpPr>
          <p:cNvPr id="281" name="Subtitle 2">
            <a:extLst>
              <a:ext uri="{FF2B5EF4-FFF2-40B4-BE49-F238E27FC236}">
                <a16:creationId xmlns:a16="http://schemas.microsoft.com/office/drawing/2014/main" id="{C62B0A6C-F8C8-4CAE-980D-DAAE4106DEF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911424" y="3572844"/>
            <a:ext cx="3024336" cy="792260"/>
          </a:xfrm>
          <a:prstGeom prst="rect">
            <a:avLst/>
          </a:prstGeom>
          <a:noFill/>
          <a:ln w="0">
            <a:noFill/>
          </a:ln>
        </p:spPr>
        <p:txBody>
          <a:bodyPr lIns="324000" r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EC74CDF-EF49-0042-0B47-6CDF8DBCA5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rtl="0">
              <a:defRPr/>
            </a:lvl1pPr>
          </a:lstStyle>
          <a:p>
            <a:fld id="{7A045E3C-9BB7-4703-9582-1D5555AD4E70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EB2C21F-6161-81E4-AB9C-4903B384B7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47BFFF-821F-4545-49EA-12E46EAA08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63824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0C62AE8-D96B-637D-5D69-6EFEADF693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472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C62AE8-D96B-637D-5D69-6EFEADF693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Number">
            <a:extLst>
              <a:ext uri="{FF2B5EF4-FFF2-40B4-BE49-F238E27FC236}">
                <a16:creationId xmlns:a16="http://schemas.microsoft.com/office/drawing/2014/main" id="{C1DC8AD9-CEFF-4205-B408-8C25EAC04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5359" y="2061183"/>
            <a:ext cx="3528999" cy="252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 baseline="0">
                <a:solidFill>
                  <a:srgbClr val="FFA52F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FFA52F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FFA52F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FFA52F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FFA52F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FFA52F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FFA52F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FFA52F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FFA52F"/>
                </a:solidFill>
                <a:latin typeface="+mj-lt"/>
              </a:defRPr>
            </a:lvl9pPr>
          </a:lstStyle>
          <a:p>
            <a:r>
              <a:rPr lang="en-US"/>
              <a:t>00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4944376" y="1989183"/>
            <a:ext cx="4608008" cy="1727849"/>
          </a:xfrm>
          <a:prstGeom prst="rect">
            <a:avLst/>
          </a:prstGeom>
        </p:spPr>
        <p:txBody>
          <a:bodyPr vert="horz" tIns="36000">
            <a:noAutofit/>
          </a:bodyPr>
          <a:lstStyle>
            <a:lvl1pPr rtl="0"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Divider slide | Insert your headline in maximal three lines her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46297C-A90E-4725-9584-F26D2B59D3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944374" y="3717032"/>
            <a:ext cx="4608009" cy="864096"/>
          </a:xfrm>
          <a:prstGeom prst="rect">
            <a:avLst/>
          </a:prstGeom>
          <a:noFill/>
          <a:ln w="0">
            <a:noFill/>
          </a:ln>
        </p:spPr>
        <p:txBody>
          <a:bodyPr lIns="0" r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46A4DB98-2658-49F8-8812-38BE9A090A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487488" y="6525000"/>
            <a:ext cx="9144512" cy="144000"/>
          </a:xfrm>
        </p:spPr>
        <p:txBody>
          <a:bodyPr anchor="b"/>
          <a:lstStyle>
            <a:lvl1pPr marL="0" indent="0" algn="l" rtl="0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/>
              <a:t>Source, Footnote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63B7A03-94FB-4FF5-E3BC-46F9616A33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1941D93C-FB03-4F7C-B025-C6605B7F8C96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C8F4A60-D224-9808-B996-E715CE0DE5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DA539CD-62B2-B184-2BAA-74507EB259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61227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 | Magent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E145228-4B5C-FC7A-03F8-636323C9BA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6897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145228-4B5C-FC7A-03F8-636323C9BA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Number">
            <a:extLst>
              <a:ext uri="{FF2B5EF4-FFF2-40B4-BE49-F238E27FC236}">
                <a16:creationId xmlns:a16="http://schemas.microsoft.com/office/drawing/2014/main" id="{E157F135-E4AF-4A4C-8F59-A56C717EB5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5360" y="2060848"/>
            <a:ext cx="3527992" cy="252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 baseline="0">
                <a:solidFill>
                  <a:srgbClr val="D2335F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D2335F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D2335F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D2335F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D2335F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D2335F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D2335F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D2335F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D2335F"/>
                </a:solidFill>
                <a:latin typeface="+mj-lt"/>
              </a:defRPr>
            </a:lvl9pPr>
          </a:lstStyle>
          <a:p>
            <a:r>
              <a:rPr lang="en-US"/>
              <a:t>00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4943872" y="1988840"/>
            <a:ext cx="4608511" cy="1728192"/>
          </a:xfrm>
          <a:prstGeom prst="rect">
            <a:avLst/>
          </a:prstGeom>
        </p:spPr>
        <p:txBody>
          <a:bodyPr vert="horz" tIns="36000">
            <a:noAutofit/>
          </a:bodyPr>
          <a:lstStyle>
            <a:lvl1pPr rtl="0"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Divider slide | Insert your headline in maximal three lines her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46297C-A90E-4725-9584-F26D2B59D3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943872" y="3717032"/>
            <a:ext cx="4608512" cy="864096"/>
          </a:xfrm>
          <a:prstGeom prst="rect">
            <a:avLst/>
          </a:prstGeom>
          <a:noFill/>
          <a:ln w="0">
            <a:noFill/>
          </a:ln>
        </p:spPr>
        <p:txBody>
          <a:bodyPr lIns="0" r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8" name="Source">
            <a:extLst>
              <a:ext uri="{FF2B5EF4-FFF2-40B4-BE49-F238E27FC236}">
                <a16:creationId xmlns:a16="http://schemas.microsoft.com/office/drawing/2014/main" id="{C42A0124-5CC0-4054-ACBA-BD854D752F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487488" y="6525000"/>
            <a:ext cx="9144512" cy="144000"/>
          </a:xfrm>
        </p:spPr>
        <p:txBody>
          <a:bodyPr anchor="b"/>
          <a:lstStyle>
            <a:lvl1pPr marL="0" indent="0" algn="l" rtl="0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2pPr>
            <a:lvl3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3pPr>
            <a:lvl4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7pPr>
            <a:lvl8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8pPr>
            <a:lvl9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/>
              <a:t>Source, Footnote</a:t>
            </a:r>
            <a:endParaRPr lang="en-US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9970168-D029-D3E0-46DE-74970B8F7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511073A0-E5E0-4EC2-8B27-A0B163400CE0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9CCA1195-594E-5CAF-16EF-F4CAEE2BA8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1487488" y="6525345"/>
            <a:ext cx="8640960" cy="14401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35FB83E2-E9A7-F446-3EB6-5DEFCC48CF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496600" y="6309320"/>
            <a:ext cx="432048" cy="144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AEA825B-D749-4F0A-886E-8D45A39EAF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13084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 |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F153CA3-CE3A-49D5-ED71-6D9B443AB2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856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153CA3-CE3A-49D5-ED71-6D9B443AB2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Number">
            <a:extLst>
              <a:ext uri="{FF2B5EF4-FFF2-40B4-BE49-F238E27FC236}">
                <a16:creationId xmlns:a16="http://schemas.microsoft.com/office/drawing/2014/main" id="{F1BA0A68-4136-44D7-9E13-FF5DFC551B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5360" y="2061183"/>
            <a:ext cx="3528392" cy="252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 baseline="0">
                <a:solidFill>
                  <a:srgbClr val="7B4DB3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7B4DB3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7B4DB3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7B4DB3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7B4DB3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7B4DB3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7B4DB3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7B4DB3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7B4DB3"/>
                </a:solidFill>
                <a:latin typeface="+mj-lt"/>
              </a:defRPr>
            </a:lvl9pPr>
          </a:lstStyle>
          <a:p>
            <a:r>
              <a:rPr lang="en-US"/>
              <a:t>00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4943872" y="1989183"/>
            <a:ext cx="4608511" cy="1727849"/>
          </a:xfrm>
          <a:prstGeom prst="rect">
            <a:avLst/>
          </a:prstGeom>
        </p:spPr>
        <p:txBody>
          <a:bodyPr vert="horz" tIns="36000">
            <a:noAutofit/>
          </a:bodyPr>
          <a:lstStyle>
            <a:lvl1pPr rtl="0"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Divider slide | Insert your headline in maximal three lines her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46297C-A90E-4725-9584-F26D2B59D3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943872" y="3717032"/>
            <a:ext cx="4608512" cy="864096"/>
          </a:xfrm>
          <a:prstGeom prst="rect">
            <a:avLst/>
          </a:prstGeom>
          <a:noFill/>
          <a:ln w="0">
            <a:noFill/>
          </a:ln>
        </p:spPr>
        <p:txBody>
          <a:bodyPr lIns="0" r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8" name="Source">
            <a:extLst>
              <a:ext uri="{FF2B5EF4-FFF2-40B4-BE49-F238E27FC236}">
                <a16:creationId xmlns:a16="http://schemas.microsoft.com/office/drawing/2014/main" id="{EC4813FD-BF8E-4F33-A718-751235694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487488" y="6525000"/>
            <a:ext cx="9144512" cy="144000"/>
          </a:xfrm>
        </p:spPr>
        <p:txBody>
          <a:bodyPr anchor="b"/>
          <a:lstStyle>
            <a:lvl1pPr marL="0" indent="0" algn="l" rtl="0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/>
              <a:t>Source, Footnote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879F79-C439-455B-A908-83DBF49735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1D7D864F-68B1-4673-B500-C22B87B42C08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95FAF83-CEF1-F861-C7AA-8906EFD276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55CDCD7-4589-3D72-B7F4-95F768825C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5208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 |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DF5D815-E634-732A-F9A9-521E421BC8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0877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F5D815-E634-732A-F9A9-521E421BC8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Number">
            <a:extLst>
              <a:ext uri="{FF2B5EF4-FFF2-40B4-BE49-F238E27FC236}">
                <a16:creationId xmlns:a16="http://schemas.microsoft.com/office/drawing/2014/main" id="{0FFF7464-F835-4DB7-98C4-101D2DE12D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5360" y="2061128"/>
            <a:ext cx="3528392" cy="252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 baseline="0">
                <a:solidFill>
                  <a:srgbClr val="519FBC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519FBC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519FBC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519FBC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519FBC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519FBC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519FBC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519FBC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519FBC"/>
                </a:solidFill>
                <a:latin typeface="+mj-lt"/>
              </a:defRPr>
            </a:lvl9pPr>
          </a:lstStyle>
          <a:p>
            <a:r>
              <a:rPr lang="en-US"/>
              <a:t>00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4944376" y="1989072"/>
            <a:ext cx="4608008" cy="1727960"/>
          </a:xfrm>
          <a:prstGeom prst="rect">
            <a:avLst/>
          </a:prstGeom>
        </p:spPr>
        <p:txBody>
          <a:bodyPr vert="horz" tIns="36000">
            <a:noAutofit/>
          </a:bodyPr>
          <a:lstStyle>
            <a:lvl1pPr rtl="0"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Divider slide | Insert your headline in maximal three lines her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46297C-A90E-4725-9584-F26D2B59D3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943872" y="3717032"/>
            <a:ext cx="4608512" cy="864096"/>
          </a:xfrm>
          <a:prstGeom prst="rect">
            <a:avLst/>
          </a:prstGeom>
          <a:noFill/>
          <a:ln w="0">
            <a:noFill/>
          </a:ln>
        </p:spPr>
        <p:txBody>
          <a:bodyPr lIns="0" r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8" name="Source">
            <a:extLst>
              <a:ext uri="{FF2B5EF4-FFF2-40B4-BE49-F238E27FC236}">
                <a16:creationId xmlns:a16="http://schemas.microsoft.com/office/drawing/2014/main" id="{F83C2111-A5BF-43B2-BF9D-B55B24083C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487488" y="6525000"/>
            <a:ext cx="9144512" cy="144000"/>
          </a:xfrm>
        </p:spPr>
        <p:txBody>
          <a:bodyPr anchor="b"/>
          <a:lstStyle>
            <a:lvl1pPr marL="0" indent="0" algn="l" rtl="0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spcBef>
                <a:spcPts val="0"/>
              </a:spcBef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/>
              <a:t>Source, Footnote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F624230-35E9-86B7-1C1F-F066F4A3A1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15DFD662-3608-46F2-A61C-A5264C9F23B2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E8ECE22-627B-46ED-CA7A-667359FF7A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A8CF00-F35E-06AA-5858-C368341ADD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9304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CD3B91E-5AF1-4A93-3A70-02ED0A7997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3379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D3B91E-5AF1-4A93-3A70-02ED0A7997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3372D55B-DF5B-878B-E270-AF68BF7A02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2D8B8CD0-A918-4D9A-8B83-4ECDE9349120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4D232B53-FA76-C372-3BF1-A3898B6069E4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0888B918-6E26-ACE0-6591-802C1DE1E8E9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FE0242B6-0FBE-72E8-3E25-FB5C49CEF0DC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FA1E7E2B-C8FC-2239-2546-337821C4600B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0ADFB1E6-79D8-89DD-8D5C-F82DED503C58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46FA6F38-1DA4-AA00-F367-D0CA9A98715F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F724538F-38F7-645C-E1B4-1FBC14617EC6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2AC44F23-B7E2-840E-FEED-D96E175CE5D4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AE38ECB5-54D1-EC05-6215-8740B88199BE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646006D9-EE5B-2F94-1D8A-C6EEA552C8DB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B0A5F9AC-8389-A8CE-E4DD-8869D3A81E3A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96568FFC-C6BB-467C-E4A6-676B8F962DCC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6B1188E5-CD61-B5C4-E327-BAA6594C86CE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0" name="Rechteck 79">
              <a:extLst>
                <a:ext uri="{FF2B5EF4-FFF2-40B4-BE49-F238E27FC236}">
                  <a16:creationId xmlns:a16="http://schemas.microsoft.com/office/drawing/2014/main" id="{1AD7256D-513A-1217-C823-686EDCDC4C55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386E3984-4E0A-D44C-4536-039C63764A35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4AAB3199-8192-D440-F367-E6E081128F06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23F0D60B-D04B-1620-E74A-036B17559A8C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FBC92A60-2945-BF6A-207F-7D0DCF7C253F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7479D1E8-90F5-BC18-C772-8A37F9D7DCE7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67F22A96-F741-177E-6808-1D213256B87E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7" name="Rechteck 86">
              <a:extLst>
                <a:ext uri="{FF2B5EF4-FFF2-40B4-BE49-F238E27FC236}">
                  <a16:creationId xmlns:a16="http://schemas.microsoft.com/office/drawing/2014/main" id="{24A2538C-392B-F1AA-8609-0800E6D2E4B1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8" name="Rechteck 87">
              <a:extLst>
                <a:ext uri="{FF2B5EF4-FFF2-40B4-BE49-F238E27FC236}">
                  <a16:creationId xmlns:a16="http://schemas.microsoft.com/office/drawing/2014/main" id="{3F5659DA-0A75-D48A-F057-4FB594532732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9" name="Rechteck 88">
              <a:extLst>
                <a:ext uri="{FF2B5EF4-FFF2-40B4-BE49-F238E27FC236}">
                  <a16:creationId xmlns:a16="http://schemas.microsoft.com/office/drawing/2014/main" id="{3D69D1FB-1AF7-9904-CC3E-6C5BF76BDEA4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5" name="Rechteck 94">
              <a:extLst>
                <a:ext uri="{FF2B5EF4-FFF2-40B4-BE49-F238E27FC236}">
                  <a16:creationId xmlns:a16="http://schemas.microsoft.com/office/drawing/2014/main" id="{E6208661-5DD3-173A-6D41-5CBA60DEA8A5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D82AB69E-5578-9110-CFDA-61BA984B0779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272E29DC-6BFF-A01F-8A0C-D70AABC1A353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3AB14283-8B29-E816-14AA-75CA7C23B6B5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A59908C2-F446-90CF-1869-93DB553B2A6F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95D3DDE8-51DA-8833-AF8F-9DBD0424E38B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8" name="Rechteck 117">
              <a:extLst>
                <a:ext uri="{FF2B5EF4-FFF2-40B4-BE49-F238E27FC236}">
                  <a16:creationId xmlns:a16="http://schemas.microsoft.com/office/drawing/2014/main" id="{654CABEC-8C4A-13E3-3669-7FB553156B80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9" name="Rechteck 118">
              <a:extLst>
                <a:ext uri="{FF2B5EF4-FFF2-40B4-BE49-F238E27FC236}">
                  <a16:creationId xmlns:a16="http://schemas.microsoft.com/office/drawing/2014/main" id="{CF754393-5B8F-DDC5-ED92-040760E53368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0" name="Rechteck 119">
              <a:extLst>
                <a:ext uri="{FF2B5EF4-FFF2-40B4-BE49-F238E27FC236}">
                  <a16:creationId xmlns:a16="http://schemas.microsoft.com/office/drawing/2014/main" id="{9046C57E-EE1B-E95D-2AB3-3094B74E95FC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1" name="Rechteck 120">
              <a:extLst>
                <a:ext uri="{FF2B5EF4-FFF2-40B4-BE49-F238E27FC236}">
                  <a16:creationId xmlns:a16="http://schemas.microsoft.com/office/drawing/2014/main" id="{319A762A-3854-B9EA-9316-E199584AA481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2" name="Rechteck 121">
              <a:extLst>
                <a:ext uri="{FF2B5EF4-FFF2-40B4-BE49-F238E27FC236}">
                  <a16:creationId xmlns:a16="http://schemas.microsoft.com/office/drawing/2014/main" id="{388AD491-9200-ACB9-6257-E440148C38B1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3" name="Rechteck 122">
              <a:extLst>
                <a:ext uri="{FF2B5EF4-FFF2-40B4-BE49-F238E27FC236}">
                  <a16:creationId xmlns:a16="http://schemas.microsoft.com/office/drawing/2014/main" id="{C335B5AA-8542-09F4-A16C-90BDD1A97220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1" name="Rechteck 140">
              <a:extLst>
                <a:ext uri="{FF2B5EF4-FFF2-40B4-BE49-F238E27FC236}">
                  <a16:creationId xmlns:a16="http://schemas.microsoft.com/office/drawing/2014/main" id="{3A37C102-D5BC-66A4-C15C-CB9DCBB6BB8C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E2087D6C-C560-89A3-D930-60315114736D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3" name="Rechteck 142">
              <a:extLst>
                <a:ext uri="{FF2B5EF4-FFF2-40B4-BE49-F238E27FC236}">
                  <a16:creationId xmlns:a16="http://schemas.microsoft.com/office/drawing/2014/main" id="{C1754029-10DC-6D4B-1269-4F32947FDF03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4" name="Rechteck 143">
              <a:extLst>
                <a:ext uri="{FF2B5EF4-FFF2-40B4-BE49-F238E27FC236}">
                  <a16:creationId xmlns:a16="http://schemas.microsoft.com/office/drawing/2014/main" id="{E9940C7B-8575-13FA-60C2-4739B45183F2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5" name="Rechteck 144">
              <a:extLst>
                <a:ext uri="{FF2B5EF4-FFF2-40B4-BE49-F238E27FC236}">
                  <a16:creationId xmlns:a16="http://schemas.microsoft.com/office/drawing/2014/main" id="{20CEE341-266F-B5A1-D5FE-42A1165600C9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6" name="Rechteck 145">
              <a:extLst>
                <a:ext uri="{FF2B5EF4-FFF2-40B4-BE49-F238E27FC236}">
                  <a16:creationId xmlns:a16="http://schemas.microsoft.com/office/drawing/2014/main" id="{07C11134-46C1-378E-6C42-90D51CFE1C1C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4" name="Rechteck 163">
              <a:extLst>
                <a:ext uri="{FF2B5EF4-FFF2-40B4-BE49-F238E27FC236}">
                  <a16:creationId xmlns:a16="http://schemas.microsoft.com/office/drawing/2014/main" id="{03CA6F13-3D99-C26E-9BD4-BE7C5B8D1C73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5" name="Rechteck 164">
              <a:extLst>
                <a:ext uri="{FF2B5EF4-FFF2-40B4-BE49-F238E27FC236}">
                  <a16:creationId xmlns:a16="http://schemas.microsoft.com/office/drawing/2014/main" id="{71FB9E06-94FF-1460-6A2E-271178AF7C48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6" name="Rechteck 165">
              <a:extLst>
                <a:ext uri="{FF2B5EF4-FFF2-40B4-BE49-F238E27FC236}">
                  <a16:creationId xmlns:a16="http://schemas.microsoft.com/office/drawing/2014/main" id="{57421275-5BF0-BA0F-5FA3-52105BE88709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7" name="Rechteck 166">
              <a:extLst>
                <a:ext uri="{FF2B5EF4-FFF2-40B4-BE49-F238E27FC236}">
                  <a16:creationId xmlns:a16="http://schemas.microsoft.com/office/drawing/2014/main" id="{2897480A-8BE6-89E6-93D1-2974D9965314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8" name="Rechteck 167">
              <a:extLst>
                <a:ext uri="{FF2B5EF4-FFF2-40B4-BE49-F238E27FC236}">
                  <a16:creationId xmlns:a16="http://schemas.microsoft.com/office/drawing/2014/main" id="{88A18E1C-6F1B-8823-1AF7-F785426782D2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9" name="Rechteck 168">
              <a:extLst>
                <a:ext uri="{FF2B5EF4-FFF2-40B4-BE49-F238E27FC236}">
                  <a16:creationId xmlns:a16="http://schemas.microsoft.com/office/drawing/2014/main" id="{05E5C208-77D8-6492-C8DE-89EA89879893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7" name="Rechteck 186">
              <a:extLst>
                <a:ext uri="{FF2B5EF4-FFF2-40B4-BE49-F238E27FC236}">
                  <a16:creationId xmlns:a16="http://schemas.microsoft.com/office/drawing/2014/main" id="{454D55A6-69AC-1982-41BF-2E0985DF19D0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8" name="Rechteck 187">
              <a:extLst>
                <a:ext uri="{FF2B5EF4-FFF2-40B4-BE49-F238E27FC236}">
                  <a16:creationId xmlns:a16="http://schemas.microsoft.com/office/drawing/2014/main" id="{06582C43-AE5B-3B69-4563-EDDCAF718E59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9" name="Rechteck 188">
              <a:extLst>
                <a:ext uri="{FF2B5EF4-FFF2-40B4-BE49-F238E27FC236}">
                  <a16:creationId xmlns:a16="http://schemas.microsoft.com/office/drawing/2014/main" id="{C5F26964-2EF2-08E5-8B07-7CE7881B2602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0" name="Rechteck 189">
              <a:extLst>
                <a:ext uri="{FF2B5EF4-FFF2-40B4-BE49-F238E27FC236}">
                  <a16:creationId xmlns:a16="http://schemas.microsoft.com/office/drawing/2014/main" id="{32291D88-A86A-9ED7-BABB-581F278604F6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AC4A2243-3EE1-37CC-3060-F5152EC38B36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2" name="Rechteck 191">
              <a:extLst>
                <a:ext uri="{FF2B5EF4-FFF2-40B4-BE49-F238E27FC236}">
                  <a16:creationId xmlns:a16="http://schemas.microsoft.com/office/drawing/2014/main" id="{0071C46D-302D-F6F4-3302-8270870508F7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C99B72C5-A0F3-3612-A7C7-31307866317A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C6528FD0-20BD-0EA8-87EC-1637072049BB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76621617-2F7B-2DB5-55DF-FEF1185E45B8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3" name="Rechteck 212">
              <a:extLst>
                <a:ext uri="{FF2B5EF4-FFF2-40B4-BE49-F238E27FC236}">
                  <a16:creationId xmlns:a16="http://schemas.microsoft.com/office/drawing/2014/main" id="{6E72D813-520F-D096-D3CB-76918D5D3478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569D4C52-FBB8-7F1A-9887-8CCFA267AA3C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5" name="Rechteck 214">
              <a:extLst>
                <a:ext uri="{FF2B5EF4-FFF2-40B4-BE49-F238E27FC236}">
                  <a16:creationId xmlns:a16="http://schemas.microsoft.com/office/drawing/2014/main" id="{AA99D5DB-5D3D-53DB-FC50-FF05F4CA47CB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6" name="Rechteck 215">
              <a:extLst>
                <a:ext uri="{FF2B5EF4-FFF2-40B4-BE49-F238E27FC236}">
                  <a16:creationId xmlns:a16="http://schemas.microsoft.com/office/drawing/2014/main" id="{1CF58A24-8656-5AA7-BEBD-55AAF3281A9E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5" name="Rechteck 254">
              <a:extLst>
                <a:ext uri="{FF2B5EF4-FFF2-40B4-BE49-F238E27FC236}">
                  <a16:creationId xmlns:a16="http://schemas.microsoft.com/office/drawing/2014/main" id="{69378F78-BE02-36F9-9023-8B7C5B2F2436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3434AA33-A769-86A2-6267-1CF67CF17D43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8869885B-A7CF-271D-2250-95783ED628A0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8D0B4205-9279-7C9E-2F0A-417BE63DAF5C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5F450C99-3248-5FDD-C05D-86AA682D4362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B6D1B5C1-AF37-49AE-9F7F-CCEDDAA93A43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C16D46F4-21D9-DCAA-3DAA-F1BDF69307B6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8E7E6966-718B-5862-42E4-82F4DED3BFA0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882706A7-29E2-E3EA-3408-17FB4E919900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1986A5D7-AF82-63C9-76D6-3CD59BCC432A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B100A660-F65E-74C3-B8DE-B5A350550FC3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43AE1A6A-F453-940E-1A0F-A077354ECB6F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713A0AA1-8A1F-26A5-E085-EFB1F50DCAB0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FA868219-BA8A-F8F2-1C8D-91C81ACA2868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D710CC4C-4F6D-A657-1C23-851B85A1B88D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28C7E710-B287-0276-B5D0-9AC91AE76B04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4D7961F2-2D57-EF97-3102-83BED17525BF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59C89E42-25CB-61BD-7141-68BDBED9D90E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7F33EE8E-E2F8-E8EF-9703-27A22655F370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E4A7170D-3492-8300-B639-2C7AC2F8EA76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AECAC77B-ABD1-6CE4-DEE1-88D77F673984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D27BB99E-2DF4-FFC5-8F50-887F493E3897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BDB0758F-AD28-37D2-6A38-0882F101DE64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7284447C-1797-503D-1FC1-CFA604F478A9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18C0657A-BDC9-8FBB-C472-A788927282AA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880227BA-B206-6CAD-9E32-C145EE6B7994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8394C89A-81E9-F5F0-BE8E-82BD5F606F50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394C4797-166C-3476-924D-8EF06C923D78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F3C31654-44C7-8F70-BF1C-E5ABB7741035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D5D0FC4A-1EF1-3BBE-298F-5446B6D51AC2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A2ADC623-2998-16BC-56B2-FA94B84D6001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321AE098-CA64-068C-CC2C-D282BE8148BD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80D2BB41-03C2-53F0-2B74-E7FCF2FD5156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7DF3ACFD-3460-C73B-839C-8920B7552081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1CDE75C6-07C8-CE29-025A-DB237B0F3AF6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241B3B4C-9ECE-368B-9D94-A2BE024C7937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A16A0B79-A142-3E79-3B0A-4E1EA505B189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D577F498-B8D3-08C5-E878-B7E821CEAF39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1C3EF8F6-ABFE-AA2F-6C28-36CD95B7D9A3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C347EAC4-72C3-2CAE-9FFF-BDB25FF8DC30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FEAAF333-DE99-4917-CA33-E7AD0594E4DA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395322F4-8E13-7525-0825-B77152A5E9BA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2E4BCE7D-430C-EB46-2336-78184AE373DC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F9197531-0CE3-EEA0-A786-C7ACC76B6FEA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29D836FB-421E-5A23-0A6E-96F40839B215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FFDD4D6F-CDA5-46B9-8EC5-8773123EE433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F1303005-1F7A-2E13-C105-3CBEF3523DCF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81234DFF-CE84-C948-8DE0-5DF82C5965E7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3B32A862-10D4-4D4E-7BD2-70DAAD12E80F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F1163D25-E28F-54C4-73A5-A37AD66971CE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0CA61BC7-2833-A5C9-EE7A-CF391DF04DEA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D5EAD328-D76D-795D-A9FE-99A7848B7E74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5CA3622D-8875-D7A8-0F45-6D0F90AD63EB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F3C3628F-FA0E-4F6D-0290-8DBB0A3F5CEB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EE6AD1DD-42E5-DA63-4C35-3F0180863667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97ACB3D7-EC4D-D285-EE70-D8779852026F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7A4E2BED-DD1E-A167-F13B-E79130A657CC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369058B3-CEFF-970F-5452-83F1338D26C5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FA4FB7CF-A102-7C04-F0E3-9DB54D7A1102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84D017E9-EF37-8BEB-C454-4A23FE97DA18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7A10C9A8-2C41-4FB5-65B6-1AB97CB35E5D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15A7D076-C072-B087-8792-59BBF8752FE0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860BBBF7-64EF-F134-4687-A66135E0032C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20D2A556-4BC4-9FF4-B737-128865F18DB4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A06018B4-8610-BA59-3553-B5609CA73793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48D84B21-A2BD-94D4-664D-7E2103A9CE42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66B05253-9CF4-B9A7-AF59-511F1FB3DA32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6BB2F306-1C42-0FB4-BB74-DF92811409C4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7FA55D82-DBA1-B52A-24FF-912A475ED64C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506E4F1B-2773-1131-D5D8-411ED8F02B3B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A7B3BEBF-F9C7-2241-BF37-30738B71C0BF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DC31AEC3-3DAF-6F56-6CA5-0D60E4C74006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27DFD8FC-3912-4D6D-C614-D3A8BE539520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E9B839FE-FE05-99AE-542A-721B7116CADC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E3285C68-92DF-85C7-8DCB-B423E9A2A3BD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E515F063-FB68-43A6-A3C4-654126F6C57E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A503810D-91CD-A3D2-221F-325F1C1C85A0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97836359-C74D-FF29-7F62-171611C093F3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0A529F40-D224-6D54-6E4C-463E5C3DDD28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BFF58E3C-DAAC-1C09-2514-478922900C2A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CC149E58-1E7E-93D0-DE88-89E0B5ABC050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7FBDE90E-73C6-B107-DF5F-BF487168163C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9135A243-80FC-5DDA-A700-0CEF5276F3E1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7305426B-0B6F-1BE5-30B9-FCC22C3A34F9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35A09146-AC3F-E42D-B122-FF3C23D40CA3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7F2F7172-EB0B-9CDC-6482-FA13357AC659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15EC83F0-EBF6-8834-E43F-EB67146C9492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3F429A80-0E6C-F4D8-172B-842FFA87622A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ED9AEF9E-62F7-25CF-CEC6-9D6F4647E8C0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C5DF8A29-E5D5-7C51-284F-BE37D4A610EA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F81AD4B4-7961-CEDE-2947-5CC65D58B1CB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C2823A4F-8F72-F503-8B61-23864271ACFF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7B36D97B-50BA-48CA-8871-9A536C543D57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80B05F53-08F1-1D12-3A1D-DD60DDD3DA76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89AAFE3C-0F36-7172-6338-0EEB58807A68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677B3EE0-B872-B54A-1B18-B89F9A60DAEE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B60A87EF-94C5-C241-5CA4-EEF22991C934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2BF9ECE5-5439-7EC8-0129-CD9BAA53C9FE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8395A401-4D93-FB41-42D2-B8DFC1D4C43A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1BBE461E-F474-6FA6-7D4A-54F2B9FE1731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C8C21DEC-76A9-2058-7C4B-74272E1D6203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89917A50-9281-08A7-274E-B94E187406B5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3504F114-FAB3-7B4E-F093-F0954EB61D97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CB5DA9F0-E8DD-D14A-6D99-7E7D0E3206B1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DD6C3BF7-A666-E2AC-0F02-5D3C5EA2F79B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A4712CA9-630F-36FA-EA14-2ADA0DA9A2E2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E35D1BF7-D982-87F9-092F-E35FA703EC65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93531C64-D3AA-05DB-6DB4-577B6FC7EE45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0" name="Rechteck 389">
              <a:extLst>
                <a:ext uri="{FF2B5EF4-FFF2-40B4-BE49-F238E27FC236}">
                  <a16:creationId xmlns:a16="http://schemas.microsoft.com/office/drawing/2014/main" id="{BC8244CE-843A-6115-5907-FCB991729FC1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1" name="Rechteck 390">
              <a:extLst>
                <a:ext uri="{FF2B5EF4-FFF2-40B4-BE49-F238E27FC236}">
                  <a16:creationId xmlns:a16="http://schemas.microsoft.com/office/drawing/2014/main" id="{82773620-C3C6-43FC-963E-F517F3C783A5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2" name="Rechteck 391">
              <a:extLst>
                <a:ext uri="{FF2B5EF4-FFF2-40B4-BE49-F238E27FC236}">
                  <a16:creationId xmlns:a16="http://schemas.microsoft.com/office/drawing/2014/main" id="{C0376B1B-810E-35BE-7A8C-7E4712F5A0DF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3" name="Rechteck 392">
              <a:extLst>
                <a:ext uri="{FF2B5EF4-FFF2-40B4-BE49-F238E27FC236}">
                  <a16:creationId xmlns:a16="http://schemas.microsoft.com/office/drawing/2014/main" id="{19305C83-D340-7216-6BF5-E7FA14A805D4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4" name="Rechteck 393">
              <a:extLst>
                <a:ext uri="{FF2B5EF4-FFF2-40B4-BE49-F238E27FC236}">
                  <a16:creationId xmlns:a16="http://schemas.microsoft.com/office/drawing/2014/main" id="{E4C43581-3F7B-1CA6-6FA3-18D4E9B05433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5" name="Rechteck 394">
              <a:extLst>
                <a:ext uri="{FF2B5EF4-FFF2-40B4-BE49-F238E27FC236}">
                  <a16:creationId xmlns:a16="http://schemas.microsoft.com/office/drawing/2014/main" id="{123E9A19-9462-A424-FA87-F057F460A7C6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6" name="Rechteck 395">
              <a:extLst>
                <a:ext uri="{FF2B5EF4-FFF2-40B4-BE49-F238E27FC236}">
                  <a16:creationId xmlns:a16="http://schemas.microsoft.com/office/drawing/2014/main" id="{0D8AC7E5-CF7C-CB1C-88B4-E7BDA333788D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7" name="Rechteck 396">
              <a:extLst>
                <a:ext uri="{FF2B5EF4-FFF2-40B4-BE49-F238E27FC236}">
                  <a16:creationId xmlns:a16="http://schemas.microsoft.com/office/drawing/2014/main" id="{40DBBE19-11B4-7ACA-19BD-5C1645454E9C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65B37948-EF9C-97D6-FF1C-4C9C15EC7C5C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402F9EB8-5A86-0326-F840-7535332F0475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1ACA4C6B-E7B8-1946-EF86-82C1D62B01B4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8F220E69-3A4D-C58E-629A-7DF83E42250A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E9945FD2-F476-3F9F-A02C-11DF7A407052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3" name="Rechteck 402">
              <a:extLst>
                <a:ext uri="{FF2B5EF4-FFF2-40B4-BE49-F238E27FC236}">
                  <a16:creationId xmlns:a16="http://schemas.microsoft.com/office/drawing/2014/main" id="{5A12B1F6-0096-BB24-E4CE-C20A3B7004B2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79AF5BA9-44A5-833E-4BA7-2DC7DB51808C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5" name="Rechteck 404">
              <a:extLst>
                <a:ext uri="{FF2B5EF4-FFF2-40B4-BE49-F238E27FC236}">
                  <a16:creationId xmlns:a16="http://schemas.microsoft.com/office/drawing/2014/main" id="{AE34CF66-6C51-25A5-86B5-F5DE6F65001F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6" name="Rechteck 405">
              <a:extLst>
                <a:ext uri="{FF2B5EF4-FFF2-40B4-BE49-F238E27FC236}">
                  <a16:creationId xmlns:a16="http://schemas.microsoft.com/office/drawing/2014/main" id="{4DBDF2F8-0DF6-47B3-A16C-2554740A5EC2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1093060E-B60B-0BB0-F871-CA9C2FD30631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F15B94B1-CCCA-90DB-3334-6B36EFD86BA0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4F044852-AA77-C66E-7D12-81DFEE03C134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sp>
        <p:nvSpPr>
          <p:cNvPr id="411" name="Freihandform: Form 410">
            <a:extLst>
              <a:ext uri="{FF2B5EF4-FFF2-40B4-BE49-F238E27FC236}">
                <a16:creationId xmlns:a16="http://schemas.microsoft.com/office/drawing/2014/main" id="{8095DEE7-CADB-5AC6-5F3E-2AA481A650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1424" y="2060848"/>
            <a:ext cx="2892425" cy="2879303"/>
          </a:xfrm>
          <a:custGeom>
            <a:avLst/>
            <a:gdLst>
              <a:gd name="connsiteX0" fmla="*/ 0 w 2892425"/>
              <a:gd name="connsiteY0" fmla="*/ 0 h 2879303"/>
              <a:gd name="connsiteX1" fmla="*/ 2892425 w 2892425"/>
              <a:gd name="connsiteY1" fmla="*/ 0 h 2879303"/>
              <a:gd name="connsiteX2" fmla="*/ 2307742 w 2892425"/>
              <a:gd name="connsiteY2" fmla="*/ 2298575 h 2879303"/>
              <a:gd name="connsiteX3" fmla="*/ 0 w 2892425"/>
              <a:gd name="connsiteY3" fmla="*/ 2879303 h 2879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92425" h="2879303">
                <a:moveTo>
                  <a:pt x="0" y="0"/>
                </a:moveTo>
                <a:lnTo>
                  <a:pt x="2892425" y="0"/>
                </a:lnTo>
                <a:lnTo>
                  <a:pt x="2307742" y="2298575"/>
                </a:lnTo>
                <a:lnTo>
                  <a:pt x="0" y="2879303"/>
                </a:lnTo>
                <a:close/>
              </a:path>
            </a:pathLst>
          </a:custGeom>
          <a:solidFill>
            <a:schemeClr val="bg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 rtl="0"/>
            <a:endParaRPr lang="en-US" sz="1600" dirty="0"/>
          </a:p>
        </p:txBody>
      </p:sp>
      <p:sp>
        <p:nvSpPr>
          <p:cNvPr id="283" name="Number">
            <a:extLst>
              <a:ext uri="{FF2B5EF4-FFF2-40B4-BE49-F238E27FC236}">
                <a16:creationId xmlns:a16="http://schemas.microsoft.com/office/drawing/2014/main" id="{4C4966BF-C099-498A-89EE-FA463EDE83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11424" y="2060997"/>
            <a:ext cx="2889051" cy="2880171"/>
          </a:xfrm>
          <a:custGeom>
            <a:avLst/>
            <a:gdLst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517775 w 3022600"/>
              <a:gd name="connsiteY2" fmla="*/ 2520950 h 3024187"/>
              <a:gd name="connsiteX3" fmla="*/ 0 w 3022600"/>
              <a:gd name="connsiteY3" fmla="*/ 3024187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328434 w 3022600"/>
              <a:gd name="connsiteY2" fmla="*/ 2311783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398191 w 3022600"/>
              <a:gd name="connsiteY2" fmla="*/ 2414707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411479 w 3022600"/>
              <a:gd name="connsiteY2" fmla="*/ 2408067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2600" h="3024187">
                <a:moveTo>
                  <a:pt x="0" y="0"/>
                </a:moveTo>
                <a:lnTo>
                  <a:pt x="3022600" y="0"/>
                </a:lnTo>
                <a:lnTo>
                  <a:pt x="2411479" y="2408067"/>
                </a:lnTo>
                <a:lnTo>
                  <a:pt x="0" y="3024187"/>
                </a:lnTo>
                <a:lnTo>
                  <a:pt x="0" y="0"/>
                </a:lnTo>
                <a:close/>
              </a:path>
            </a:pathLst>
          </a:custGeom>
          <a:solidFill>
            <a:srgbClr val="FFA52F"/>
          </a:solidFill>
          <a:ln w="127">
            <a:solidFill>
              <a:srgbClr val="FFA52F">
                <a:alpha val="0"/>
              </a:srgbClr>
            </a:solidFill>
          </a:ln>
        </p:spPr>
        <p:txBody>
          <a:bodyPr wrap="square" lIns="216000" tIns="0" rIns="0" bIns="0" anchor="t" anchorCtr="0"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9pPr>
          </a:lstStyle>
          <a:p>
            <a:r>
              <a:rPr lang="en-US"/>
              <a:t>00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4727849" y="1988840"/>
            <a:ext cx="5040000" cy="18002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36000" rIns="216000">
            <a:noAutofit/>
          </a:bodyPr>
          <a:lstStyle>
            <a:lvl1pPr rtl="0"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Divider slide | Insert your headline in maximal three lines her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46297C-A90E-4725-9584-F26D2B59D3D8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4727848" y="3717033"/>
            <a:ext cx="5040000" cy="936104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281" name="Source">
            <a:extLst>
              <a:ext uri="{FF2B5EF4-FFF2-40B4-BE49-F238E27FC236}">
                <a16:creationId xmlns:a16="http://schemas.microsoft.com/office/drawing/2014/main" id="{74C57727-E1DA-4BD0-945F-B1C68DF669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87488" y="6525000"/>
            <a:ext cx="9144512" cy="144000"/>
          </a:xfrm>
        </p:spPr>
        <p:txBody>
          <a:bodyPr anchor="b"/>
          <a:lstStyle>
            <a:lvl1pPr marL="0" indent="0" algn="l" rtl="0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2pPr>
            <a:lvl3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3pPr>
            <a:lvl4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6pPr>
            <a:lvl7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7pPr>
            <a:lvl8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8pPr>
            <a:lvl9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/>
              <a:t>Source, Footnote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F7303E1-146B-0384-2FA3-7C5951CD5B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0841B6C8-4081-4FF2-A55E-90BDCE0C153A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407EE75-92A3-F67F-F222-CE3DBB104B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EAF306-FDA4-0211-6F94-84B5B67EF9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12704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 | Magant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356BC76-6C29-9019-0B4E-79E43B8945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1278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56BC76-6C29-9019-0B4E-79E43B8945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1D342334-F736-22B7-E48C-924F6D546B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43C79060-D921-FC36-FC59-005C2AE8D814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2F007DEF-E3D0-8645-9105-19FF8047F091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C5C6C648-EAA0-252F-A344-E5CBA2EF05B0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A791BB7C-535C-21BC-A1EA-6D718CC11CF9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D19F7A3F-2ED1-A9C2-8EB4-9EBC8913F4BC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B7AF0310-5BD9-7763-76B7-AEB202E4704C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E4DA6996-B0CA-004A-3B4E-7D26EF15047A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A86032B7-DCFA-D33B-D179-5A478717EF21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A0823B1F-2563-DB47-2039-6524B94FF136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8BF9B7C1-A69C-9B1F-7320-E59EBD72DAB1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201087D6-4BF2-9B60-337B-60B350F37E1C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8F2A3B6-0CF8-7279-275A-AD4BAF54CEAD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58AF4ECF-291B-680E-EF00-7864ECE0CCCA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92365156-1DE3-C8A4-1497-3F78E5CC75B7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0" name="Rechteck 79">
              <a:extLst>
                <a:ext uri="{FF2B5EF4-FFF2-40B4-BE49-F238E27FC236}">
                  <a16:creationId xmlns:a16="http://schemas.microsoft.com/office/drawing/2014/main" id="{5E7E5902-87DA-79A1-69A2-884A67FBF184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30821C97-F5C9-6255-5B09-4E89645C0C3B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17305D37-4205-988D-F4C3-964B91B4182E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EB8822E7-AB1E-8A4B-56CB-042F005B931C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36741CF7-B994-BFCB-DCD6-F2BF8598EAD2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61748F4B-3461-122E-48C2-D8E7B8B82C06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678C1F2F-167E-3637-E435-5C664B5A1454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7" name="Rechteck 86">
              <a:extLst>
                <a:ext uri="{FF2B5EF4-FFF2-40B4-BE49-F238E27FC236}">
                  <a16:creationId xmlns:a16="http://schemas.microsoft.com/office/drawing/2014/main" id="{7B13A9F9-DD23-A321-95EE-B2DA8A8220CA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8" name="Rechteck 87">
              <a:extLst>
                <a:ext uri="{FF2B5EF4-FFF2-40B4-BE49-F238E27FC236}">
                  <a16:creationId xmlns:a16="http://schemas.microsoft.com/office/drawing/2014/main" id="{FD8425B4-1418-EFBC-0DA4-DE05B76EC9CF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9" name="Rechteck 88">
              <a:extLst>
                <a:ext uri="{FF2B5EF4-FFF2-40B4-BE49-F238E27FC236}">
                  <a16:creationId xmlns:a16="http://schemas.microsoft.com/office/drawing/2014/main" id="{9940FFA8-5FB2-0C03-96C1-794E3BF6CB61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5" name="Rechteck 94">
              <a:extLst>
                <a:ext uri="{FF2B5EF4-FFF2-40B4-BE49-F238E27FC236}">
                  <a16:creationId xmlns:a16="http://schemas.microsoft.com/office/drawing/2014/main" id="{9B3DC47F-EEDA-C44D-9A82-AF9B44E6DD0F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ABD9BF5F-4EFD-042E-D66A-3EA947FA4E9F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68A6A23-7056-1A39-8CD5-4BB31F4D81E7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30F0FB85-9A1F-0CD4-39A7-BD87681DC803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F4DBB41B-F061-9E47-B4C2-A9B6AC43E0E4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545965-B087-EBA3-D206-DB871AF59282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8" name="Rechteck 117">
              <a:extLst>
                <a:ext uri="{FF2B5EF4-FFF2-40B4-BE49-F238E27FC236}">
                  <a16:creationId xmlns:a16="http://schemas.microsoft.com/office/drawing/2014/main" id="{42667A56-0FD9-1B30-C4DA-16D72E65CABF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9" name="Rechteck 118">
              <a:extLst>
                <a:ext uri="{FF2B5EF4-FFF2-40B4-BE49-F238E27FC236}">
                  <a16:creationId xmlns:a16="http://schemas.microsoft.com/office/drawing/2014/main" id="{423035A7-EC5A-1A2E-DB86-17A1B99F85A6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0" name="Rechteck 119">
              <a:extLst>
                <a:ext uri="{FF2B5EF4-FFF2-40B4-BE49-F238E27FC236}">
                  <a16:creationId xmlns:a16="http://schemas.microsoft.com/office/drawing/2014/main" id="{80750342-596B-E435-518C-F2D7D64AA5B4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1" name="Rechteck 120">
              <a:extLst>
                <a:ext uri="{FF2B5EF4-FFF2-40B4-BE49-F238E27FC236}">
                  <a16:creationId xmlns:a16="http://schemas.microsoft.com/office/drawing/2014/main" id="{BE83A8F1-EC0B-AC76-B6C1-E2DD1D2A7294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2" name="Rechteck 121">
              <a:extLst>
                <a:ext uri="{FF2B5EF4-FFF2-40B4-BE49-F238E27FC236}">
                  <a16:creationId xmlns:a16="http://schemas.microsoft.com/office/drawing/2014/main" id="{F14282F9-196F-89EC-8387-BA15F1E8C1C9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3" name="Rechteck 122">
              <a:extLst>
                <a:ext uri="{FF2B5EF4-FFF2-40B4-BE49-F238E27FC236}">
                  <a16:creationId xmlns:a16="http://schemas.microsoft.com/office/drawing/2014/main" id="{825DDEC1-5430-DB87-C496-4D5D3430EFC6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1" name="Rechteck 140">
              <a:extLst>
                <a:ext uri="{FF2B5EF4-FFF2-40B4-BE49-F238E27FC236}">
                  <a16:creationId xmlns:a16="http://schemas.microsoft.com/office/drawing/2014/main" id="{0266DCD7-E281-1277-EA4C-1339AD4AF615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AAA92518-A0E9-FDB9-A5DA-6FE6AE073F3B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3" name="Rechteck 142">
              <a:extLst>
                <a:ext uri="{FF2B5EF4-FFF2-40B4-BE49-F238E27FC236}">
                  <a16:creationId xmlns:a16="http://schemas.microsoft.com/office/drawing/2014/main" id="{089FD3F1-B2FB-9692-B364-786485C3CD31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4" name="Rechteck 143">
              <a:extLst>
                <a:ext uri="{FF2B5EF4-FFF2-40B4-BE49-F238E27FC236}">
                  <a16:creationId xmlns:a16="http://schemas.microsoft.com/office/drawing/2014/main" id="{D2EBCE75-1ED4-2055-EEC3-B164B24CD011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5" name="Rechteck 144">
              <a:extLst>
                <a:ext uri="{FF2B5EF4-FFF2-40B4-BE49-F238E27FC236}">
                  <a16:creationId xmlns:a16="http://schemas.microsoft.com/office/drawing/2014/main" id="{DD08EF2E-6D27-77F4-81DB-72A5264EC7BA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6" name="Rechteck 145">
              <a:extLst>
                <a:ext uri="{FF2B5EF4-FFF2-40B4-BE49-F238E27FC236}">
                  <a16:creationId xmlns:a16="http://schemas.microsoft.com/office/drawing/2014/main" id="{CB5FF4D6-C5E3-2D76-6C04-F0C00236CDED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4" name="Rechteck 163">
              <a:extLst>
                <a:ext uri="{FF2B5EF4-FFF2-40B4-BE49-F238E27FC236}">
                  <a16:creationId xmlns:a16="http://schemas.microsoft.com/office/drawing/2014/main" id="{559EFB4D-1BFE-D562-83B4-340CECC27885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5" name="Rechteck 164">
              <a:extLst>
                <a:ext uri="{FF2B5EF4-FFF2-40B4-BE49-F238E27FC236}">
                  <a16:creationId xmlns:a16="http://schemas.microsoft.com/office/drawing/2014/main" id="{84EED6EA-FD49-2F16-049C-89B387382766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6" name="Rechteck 165">
              <a:extLst>
                <a:ext uri="{FF2B5EF4-FFF2-40B4-BE49-F238E27FC236}">
                  <a16:creationId xmlns:a16="http://schemas.microsoft.com/office/drawing/2014/main" id="{31E46700-4643-6A98-B86D-1FE9A7FF2E0E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7" name="Rechteck 166">
              <a:extLst>
                <a:ext uri="{FF2B5EF4-FFF2-40B4-BE49-F238E27FC236}">
                  <a16:creationId xmlns:a16="http://schemas.microsoft.com/office/drawing/2014/main" id="{FE02C1DA-F522-F362-2A1D-6E52EFE78CEA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8" name="Rechteck 167">
              <a:extLst>
                <a:ext uri="{FF2B5EF4-FFF2-40B4-BE49-F238E27FC236}">
                  <a16:creationId xmlns:a16="http://schemas.microsoft.com/office/drawing/2014/main" id="{012DCEAA-E7E7-F4FF-C974-3767E2A00443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9" name="Rechteck 168">
              <a:extLst>
                <a:ext uri="{FF2B5EF4-FFF2-40B4-BE49-F238E27FC236}">
                  <a16:creationId xmlns:a16="http://schemas.microsoft.com/office/drawing/2014/main" id="{CE38D69F-EDDB-6341-2F38-64B02BDB3D3B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7" name="Rechteck 186">
              <a:extLst>
                <a:ext uri="{FF2B5EF4-FFF2-40B4-BE49-F238E27FC236}">
                  <a16:creationId xmlns:a16="http://schemas.microsoft.com/office/drawing/2014/main" id="{1708436F-4BEB-6A8E-D710-0D7C1C27AA49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8" name="Rechteck 187">
              <a:extLst>
                <a:ext uri="{FF2B5EF4-FFF2-40B4-BE49-F238E27FC236}">
                  <a16:creationId xmlns:a16="http://schemas.microsoft.com/office/drawing/2014/main" id="{570FB296-FCB6-6EBE-68B8-E98DD1C06A3E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9" name="Rechteck 188">
              <a:extLst>
                <a:ext uri="{FF2B5EF4-FFF2-40B4-BE49-F238E27FC236}">
                  <a16:creationId xmlns:a16="http://schemas.microsoft.com/office/drawing/2014/main" id="{C1BE9A72-96BB-A4C0-FA6C-D8D85E5F09E6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0" name="Rechteck 189">
              <a:extLst>
                <a:ext uri="{FF2B5EF4-FFF2-40B4-BE49-F238E27FC236}">
                  <a16:creationId xmlns:a16="http://schemas.microsoft.com/office/drawing/2014/main" id="{F894CE26-81D7-5526-8C23-E6186AC0AA6B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9ED37474-448A-0010-4858-C21FDE0CE1C2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23349D52-0E48-BD27-29D3-AA8C888F1911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59559C85-2DE9-FA8D-4487-EFE3C463FB66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1AA3A59D-321B-C274-C2CE-A7B5755BAD6E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20B9E210-822F-C3AF-96BF-ECBB46370B0D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0BB3190C-3DBC-989E-B84E-01567268522C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F9B5D99C-568A-822F-42D2-0AF0A0054C9D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D2808FB3-65D2-A288-62D9-EA98FB64A0D0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361B9BA4-256C-101C-B79F-C2BEBC7EFA48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CFA11A9D-1913-E554-4719-D22109E0B249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3" name="Rechteck 282">
              <a:extLst>
                <a:ext uri="{FF2B5EF4-FFF2-40B4-BE49-F238E27FC236}">
                  <a16:creationId xmlns:a16="http://schemas.microsoft.com/office/drawing/2014/main" id="{B536C046-AA86-12FE-11DD-E714C5949568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2B55976F-1FD1-0D5D-AD26-1B48911AE99D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73D42353-98B8-AC06-809E-98983691F665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88BF9793-FB71-09C5-B649-4CF77F978BAC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BAE4B7A0-9CCC-143E-4AC5-CCCDF8EAF08E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7B8F3AAC-9297-A9DF-B1C4-6C7D726019F1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0CA2E9A9-142D-DA0C-7ED6-DD8CFD9CF9D0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AABB9AAD-B48C-E551-9A3D-615794958629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5C921E0D-BE12-AFC5-B531-6AAA5C4A3EDD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13227629-E49A-313B-F4F7-55A1055E75EC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C7B27336-FA94-8E26-C7A9-22331EA5235D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5E6D575D-4C1E-ABBD-0AA6-9B0819515D57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114DA0A6-6EAA-1C72-9588-59650DEC1A6B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4003197B-7CCD-B214-DEBC-76E430C5D360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C333D8EE-E162-3C0E-CDCE-7B8BBBD13A19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277F46AF-922B-CEEA-D35C-E9E45DAEC953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DF007B27-B6F7-4426-2717-9C8F03BD31D9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DC7D7E68-E8ED-7A4A-0A66-E4C3273A87B8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E5401704-A1E0-B0F8-4B6A-616CD4B6360F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0A36E7A4-AF0F-5851-BF7B-F8617322CF13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33D46C8F-6918-730B-08E8-BFE12AD08EDF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3A450ED7-5A32-97C0-9846-7B78AED3C402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8DAFF91F-710C-FC77-9AB2-3FDA34E69B21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E78FB73A-4680-DA8D-B81D-3489C37B1238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9C34D4B1-6FA8-3510-53F5-2BEF12B5D700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E84D4837-9D83-D9F9-559F-2DABC45864B2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794AFCE8-10E1-3CA4-F8D6-FFBC02123C43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C70C1943-E0E6-B950-7DC4-3E797BC7C381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B8D9E0A4-0F19-8BEA-D625-193FBF6AD960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04E3B58A-6D3A-D68F-A485-E89CC97D207C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8D3F7299-30B5-0810-3B25-2A1CE8245C64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9BB52A26-4B5E-0221-3BF9-5ADBC54C7BC4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E8E709EC-5606-6BE7-C4CC-022ACB6BD324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74602A96-6FC2-A9F1-9390-CAD80C5CD83B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BCFD6519-7B66-7CFF-CB85-18E3A4F63C90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C431DED9-6D51-3524-63D2-CA07F225113A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9D0B0057-32FC-D6DE-17D3-AEFEA0074F1A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2C1AA290-9199-1A52-12B5-174F6D0FAF1F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4BA83343-EB8C-A134-2851-512D94A7D797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F730E6F8-881E-2ED3-6C7C-E96C179633EC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AC2149BF-4718-125A-6924-5286FF2FFB1B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94B48DF0-29A1-D4A8-43ED-2A9743F4589F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8F3A814F-9FC6-E64E-A4CF-75B5D41ABE9C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DAF484BB-F931-1F3F-E77F-ED27232CC62D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61D59D1B-1B99-7294-6F05-4ECE48268FEA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B28449A4-D0AA-0C5D-3A1C-1EDE4C040C69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9B492897-D6A2-CC13-8F81-9ED8743E50F6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7FEA081A-0BF4-878D-369E-57AEC81C48EF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9F7CF485-D0D9-AA7C-E199-E1D2C16A57A4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C28B7252-B6C3-22C0-241C-C654404B8A72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6D0B8772-D9C9-5DF7-F277-C118B4EBD4CA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40C8959F-AF9D-D6D2-BE10-75A0DFFBF148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F91CED41-E334-9D18-C6C7-3544422DC222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48A804AA-162D-231D-F1A7-1658D651677A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FA133D41-5489-81DF-02C3-463D76AFD6D4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4E309EA2-20D1-5AFF-4AE2-797072892E6A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B59BD6CE-87EE-F68F-9347-A45A543A57E7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A5194CED-3AFB-66D0-2323-86926FAB873F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7142EC13-E2C9-C832-77DF-0BC3995F6955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41FF16DD-45A7-BAA2-9856-4B0330886804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D0C99DE7-93F1-7785-8C3E-0D077A82A22C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460E0C86-14C5-AA0C-A1D6-9DC2F4CC15F9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3D68DC9D-13A0-6B31-0873-361F5ACD16F5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E0A88ED3-3B0E-DC21-1647-952AC1228B1E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ACB4D24B-8B0B-8C4E-1BA4-6FF42D36F680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27C2B19A-8506-15D9-9BBA-26A2F04AC7E1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213CEAD1-A2F7-248D-B065-827927D5967B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4D440765-8416-3FE5-4CBF-EFE2679EC70B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D4285498-C3C5-BF11-FE14-95B6E506A173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E943FF97-E6E3-2044-05B7-D75522BB6A73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DA809EDB-5F55-C581-8B69-68A61C679055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00E24337-9495-4B90-5D5F-A124A0371264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3D2C37C1-2D84-E947-2BAD-2089F06AF55C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93A67DDE-D97D-E7DA-8885-6385C47BFAC2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F57DE1DF-66CA-9B5B-12CE-6E4A81188C68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1AA4ED0E-38E5-25CD-B63C-CADD57FA2228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02C80602-F60F-AA39-1BF4-AC21C90E3158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142A7E55-7C56-7DFF-7A15-4452C2700A58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0EBEFDD9-57CE-CBBC-244E-90FAE37142F8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A8B0AFF4-6BC2-346F-B08B-C35205BE6317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EF14783D-4DB1-A8D6-882A-2F6B40C12DF2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4DB52321-9804-EA61-5F84-C1A91B157B67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842BCAD7-1B1B-3167-D38B-90AF68DF3284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5C202404-53A5-9BA3-F365-24DC399FCD7C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BC219BE6-BD2F-D9EA-576D-5DCA1A4A8AFA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210E0B10-68C0-CADA-346B-C59CB06E3AF5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8BB92AFC-CE5E-A7E2-9B7D-2DE222226728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FFABF5F5-DEEA-5641-F68A-83739BF0AB40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62E9C9E1-41BD-2F1A-598E-68942BF2C45C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E09D411B-9086-DD67-BFCF-0D7C22F1B7EE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492A0EF9-C216-003A-DCE8-60CC2AAF69B4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BC15DB4A-3CD1-2BE6-F6F3-BCBCE8A7F763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C81D8B12-97EF-A626-51EB-07676C7F9BD4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846BBB2C-90E6-5DEE-9A15-431284CECDBE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A83514F6-F7DF-E83C-C1A3-F2F7DF4F09B7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6E58DC7D-CBA7-A8C7-B9F2-F2D43E4549B6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E8630789-4A1A-ED5B-25CB-A1CE172E80B6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9E034873-AB2C-F727-3323-E11ABA7445A3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452C72BB-6FAD-33C3-2A61-3A62176D3FF1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25C7216B-957E-5A8F-1CE3-DA25910DFD93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F83ADF01-9AB8-4F32-0071-024DE7425B64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BB6B0701-639C-B2D6-2A02-9EE8A71DB344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A88009CB-C3C6-D650-C5F8-09D7412F7AB0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F6722E80-068A-9782-5591-3C236C0C6360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DF3FC8E5-7475-9BA8-1BD1-68E721227105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99DBCD01-0404-6271-A468-1519165EA76B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38BC4591-B643-1DBB-4E79-BA70BC2ABD68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0" name="Rechteck 389">
              <a:extLst>
                <a:ext uri="{FF2B5EF4-FFF2-40B4-BE49-F238E27FC236}">
                  <a16:creationId xmlns:a16="http://schemas.microsoft.com/office/drawing/2014/main" id="{C2FED524-D748-F406-E2D7-537DD4E83076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1" name="Rechteck 390">
              <a:extLst>
                <a:ext uri="{FF2B5EF4-FFF2-40B4-BE49-F238E27FC236}">
                  <a16:creationId xmlns:a16="http://schemas.microsoft.com/office/drawing/2014/main" id="{28205692-7911-C25A-9DF9-AC2EA0DF10A7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2" name="Rechteck 391">
              <a:extLst>
                <a:ext uri="{FF2B5EF4-FFF2-40B4-BE49-F238E27FC236}">
                  <a16:creationId xmlns:a16="http://schemas.microsoft.com/office/drawing/2014/main" id="{BA845082-75D6-4E71-0B8B-927888DFF871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3" name="Rechteck 392">
              <a:extLst>
                <a:ext uri="{FF2B5EF4-FFF2-40B4-BE49-F238E27FC236}">
                  <a16:creationId xmlns:a16="http://schemas.microsoft.com/office/drawing/2014/main" id="{1BA245DF-6D89-11A1-4228-C07EB4D5D412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4" name="Rechteck 393">
              <a:extLst>
                <a:ext uri="{FF2B5EF4-FFF2-40B4-BE49-F238E27FC236}">
                  <a16:creationId xmlns:a16="http://schemas.microsoft.com/office/drawing/2014/main" id="{EA52EDEF-A709-A019-D59C-235C21672609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5" name="Rechteck 394">
              <a:extLst>
                <a:ext uri="{FF2B5EF4-FFF2-40B4-BE49-F238E27FC236}">
                  <a16:creationId xmlns:a16="http://schemas.microsoft.com/office/drawing/2014/main" id="{B0E66173-2EA2-9686-130E-F523C543DDD7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6" name="Rechteck 395">
              <a:extLst>
                <a:ext uri="{FF2B5EF4-FFF2-40B4-BE49-F238E27FC236}">
                  <a16:creationId xmlns:a16="http://schemas.microsoft.com/office/drawing/2014/main" id="{66B2D418-4A79-1E85-D2EF-E39CB2002723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7" name="Rechteck 396">
              <a:extLst>
                <a:ext uri="{FF2B5EF4-FFF2-40B4-BE49-F238E27FC236}">
                  <a16:creationId xmlns:a16="http://schemas.microsoft.com/office/drawing/2014/main" id="{8B4B111E-D316-7D6B-D05E-DDE62D25F0C7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F53760BE-4A3E-2BE2-DC55-CBA236A2100D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A82C2ADF-49AB-8F98-7F76-8A0756E827D7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A90E9606-C312-6A21-57F9-04DB5085E31D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AD60058D-CBC9-5B18-7B72-88AA71AE4DAD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E85DA91C-D4AF-B789-E91E-8C261EC31555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3" name="Rechteck 402">
              <a:extLst>
                <a:ext uri="{FF2B5EF4-FFF2-40B4-BE49-F238E27FC236}">
                  <a16:creationId xmlns:a16="http://schemas.microsoft.com/office/drawing/2014/main" id="{FA4577CD-8CEE-A51C-4EBA-5BA974B78F31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31604413-19C6-80E9-1A67-220B4322FF51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5" name="Rechteck 404">
              <a:extLst>
                <a:ext uri="{FF2B5EF4-FFF2-40B4-BE49-F238E27FC236}">
                  <a16:creationId xmlns:a16="http://schemas.microsoft.com/office/drawing/2014/main" id="{8129EA09-B255-1B25-263A-B9649B626FE9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6" name="Rechteck 405">
              <a:extLst>
                <a:ext uri="{FF2B5EF4-FFF2-40B4-BE49-F238E27FC236}">
                  <a16:creationId xmlns:a16="http://schemas.microsoft.com/office/drawing/2014/main" id="{E80E9448-9D59-C483-09E9-CB33B99FCB82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76048D34-FD7A-89A7-F2AA-F374FE7EB1EB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25397912-19F2-0D23-1F0E-1B6D71B07AA7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05BB03EE-5965-F5DE-261C-3C2962A107D4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sp>
        <p:nvSpPr>
          <p:cNvPr id="410" name="Freihandform: Form 409">
            <a:extLst>
              <a:ext uri="{FF2B5EF4-FFF2-40B4-BE49-F238E27FC236}">
                <a16:creationId xmlns:a16="http://schemas.microsoft.com/office/drawing/2014/main" id="{39967FCA-6C82-F61D-2250-4D3E161C8D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1424" y="2060848"/>
            <a:ext cx="2892425" cy="2879303"/>
          </a:xfrm>
          <a:custGeom>
            <a:avLst/>
            <a:gdLst>
              <a:gd name="connsiteX0" fmla="*/ 0 w 2892425"/>
              <a:gd name="connsiteY0" fmla="*/ 0 h 2879303"/>
              <a:gd name="connsiteX1" fmla="*/ 2892425 w 2892425"/>
              <a:gd name="connsiteY1" fmla="*/ 0 h 2879303"/>
              <a:gd name="connsiteX2" fmla="*/ 2307742 w 2892425"/>
              <a:gd name="connsiteY2" fmla="*/ 2298575 h 2879303"/>
              <a:gd name="connsiteX3" fmla="*/ 0 w 2892425"/>
              <a:gd name="connsiteY3" fmla="*/ 2879303 h 2879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92425" h="2879303">
                <a:moveTo>
                  <a:pt x="0" y="0"/>
                </a:moveTo>
                <a:lnTo>
                  <a:pt x="2892425" y="0"/>
                </a:lnTo>
                <a:lnTo>
                  <a:pt x="2307742" y="2298575"/>
                </a:lnTo>
                <a:lnTo>
                  <a:pt x="0" y="2879303"/>
                </a:lnTo>
                <a:close/>
              </a:path>
            </a:pathLst>
          </a:custGeom>
          <a:solidFill>
            <a:schemeClr val="bg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 rtl="0"/>
            <a:endParaRPr lang="en-US" sz="1600" dirty="0"/>
          </a:p>
        </p:txBody>
      </p:sp>
      <p:sp>
        <p:nvSpPr>
          <p:cNvPr id="272" name="Number">
            <a:extLst>
              <a:ext uri="{FF2B5EF4-FFF2-40B4-BE49-F238E27FC236}">
                <a16:creationId xmlns:a16="http://schemas.microsoft.com/office/drawing/2014/main" id="{D5CB6551-380D-4369-9F74-701786508BD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11424" y="2060849"/>
            <a:ext cx="2880320" cy="2880320"/>
          </a:xfrm>
          <a:custGeom>
            <a:avLst/>
            <a:gdLst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517775 w 3022600"/>
              <a:gd name="connsiteY2" fmla="*/ 2520950 h 3024187"/>
              <a:gd name="connsiteX3" fmla="*/ 0 w 3022600"/>
              <a:gd name="connsiteY3" fmla="*/ 3024187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315365 w 3022600"/>
              <a:gd name="connsiteY2" fmla="*/ 2398440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417820 w 3022600"/>
              <a:gd name="connsiteY2" fmla="*/ 2420942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2600" h="3024187">
                <a:moveTo>
                  <a:pt x="0" y="0"/>
                </a:moveTo>
                <a:lnTo>
                  <a:pt x="3022600" y="0"/>
                </a:lnTo>
                <a:lnTo>
                  <a:pt x="2417820" y="2420942"/>
                </a:lnTo>
                <a:lnTo>
                  <a:pt x="0" y="3024187"/>
                </a:lnTo>
                <a:lnTo>
                  <a:pt x="0" y="0"/>
                </a:lnTo>
                <a:close/>
              </a:path>
            </a:pathLst>
          </a:custGeom>
          <a:solidFill>
            <a:srgbClr val="D2335F"/>
          </a:solidFill>
          <a:ln w="127">
            <a:solidFill>
              <a:srgbClr val="D2335F">
                <a:alpha val="0"/>
              </a:srgbClr>
            </a:solidFill>
          </a:ln>
        </p:spPr>
        <p:txBody>
          <a:bodyPr wrap="square" lIns="216000" tIns="0" rIns="0" bIns="0" anchor="t" anchorCtr="0"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9pPr>
          </a:lstStyle>
          <a:p>
            <a:r>
              <a:rPr lang="en-US"/>
              <a:t>00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4727849" y="1989184"/>
            <a:ext cx="5040000" cy="1799856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36000" rIns="216000">
            <a:noAutofit/>
          </a:bodyPr>
          <a:lstStyle>
            <a:lvl1pPr rtl="0"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Divider slide | Insert your headline in maximal three lines her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46297C-A90E-4725-9584-F26D2B59D3D8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4727848" y="3717033"/>
            <a:ext cx="5040000" cy="936104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271" name="Source">
            <a:extLst>
              <a:ext uri="{FF2B5EF4-FFF2-40B4-BE49-F238E27FC236}">
                <a16:creationId xmlns:a16="http://schemas.microsoft.com/office/drawing/2014/main" id="{52A2314A-6E57-4640-8D3E-9FB2DE55FD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87488" y="6525000"/>
            <a:ext cx="9144512" cy="144000"/>
          </a:xfrm>
        </p:spPr>
        <p:txBody>
          <a:bodyPr anchor="b"/>
          <a:lstStyle>
            <a:lvl1pPr marL="0" indent="0" algn="l" rtl="0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2pPr>
            <a:lvl3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3pPr>
            <a:lvl4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6pPr>
            <a:lvl7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7pPr>
            <a:lvl8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8pPr>
            <a:lvl9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/>
              <a:t>Source, Footnote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0C5952B-D33D-99BB-9484-336BE50E50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A455F2C0-C104-40CD-9A66-D4E6188A43D0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4B65E20-68D6-4970-D9A8-046F10EEB4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F921B4-2C35-2739-550B-662CA2AA73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06980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 &amp; contents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0EA33E6C-B6EA-4396-A2D1-BF412B2609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8C3CA226-0D3A-7FCE-3A80-9AA57B3A41C9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5" name="Picture 1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35360" y="1485111"/>
            <a:ext cx="2304312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7" name="Content 1">
            <a:extLst>
              <a:ext uri="{FF2B5EF4-FFF2-40B4-BE49-F238E27FC236}">
                <a16:creationId xmlns:a16="http://schemas.microsoft.com/office/drawing/2014/main" id="{06A67EB1-7EE7-45D3-A94D-6EA201E90CF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2927648" y="1484784"/>
            <a:ext cx="2592090" cy="2015726"/>
          </a:xfrm>
        </p:spPr>
        <p:txBody>
          <a:bodyPr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9" name="Picture 2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35360" y="4077072"/>
            <a:ext cx="2304312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2" name="Content 2">
            <a:extLst>
              <a:ext uri="{FF2B5EF4-FFF2-40B4-BE49-F238E27FC236}">
                <a16:creationId xmlns:a16="http://schemas.microsoft.com/office/drawing/2014/main" id="{C35DD715-4BC4-4F30-A849-B8E23CA41DB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2927936" y="4077273"/>
            <a:ext cx="2592000" cy="2015726"/>
          </a:xfrm>
        </p:spPr>
        <p:txBody>
          <a:bodyPr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0" name="Picture3">
            <a:extLst>
              <a:ext uri="{FF2B5EF4-FFF2-40B4-BE49-F238E27FC236}">
                <a16:creationId xmlns:a16="http://schemas.microsoft.com/office/drawing/2014/main" id="{13F83B90-1053-4BAE-A04B-E97DF0BCFAD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096000" y="1484784"/>
            <a:ext cx="2304312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3" name="Content 3">
            <a:extLst>
              <a:ext uri="{FF2B5EF4-FFF2-40B4-BE49-F238E27FC236}">
                <a16:creationId xmlns:a16="http://schemas.microsoft.com/office/drawing/2014/main" id="{312C35B1-615F-427F-BBA3-DA904C08CA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688576" y="1484784"/>
            <a:ext cx="2592000" cy="2015726"/>
          </a:xfrm>
        </p:spPr>
        <p:txBody>
          <a:bodyPr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5" name="Picture 4">
            <a:extLst>
              <a:ext uri="{FF2B5EF4-FFF2-40B4-BE49-F238E27FC236}">
                <a16:creationId xmlns:a16="http://schemas.microsoft.com/office/drawing/2014/main" id="{66D73E2B-B33B-41C2-A349-344B52ABB4F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096000" y="4089172"/>
            <a:ext cx="2304312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6" name="Content 4">
            <a:extLst>
              <a:ext uri="{FF2B5EF4-FFF2-40B4-BE49-F238E27FC236}">
                <a16:creationId xmlns:a16="http://schemas.microsoft.com/office/drawing/2014/main" id="{6CA8DE4A-220D-4F9A-90B4-B0BB300CB3D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8688576" y="4077072"/>
            <a:ext cx="2592000" cy="2015726"/>
          </a:xfrm>
        </p:spPr>
        <p:txBody>
          <a:bodyPr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1" name="Source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0800896-A343-85C0-41B8-D38B9CF988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F2CD8885-019B-4338-9211-88BA2C39C430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6CD4FCA-BFF1-7819-C4DB-F0B56CE7FA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9EF8F54-B891-4074-416C-767E36E5FE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7003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211">
          <p15:clr>
            <a:srgbClr val="FBAE40"/>
          </p15:clr>
        </p15:guide>
        <p15:guide id="5" pos="7106">
          <p15:clr>
            <a:srgbClr val="FBAE40"/>
          </p15:clr>
        </p15:guide>
        <p15:guide id="6" orient="horz" pos="2205">
          <p15:clr>
            <a:srgbClr val="FBAE40"/>
          </p15:clr>
        </p15:guide>
        <p15:guide id="7" orient="horz" pos="2568">
          <p15:clr>
            <a:srgbClr val="FBAE40"/>
          </p15:clr>
        </p15:guide>
        <p15:guide id="8" orient="horz" pos="3838">
          <p15:clr>
            <a:srgbClr val="FBAE40"/>
          </p15:clr>
        </p15:guide>
        <p15:guide id="9" pos="3477">
          <p15:clr>
            <a:srgbClr val="FBAE40"/>
          </p15:clr>
        </p15:guide>
        <p15:guide id="10" pos="3840">
          <p15:clr>
            <a:srgbClr val="FBAE40"/>
          </p15:clr>
        </p15:guide>
      </p15:sldGuideLst>
    </p:ext>
  </p:extLs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 |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10B1AA5-0850-4223-C62B-66CB0AD0AD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105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0B1AA5-0850-4223-C62B-66CB0AD0A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5B6092E3-BB3D-62C3-E5C3-DB923BCEAA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ADFE758D-7730-9845-AD21-674416B875F6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F21DA2E8-B94F-C509-D272-2D2BAD272FE0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C731765D-8BB8-7B3C-E854-B509A1A45DD1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7FE81260-22F7-BE75-0143-F1B11391169E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C85F4AC2-57C9-0C72-5A39-AC5AFE3C13D1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061ED26D-D119-878B-99F1-21A9EC186758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62B17131-2BEB-E555-8E30-FF66FF891D3C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424AA650-FE3F-88F5-2EA9-781D2F950998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31A3CD9E-CBAD-E02D-3A43-556D392DBD15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A05642BF-5509-CE90-1438-56F76E7A308A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C5F136B4-5FED-005D-83A7-0A4C0E7AAB13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3FDF53B-8449-157B-8A8A-613B74C4CF59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AE960CD8-32CE-9B11-F770-2CF645C4DA92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064C600F-3BE3-52EB-1ECF-0C657B555177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0" name="Rechteck 79">
              <a:extLst>
                <a:ext uri="{FF2B5EF4-FFF2-40B4-BE49-F238E27FC236}">
                  <a16:creationId xmlns:a16="http://schemas.microsoft.com/office/drawing/2014/main" id="{DECE1A43-83E1-7464-C128-BC14E6BFD0BE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B096E7E5-7CE0-385E-1E97-472F5E5B2299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EA26D28-2204-842E-9100-7FE038522711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74022AC1-CC08-F121-D65A-9B0BD3F22CF4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F4156B04-8906-6DA2-C632-AAD9022FF15B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AAC9C4C7-1AEB-4221-457C-251574219B0F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9CEAF80F-0A04-6B70-8A66-39A3F49882FF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7" name="Rechteck 86">
              <a:extLst>
                <a:ext uri="{FF2B5EF4-FFF2-40B4-BE49-F238E27FC236}">
                  <a16:creationId xmlns:a16="http://schemas.microsoft.com/office/drawing/2014/main" id="{FEEE46D2-A242-AAF9-1DA8-EBF096021C4C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8" name="Rechteck 87">
              <a:extLst>
                <a:ext uri="{FF2B5EF4-FFF2-40B4-BE49-F238E27FC236}">
                  <a16:creationId xmlns:a16="http://schemas.microsoft.com/office/drawing/2014/main" id="{6D2AABF8-BA73-D70F-59CA-DAAA5788A8C9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9" name="Rechteck 88">
              <a:extLst>
                <a:ext uri="{FF2B5EF4-FFF2-40B4-BE49-F238E27FC236}">
                  <a16:creationId xmlns:a16="http://schemas.microsoft.com/office/drawing/2014/main" id="{EFAB6654-C4A8-D88B-7448-05F61D8C3C76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5" name="Rechteck 94">
              <a:extLst>
                <a:ext uri="{FF2B5EF4-FFF2-40B4-BE49-F238E27FC236}">
                  <a16:creationId xmlns:a16="http://schemas.microsoft.com/office/drawing/2014/main" id="{D94C6721-18A7-5921-1EA7-AEE19F87A965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425D2D93-466A-BF12-22F5-EF3E43428E33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EF1B5BD7-51C5-7806-FD98-FF29E6882F4E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3801F6C5-46FB-B12D-ABBC-C68388CB039D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6F92E027-11E4-D145-D28C-0375EBAB6505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AB2E04B7-C2E1-524D-4D31-9D4320222512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8" name="Rechteck 117">
              <a:extLst>
                <a:ext uri="{FF2B5EF4-FFF2-40B4-BE49-F238E27FC236}">
                  <a16:creationId xmlns:a16="http://schemas.microsoft.com/office/drawing/2014/main" id="{E4E9B356-6B80-27C7-B162-7D51674BA664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9" name="Rechteck 118">
              <a:extLst>
                <a:ext uri="{FF2B5EF4-FFF2-40B4-BE49-F238E27FC236}">
                  <a16:creationId xmlns:a16="http://schemas.microsoft.com/office/drawing/2014/main" id="{5F47675C-6C1B-7D52-D5A5-463D5E0E6700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0" name="Rechteck 119">
              <a:extLst>
                <a:ext uri="{FF2B5EF4-FFF2-40B4-BE49-F238E27FC236}">
                  <a16:creationId xmlns:a16="http://schemas.microsoft.com/office/drawing/2014/main" id="{B375CF5D-BD81-FA5F-00B9-351218A71B69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1" name="Rechteck 120">
              <a:extLst>
                <a:ext uri="{FF2B5EF4-FFF2-40B4-BE49-F238E27FC236}">
                  <a16:creationId xmlns:a16="http://schemas.microsoft.com/office/drawing/2014/main" id="{7C10C87E-738C-9212-8D9F-A7001541DD7A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2" name="Rechteck 121">
              <a:extLst>
                <a:ext uri="{FF2B5EF4-FFF2-40B4-BE49-F238E27FC236}">
                  <a16:creationId xmlns:a16="http://schemas.microsoft.com/office/drawing/2014/main" id="{AEC70AB7-CDF4-7339-AE9D-C4F5A3424909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3" name="Rechteck 122">
              <a:extLst>
                <a:ext uri="{FF2B5EF4-FFF2-40B4-BE49-F238E27FC236}">
                  <a16:creationId xmlns:a16="http://schemas.microsoft.com/office/drawing/2014/main" id="{92D4B29D-69ED-8966-F876-FFF8E2EE0D2C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1" name="Rechteck 140">
              <a:extLst>
                <a:ext uri="{FF2B5EF4-FFF2-40B4-BE49-F238E27FC236}">
                  <a16:creationId xmlns:a16="http://schemas.microsoft.com/office/drawing/2014/main" id="{B9040217-B886-465A-4BA3-D3D32AC280BC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F8F62BC1-B322-9DDE-60DD-EAE00CADFAB4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3" name="Rechteck 142">
              <a:extLst>
                <a:ext uri="{FF2B5EF4-FFF2-40B4-BE49-F238E27FC236}">
                  <a16:creationId xmlns:a16="http://schemas.microsoft.com/office/drawing/2014/main" id="{D652073B-064F-8623-EDFF-F1DA067EC47A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4" name="Rechteck 143">
              <a:extLst>
                <a:ext uri="{FF2B5EF4-FFF2-40B4-BE49-F238E27FC236}">
                  <a16:creationId xmlns:a16="http://schemas.microsoft.com/office/drawing/2014/main" id="{0598082A-1DCE-7F5A-962F-81158E61E4FB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5" name="Rechteck 144">
              <a:extLst>
                <a:ext uri="{FF2B5EF4-FFF2-40B4-BE49-F238E27FC236}">
                  <a16:creationId xmlns:a16="http://schemas.microsoft.com/office/drawing/2014/main" id="{DD898DB8-B146-0B66-714B-A472FAC9EB76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6" name="Rechteck 145">
              <a:extLst>
                <a:ext uri="{FF2B5EF4-FFF2-40B4-BE49-F238E27FC236}">
                  <a16:creationId xmlns:a16="http://schemas.microsoft.com/office/drawing/2014/main" id="{4800D790-92FE-BFA5-AEAF-42E00B5E0280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4" name="Rechteck 163">
              <a:extLst>
                <a:ext uri="{FF2B5EF4-FFF2-40B4-BE49-F238E27FC236}">
                  <a16:creationId xmlns:a16="http://schemas.microsoft.com/office/drawing/2014/main" id="{54E9252E-1CD4-175B-3E5D-F3151DA39D69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5" name="Rechteck 164">
              <a:extLst>
                <a:ext uri="{FF2B5EF4-FFF2-40B4-BE49-F238E27FC236}">
                  <a16:creationId xmlns:a16="http://schemas.microsoft.com/office/drawing/2014/main" id="{D5C3856B-A287-5F25-AA54-FABDB0E54749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6" name="Rechteck 165">
              <a:extLst>
                <a:ext uri="{FF2B5EF4-FFF2-40B4-BE49-F238E27FC236}">
                  <a16:creationId xmlns:a16="http://schemas.microsoft.com/office/drawing/2014/main" id="{CE06743E-B055-2957-4BFB-67E709A766EC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7" name="Rechteck 166">
              <a:extLst>
                <a:ext uri="{FF2B5EF4-FFF2-40B4-BE49-F238E27FC236}">
                  <a16:creationId xmlns:a16="http://schemas.microsoft.com/office/drawing/2014/main" id="{A7A52160-3890-5A0A-A1F1-34C95BF1A174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8" name="Rechteck 167">
              <a:extLst>
                <a:ext uri="{FF2B5EF4-FFF2-40B4-BE49-F238E27FC236}">
                  <a16:creationId xmlns:a16="http://schemas.microsoft.com/office/drawing/2014/main" id="{5FA3B395-6413-DD2A-0374-5D69126B3499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9" name="Rechteck 168">
              <a:extLst>
                <a:ext uri="{FF2B5EF4-FFF2-40B4-BE49-F238E27FC236}">
                  <a16:creationId xmlns:a16="http://schemas.microsoft.com/office/drawing/2014/main" id="{1B504F0D-EE4B-F53B-826B-5B2CFCA551EB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7" name="Rechteck 186">
              <a:extLst>
                <a:ext uri="{FF2B5EF4-FFF2-40B4-BE49-F238E27FC236}">
                  <a16:creationId xmlns:a16="http://schemas.microsoft.com/office/drawing/2014/main" id="{549DE55F-AEE3-F66A-E0A0-32214BBD3C6A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8" name="Rechteck 187">
              <a:extLst>
                <a:ext uri="{FF2B5EF4-FFF2-40B4-BE49-F238E27FC236}">
                  <a16:creationId xmlns:a16="http://schemas.microsoft.com/office/drawing/2014/main" id="{8BB551D1-3F8C-81AA-2E3E-01399BD37B5C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9" name="Rechteck 188">
              <a:extLst>
                <a:ext uri="{FF2B5EF4-FFF2-40B4-BE49-F238E27FC236}">
                  <a16:creationId xmlns:a16="http://schemas.microsoft.com/office/drawing/2014/main" id="{3D4D1ED7-30A0-22D6-CE65-4EA680B0BED0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0" name="Rechteck 189">
              <a:extLst>
                <a:ext uri="{FF2B5EF4-FFF2-40B4-BE49-F238E27FC236}">
                  <a16:creationId xmlns:a16="http://schemas.microsoft.com/office/drawing/2014/main" id="{50B4A194-4625-DBB4-1AB2-7807250ECDB3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513CF13A-E352-6616-9660-DE783745C877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D1C84EC0-808A-0948-A0D9-518CE5D0B33E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E5BA60B3-89E5-2EDF-371C-3C93CF984BEA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D833789F-BB6F-A741-FA9D-5ECACED4EEF7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F2F9A28C-6166-2526-D7AF-D30BE35EC932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C6739921-84B8-5AFC-F3DF-1BA5573C8C62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8ADC0129-D80D-F1BC-60BC-33F252699437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DC68F6E7-E5E5-5B0F-FE73-BC3819E9E887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ECD52194-7001-8DE9-82C3-842047148941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2C9E4984-15DE-EA3C-AB2A-2DF597A5BEA2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3" name="Rechteck 282">
              <a:extLst>
                <a:ext uri="{FF2B5EF4-FFF2-40B4-BE49-F238E27FC236}">
                  <a16:creationId xmlns:a16="http://schemas.microsoft.com/office/drawing/2014/main" id="{F36D6CC5-BB66-1DEB-CE22-0BE00569506C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284AC05A-711F-16B5-566F-5E24DEC0964A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30114E5F-0A6B-A14F-956F-99493F201C7E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6BFD95E9-FBCD-8899-C6A7-AC8744E739CC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86961A03-074A-50F8-EF1E-66F8363A0058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EA4BE0F6-704E-E762-25BD-14872EF75738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1AA29E82-5D1A-C4A5-F461-0867845BDD4C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41D0A04D-EFCD-E2D0-29E3-A71A2ED42947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319DB583-227C-A41E-1CDB-20B879E92263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D5AAB9A7-2436-0F15-F8F3-24B53910819D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B87EFB61-C353-3437-E48A-20C784833AB7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C9CC7723-7C62-96E2-3785-1E5880F910AD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CD6BEA59-56B4-7C5C-1B30-3F2E70A2599D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B3BC321B-6D5E-317F-13B3-F86EFBE247CF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6A6462D6-2FBB-AFEC-A93D-934D0D458224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FDBAFC78-7084-9BDD-79CD-9DE51C8A013F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DEF4FDC3-8816-2E66-087D-BC8FDE1748CF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855CA52D-9C18-F90E-48DB-5EE039779486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7D711CC0-39E8-906D-D631-00CBF488F48B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9B2079A0-8C2B-86D7-E6A4-9DD4B3325F8D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2F9F5FB1-6203-E9C1-4428-D30E93954166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DDE6B4AF-6E51-6405-9469-7391188437F9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023ED7FC-40DE-A1A3-BA05-76D5BE62A82B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85120DF9-10A8-EF76-C8FC-12E5D08DA21D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1342D6A9-30BE-51BF-2BF1-12F297DB7191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BA6ECA71-4722-F9BB-89D7-9A5F3ABF6AAC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D0EDEF9B-0402-BFB2-D262-FCC46C876AD9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3B0FECCE-C269-C84B-98DA-2F06AFDD1F46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262A233C-4D5B-80F8-AF41-AEA3C637FF44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0E4BF6E8-B10F-E524-5197-6775B764E103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C69829A1-F555-4DFB-2468-1E007D6AD83B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0C2EA107-A603-7E2D-1663-463892E19684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A26461B3-3FAB-2C2C-CA40-6BE4EB61695E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CFFE3EAD-39D8-9329-400C-64D36D99787D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177AB9AE-EB81-12A2-0C78-FFCCFA8B49B9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86EC370F-0270-C6C2-23B2-B2C56CF4C12A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195DCBE4-A2AD-2E3A-2C91-0EB8CF2C2BBF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5D3C4C11-CA67-D0AF-999C-A66CFC9C08E3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72C6AC26-AE74-0825-6400-466D30E9039A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92E68E51-848F-A446-6552-EFA70697F99B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83C03A34-585B-473D-ED76-ED831A2558CC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CF136AB9-E460-40B1-01A1-7FB869022054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D4E9AB20-6FA5-E9D9-55DE-D01002D853E1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896B8BBB-C45B-504D-B5E5-6B6A3150BA85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8E2BCAF0-DFE2-F5D7-EB28-AD1D69EB4677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D827F783-1CF7-FC03-FCC9-7073017DF5A9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B567EE53-5AC0-5C60-BDE7-3F90EA98A038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17386832-62F4-0BF0-C824-6E74BC6A6F8A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214998EC-F3BF-C05F-1302-CA260DED8AB9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96787D3D-76B8-9930-7D91-306D72914FDE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7F7E690D-2BEA-138D-2F8B-4F55D5FD1FA6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2F7496A3-80FC-55E5-1EB0-20A05CB034AA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B983114D-18D1-36D1-E538-7AE4CC44EC8B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CB6A403A-A33A-FCE2-20C5-231929AABE6A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D67E989E-BF4F-05A3-77C6-FC4DEB430934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94AB2C24-E430-26AE-913B-A62E5A7C7DEE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148F02F8-DB5E-1585-04D8-13601656E88B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66E95D41-A775-3179-19D6-E9F9479D86ED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C7772BF1-E253-761C-5646-C0C760AA263A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ADDA250A-02E0-D5B6-0B22-DEBBBE57DB63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B9080BDE-151F-1560-6CA7-A8B85048FFF8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6DA148A4-1D81-DF61-3BCD-95E925B7D79B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BF82E0A3-E94C-80DC-A064-42A20B1230BC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03072B08-66C4-7798-F3CB-52B4040892E5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D1852D4A-6474-A174-D543-1C5EB5F2A2B5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2A4CC4D0-9DDE-9C76-4E27-CF418D43F7B8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7B0DE93B-48A5-3CB2-E181-4E90A2437534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ACD20F9D-AE88-9779-53D3-E15BF79F1091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AA0510A3-9141-39A6-7402-56EC7F084E01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D6530F85-DF64-4189-6E95-D949598CED98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87DA7BC9-7DEB-531A-8331-A7025602C5AA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3745243A-7A99-127E-1914-16289C00FA5D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2B22C0E4-972E-8315-885F-BE7717710439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6BEDC334-BB1E-7AFB-12E2-15234EE02DCB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A2BE4561-B652-A91A-A5DE-D9601A68B1DD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8E0CA352-6399-7EBA-A890-14BCBE066218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85555C70-E91C-1DF1-7703-7FCB5646E470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981CF177-B7C5-DB63-3918-46F9C6707AA5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D0000442-16A9-902D-07B0-78E784F6EBE9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F345E3C6-93C3-8E68-AABF-C397B8D55D06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D557E22D-9124-4A52-DAD5-79D2BC4F9F52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CE20D4C1-22EF-282A-2B51-6467664973A5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0D78E315-F654-6056-74A6-FF3172E66590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22648560-0BB3-2AB3-1974-602B72FE3D9A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88B8D9E1-3D27-76A6-367A-4831B30D8C47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9F358AD8-256C-A53F-701C-94426256DE6B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66E4AD82-5E7C-CBAD-D67B-8D5C13F3814C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0CFEC580-FCCD-9DDF-DD69-5F36C93A39FD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0C041A00-4437-5403-D635-F324AD243357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94F1C352-0A76-1878-D174-5E8272317581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9FF89084-FD98-ED39-7268-0CE7154303DB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72BFBB6F-8B11-B5C6-B5A5-DDB55F3B4032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36DBD36C-13FF-243F-7922-A9B48D0D37B5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35F517D4-F7FA-1CB0-9DF7-027A75D3A932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9798625A-E072-4C65-3DF5-7D0FB7626977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74683D24-3935-1DA5-12F3-9B4E0872F53C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34EDF014-0A6C-1D17-646B-C897C6AF29CF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B489A388-C7F0-A003-E30D-8B8023A5640E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39DD6218-DEF2-3073-CC9E-1FE91AEFCB2E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F18E9C62-713B-8FD4-1B95-CCE4333528DF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4338D0BF-E7C6-4D3C-4FD9-642CC26262CA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418F8E35-62BA-343D-1B12-7BA6C596AD2D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3240D4E4-9C54-1AE9-DDD4-997F11670F7B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00A7FDA1-267A-5DBE-57E9-B2D8DA22B262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6D4786B4-64CE-A45C-278D-66CFFFF59399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41E26555-2B13-F4B9-0F44-20240CB0FDC1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B10601F1-11E5-E77E-519A-9BEA61E2C72D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0" name="Rechteck 389">
              <a:extLst>
                <a:ext uri="{FF2B5EF4-FFF2-40B4-BE49-F238E27FC236}">
                  <a16:creationId xmlns:a16="http://schemas.microsoft.com/office/drawing/2014/main" id="{C4872143-88E8-F8CE-2B9D-58328C826640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1" name="Rechteck 390">
              <a:extLst>
                <a:ext uri="{FF2B5EF4-FFF2-40B4-BE49-F238E27FC236}">
                  <a16:creationId xmlns:a16="http://schemas.microsoft.com/office/drawing/2014/main" id="{5813D00C-85B1-BA03-9D2E-99DF2DEFF3F7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2" name="Rechteck 391">
              <a:extLst>
                <a:ext uri="{FF2B5EF4-FFF2-40B4-BE49-F238E27FC236}">
                  <a16:creationId xmlns:a16="http://schemas.microsoft.com/office/drawing/2014/main" id="{C45CFE6A-98ED-057C-53A7-8DAB0342EB9E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3" name="Rechteck 392">
              <a:extLst>
                <a:ext uri="{FF2B5EF4-FFF2-40B4-BE49-F238E27FC236}">
                  <a16:creationId xmlns:a16="http://schemas.microsoft.com/office/drawing/2014/main" id="{E0A86586-C8AA-B44E-372C-4A5CAFD3D547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4" name="Rechteck 393">
              <a:extLst>
                <a:ext uri="{FF2B5EF4-FFF2-40B4-BE49-F238E27FC236}">
                  <a16:creationId xmlns:a16="http://schemas.microsoft.com/office/drawing/2014/main" id="{10659ACA-8546-144F-2BF0-5EAD5B10890B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5" name="Rechteck 394">
              <a:extLst>
                <a:ext uri="{FF2B5EF4-FFF2-40B4-BE49-F238E27FC236}">
                  <a16:creationId xmlns:a16="http://schemas.microsoft.com/office/drawing/2014/main" id="{E2B7D295-06D1-6805-09B8-AFC7B74F23DE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6" name="Rechteck 395">
              <a:extLst>
                <a:ext uri="{FF2B5EF4-FFF2-40B4-BE49-F238E27FC236}">
                  <a16:creationId xmlns:a16="http://schemas.microsoft.com/office/drawing/2014/main" id="{4FEBD252-E5AA-5BB9-DC20-29543B993E8B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7" name="Rechteck 396">
              <a:extLst>
                <a:ext uri="{FF2B5EF4-FFF2-40B4-BE49-F238E27FC236}">
                  <a16:creationId xmlns:a16="http://schemas.microsoft.com/office/drawing/2014/main" id="{90E447B1-CC5F-F274-C758-F8F45B18B9CD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86B2105A-1249-37D5-05C1-F3E25143B864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9E6784DB-0CA5-AB3F-6FDA-6771D8930386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63A2E910-0B54-A6CB-F901-ED663CA5109A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67F30C89-F3FC-274B-4088-53568D89359A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BA60F1E6-A634-72C2-D2F1-7650E8075549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3" name="Rechteck 402">
              <a:extLst>
                <a:ext uri="{FF2B5EF4-FFF2-40B4-BE49-F238E27FC236}">
                  <a16:creationId xmlns:a16="http://schemas.microsoft.com/office/drawing/2014/main" id="{E0E03A59-B9DB-E923-918B-73A0DCC70B6C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207049EA-022E-E455-617C-3C3A3472C2E0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5" name="Rechteck 404">
              <a:extLst>
                <a:ext uri="{FF2B5EF4-FFF2-40B4-BE49-F238E27FC236}">
                  <a16:creationId xmlns:a16="http://schemas.microsoft.com/office/drawing/2014/main" id="{F0F73520-BC85-7706-A16B-E55FD0E4C56E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6" name="Rechteck 405">
              <a:extLst>
                <a:ext uri="{FF2B5EF4-FFF2-40B4-BE49-F238E27FC236}">
                  <a16:creationId xmlns:a16="http://schemas.microsoft.com/office/drawing/2014/main" id="{9943852D-1081-63A8-FBBA-DD0D77BECC40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0047F6DD-3966-B875-956D-CCF3ADB8DEBB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7315CC30-438D-87EF-886A-D954D8AE5572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5B4FF126-6B87-1B6C-41DE-BF1F7A636E5E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sp>
        <p:nvSpPr>
          <p:cNvPr id="410" name="Freihandform: Form 409">
            <a:extLst>
              <a:ext uri="{FF2B5EF4-FFF2-40B4-BE49-F238E27FC236}">
                <a16:creationId xmlns:a16="http://schemas.microsoft.com/office/drawing/2014/main" id="{B519BAD5-7401-764D-1A93-5C3CF2A8C9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1424" y="2060848"/>
            <a:ext cx="2892425" cy="2879303"/>
          </a:xfrm>
          <a:custGeom>
            <a:avLst/>
            <a:gdLst>
              <a:gd name="connsiteX0" fmla="*/ 0 w 2892425"/>
              <a:gd name="connsiteY0" fmla="*/ 0 h 2879303"/>
              <a:gd name="connsiteX1" fmla="*/ 2892425 w 2892425"/>
              <a:gd name="connsiteY1" fmla="*/ 0 h 2879303"/>
              <a:gd name="connsiteX2" fmla="*/ 2307742 w 2892425"/>
              <a:gd name="connsiteY2" fmla="*/ 2298575 h 2879303"/>
              <a:gd name="connsiteX3" fmla="*/ 0 w 2892425"/>
              <a:gd name="connsiteY3" fmla="*/ 2879303 h 2879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92425" h="2879303">
                <a:moveTo>
                  <a:pt x="0" y="0"/>
                </a:moveTo>
                <a:lnTo>
                  <a:pt x="2892425" y="0"/>
                </a:lnTo>
                <a:lnTo>
                  <a:pt x="2307742" y="2298575"/>
                </a:lnTo>
                <a:lnTo>
                  <a:pt x="0" y="2879303"/>
                </a:lnTo>
                <a:close/>
              </a:path>
            </a:pathLst>
          </a:custGeom>
          <a:solidFill>
            <a:schemeClr val="bg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 rtl="0"/>
            <a:endParaRPr lang="en-US" sz="1600" dirty="0"/>
          </a:p>
        </p:txBody>
      </p:sp>
      <p:sp>
        <p:nvSpPr>
          <p:cNvPr id="272" name="Number">
            <a:extLst>
              <a:ext uri="{FF2B5EF4-FFF2-40B4-BE49-F238E27FC236}">
                <a16:creationId xmlns:a16="http://schemas.microsoft.com/office/drawing/2014/main" id="{05129C6C-1C1D-470A-AEB9-61C957AD29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11424" y="2060997"/>
            <a:ext cx="2880320" cy="2880171"/>
          </a:xfrm>
          <a:custGeom>
            <a:avLst/>
            <a:gdLst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517775 w 3022600"/>
              <a:gd name="connsiteY2" fmla="*/ 2520950 h 3024187"/>
              <a:gd name="connsiteX3" fmla="*/ 0 w 3022600"/>
              <a:gd name="connsiteY3" fmla="*/ 3024187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384501 w 3022600"/>
              <a:gd name="connsiteY2" fmla="*/ 2357596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407824 w 3022600"/>
              <a:gd name="connsiteY2" fmla="*/ 2420937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2600" h="3024187">
                <a:moveTo>
                  <a:pt x="0" y="0"/>
                </a:moveTo>
                <a:lnTo>
                  <a:pt x="3022600" y="0"/>
                </a:lnTo>
                <a:lnTo>
                  <a:pt x="2407824" y="2420937"/>
                </a:lnTo>
                <a:lnTo>
                  <a:pt x="0" y="3024187"/>
                </a:lnTo>
                <a:lnTo>
                  <a:pt x="0" y="0"/>
                </a:lnTo>
                <a:close/>
              </a:path>
            </a:pathLst>
          </a:custGeom>
          <a:solidFill>
            <a:srgbClr val="7B4DB3"/>
          </a:solidFill>
          <a:ln w="127">
            <a:solidFill>
              <a:srgbClr val="7B4DB3">
                <a:alpha val="0"/>
              </a:srgbClr>
            </a:solidFill>
          </a:ln>
        </p:spPr>
        <p:txBody>
          <a:bodyPr wrap="square" lIns="216000" tIns="0" rIns="0" bIns="0" anchor="t" anchorCtr="0"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9pPr>
          </a:lstStyle>
          <a:p>
            <a:r>
              <a:rPr lang="en-US"/>
              <a:t>00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4727849" y="1989184"/>
            <a:ext cx="5040000" cy="1799856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36000" rIns="216000">
            <a:noAutofit/>
          </a:bodyPr>
          <a:lstStyle>
            <a:lvl1pPr rtl="0"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Divider slide | Insert your headline in maximal three lines her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46297C-A90E-4725-9584-F26D2B59D3D8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4727848" y="3717033"/>
            <a:ext cx="5040000" cy="936104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271" name="Source">
            <a:extLst>
              <a:ext uri="{FF2B5EF4-FFF2-40B4-BE49-F238E27FC236}">
                <a16:creationId xmlns:a16="http://schemas.microsoft.com/office/drawing/2014/main" id="{DAC8EFAD-9559-4867-97CB-ABA60D14E8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87488" y="6525000"/>
            <a:ext cx="9144512" cy="144000"/>
          </a:xfrm>
        </p:spPr>
        <p:txBody>
          <a:bodyPr anchor="b"/>
          <a:lstStyle>
            <a:lvl1pPr marL="0" indent="0" algn="l" rtl="0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2pPr>
            <a:lvl3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3pPr>
            <a:lvl4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6pPr>
            <a:lvl7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7pPr>
            <a:lvl8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8pPr>
            <a:lvl9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/>
              <a:t>Source, Footnote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4C4D2C-3CD7-4167-ACBE-67C59EAFCF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5F4079BC-BB41-447D-8A32-E96EFB933782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17F1470-B343-C390-7A8B-E257A28541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9DB696-345D-0EAF-6BFC-545F90AEC6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99330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 |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AE7A164-B5A1-B575-3587-9BF26440C4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9365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E7A164-B5A1-B575-3587-9BF26440C4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997C7D71-3708-EDD0-ACC8-0E35106DF8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62F0E973-90B0-4916-8BFC-8FE91EC5D707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3865CF7-EDCF-231D-4AD5-BF14E6488635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4BE4610-A8A9-1D66-37A9-CC195AB1AC93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569C458B-6365-D62C-DA76-4F8420E41CCA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DEECCE98-A6D4-1A74-7CE1-D4F98CA3BC72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9B09CDF9-19F1-ADEC-8406-08FCCB45B3D2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723B8759-9F60-E6BF-FE71-BB13A0F17090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F051549F-5EDA-64B9-B736-D1CF313A4B4E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AC3844C8-DF5C-2DA4-6312-2B5C1334C60D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9DCD5716-10D2-2A02-5324-1FEE666644E6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B86C6295-A008-9D21-762C-8EAEFD1C56B1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460B37B-1B73-EE56-4B1D-33B4F15321AE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8F34DB77-129C-5FA8-D0EA-7CA2147EFF28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717E31C3-172D-4807-FAEE-C0FB78D7D870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0" name="Rechteck 79">
              <a:extLst>
                <a:ext uri="{FF2B5EF4-FFF2-40B4-BE49-F238E27FC236}">
                  <a16:creationId xmlns:a16="http://schemas.microsoft.com/office/drawing/2014/main" id="{56A6B720-138D-0F46-EE24-4EEFE7764607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13AC1AFC-1879-D5B6-49B9-0E796A606A1B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0DCB79B2-E3BC-FAAA-C3C7-5AA62C776AC2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B27055CA-0434-09A3-8F41-4A51B9CA8DD4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A5A6979A-88EA-90BE-E975-8A536125F389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69983A50-4B0F-694A-8EFE-0A11A31B15DC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77559531-08C2-F634-F979-0A1FB0B12A9E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7" name="Rechteck 86">
              <a:extLst>
                <a:ext uri="{FF2B5EF4-FFF2-40B4-BE49-F238E27FC236}">
                  <a16:creationId xmlns:a16="http://schemas.microsoft.com/office/drawing/2014/main" id="{44518E61-1112-4D7F-C45A-776D23E4D32F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8" name="Rechteck 87">
              <a:extLst>
                <a:ext uri="{FF2B5EF4-FFF2-40B4-BE49-F238E27FC236}">
                  <a16:creationId xmlns:a16="http://schemas.microsoft.com/office/drawing/2014/main" id="{A570F623-403B-6644-BC5F-BD582CB54DC4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9" name="Rechteck 88">
              <a:extLst>
                <a:ext uri="{FF2B5EF4-FFF2-40B4-BE49-F238E27FC236}">
                  <a16:creationId xmlns:a16="http://schemas.microsoft.com/office/drawing/2014/main" id="{8C720195-D1E2-295E-3B5E-57EDEDC4134D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5" name="Rechteck 94">
              <a:extLst>
                <a:ext uri="{FF2B5EF4-FFF2-40B4-BE49-F238E27FC236}">
                  <a16:creationId xmlns:a16="http://schemas.microsoft.com/office/drawing/2014/main" id="{EFEA8C3C-DD72-48CF-C7F3-D3FB4CDB17A3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B34AA8CB-5C08-D574-C26B-E679AA6440E9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4AE30B8F-B044-073B-4D08-0C84A4B41001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775F305B-E488-B6C7-ADB9-D0A67F729BA0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DAE27F4E-3937-6895-00DD-4060C319C9B3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F39FDAD4-59E9-E592-CD6A-B48845F331BC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8" name="Rechteck 117">
              <a:extLst>
                <a:ext uri="{FF2B5EF4-FFF2-40B4-BE49-F238E27FC236}">
                  <a16:creationId xmlns:a16="http://schemas.microsoft.com/office/drawing/2014/main" id="{6B330369-E1F2-6034-EA45-588881371243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19" name="Rechteck 118">
              <a:extLst>
                <a:ext uri="{FF2B5EF4-FFF2-40B4-BE49-F238E27FC236}">
                  <a16:creationId xmlns:a16="http://schemas.microsoft.com/office/drawing/2014/main" id="{F7A1616C-D08D-3E6C-12FD-8C467262994D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0" name="Rechteck 119">
              <a:extLst>
                <a:ext uri="{FF2B5EF4-FFF2-40B4-BE49-F238E27FC236}">
                  <a16:creationId xmlns:a16="http://schemas.microsoft.com/office/drawing/2014/main" id="{A818FFCF-461C-2212-CB65-3EE43B50E732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1" name="Rechteck 120">
              <a:extLst>
                <a:ext uri="{FF2B5EF4-FFF2-40B4-BE49-F238E27FC236}">
                  <a16:creationId xmlns:a16="http://schemas.microsoft.com/office/drawing/2014/main" id="{899AB9D7-E9D5-371D-161C-956E4DDC2D4C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2" name="Rechteck 121">
              <a:extLst>
                <a:ext uri="{FF2B5EF4-FFF2-40B4-BE49-F238E27FC236}">
                  <a16:creationId xmlns:a16="http://schemas.microsoft.com/office/drawing/2014/main" id="{7677E94F-61A3-2717-2103-D8A48CBC3A85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23" name="Rechteck 122">
              <a:extLst>
                <a:ext uri="{FF2B5EF4-FFF2-40B4-BE49-F238E27FC236}">
                  <a16:creationId xmlns:a16="http://schemas.microsoft.com/office/drawing/2014/main" id="{ADFC0CCB-5058-27B7-F02B-41DE817E3B67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1" name="Rechteck 140">
              <a:extLst>
                <a:ext uri="{FF2B5EF4-FFF2-40B4-BE49-F238E27FC236}">
                  <a16:creationId xmlns:a16="http://schemas.microsoft.com/office/drawing/2014/main" id="{B042D170-86C1-62C2-1167-DD08CF9E164C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3CC0085D-F24B-2F17-FAAA-B0DBAAD3FCCF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3" name="Rechteck 142">
              <a:extLst>
                <a:ext uri="{FF2B5EF4-FFF2-40B4-BE49-F238E27FC236}">
                  <a16:creationId xmlns:a16="http://schemas.microsoft.com/office/drawing/2014/main" id="{FC20D90D-59D9-7C5F-1539-30DF8926BDA0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4" name="Rechteck 143">
              <a:extLst>
                <a:ext uri="{FF2B5EF4-FFF2-40B4-BE49-F238E27FC236}">
                  <a16:creationId xmlns:a16="http://schemas.microsoft.com/office/drawing/2014/main" id="{7F752D1D-220F-3E83-284F-BC2332469657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5" name="Rechteck 144">
              <a:extLst>
                <a:ext uri="{FF2B5EF4-FFF2-40B4-BE49-F238E27FC236}">
                  <a16:creationId xmlns:a16="http://schemas.microsoft.com/office/drawing/2014/main" id="{09D71745-C237-39F3-F19E-53348766B220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46" name="Rechteck 145">
              <a:extLst>
                <a:ext uri="{FF2B5EF4-FFF2-40B4-BE49-F238E27FC236}">
                  <a16:creationId xmlns:a16="http://schemas.microsoft.com/office/drawing/2014/main" id="{EDF74F25-689B-FE9C-D27E-E2683333882F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4" name="Rechteck 163">
              <a:extLst>
                <a:ext uri="{FF2B5EF4-FFF2-40B4-BE49-F238E27FC236}">
                  <a16:creationId xmlns:a16="http://schemas.microsoft.com/office/drawing/2014/main" id="{3D3EA703-0211-9180-7213-758F5BAD0235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5" name="Rechteck 164">
              <a:extLst>
                <a:ext uri="{FF2B5EF4-FFF2-40B4-BE49-F238E27FC236}">
                  <a16:creationId xmlns:a16="http://schemas.microsoft.com/office/drawing/2014/main" id="{CFF0818B-19D0-8A05-0508-D257B8A03FE9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6" name="Rechteck 165">
              <a:extLst>
                <a:ext uri="{FF2B5EF4-FFF2-40B4-BE49-F238E27FC236}">
                  <a16:creationId xmlns:a16="http://schemas.microsoft.com/office/drawing/2014/main" id="{98811417-294F-8243-F779-F0680E491BD5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7" name="Rechteck 166">
              <a:extLst>
                <a:ext uri="{FF2B5EF4-FFF2-40B4-BE49-F238E27FC236}">
                  <a16:creationId xmlns:a16="http://schemas.microsoft.com/office/drawing/2014/main" id="{F70137A0-41B5-19FC-B09C-D8A31E1E216F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8" name="Rechteck 167">
              <a:extLst>
                <a:ext uri="{FF2B5EF4-FFF2-40B4-BE49-F238E27FC236}">
                  <a16:creationId xmlns:a16="http://schemas.microsoft.com/office/drawing/2014/main" id="{FFDD1DE2-E3EC-3B49-FB67-D242FD72B640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69" name="Rechteck 168">
              <a:extLst>
                <a:ext uri="{FF2B5EF4-FFF2-40B4-BE49-F238E27FC236}">
                  <a16:creationId xmlns:a16="http://schemas.microsoft.com/office/drawing/2014/main" id="{0ADDC9A0-F056-1327-D66F-26A906BBD7C9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7" name="Rechteck 186">
              <a:extLst>
                <a:ext uri="{FF2B5EF4-FFF2-40B4-BE49-F238E27FC236}">
                  <a16:creationId xmlns:a16="http://schemas.microsoft.com/office/drawing/2014/main" id="{BF8F08C4-0E86-04A0-C62C-3D605FA2FB7B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8" name="Rechteck 187">
              <a:extLst>
                <a:ext uri="{FF2B5EF4-FFF2-40B4-BE49-F238E27FC236}">
                  <a16:creationId xmlns:a16="http://schemas.microsoft.com/office/drawing/2014/main" id="{460180B5-3C7B-5A63-4C57-F4EBBD6D28F2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89" name="Rechteck 188">
              <a:extLst>
                <a:ext uri="{FF2B5EF4-FFF2-40B4-BE49-F238E27FC236}">
                  <a16:creationId xmlns:a16="http://schemas.microsoft.com/office/drawing/2014/main" id="{0F85227D-BD0D-14C1-3E7E-DD1F708B005C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190" name="Rechteck 189">
              <a:extLst>
                <a:ext uri="{FF2B5EF4-FFF2-40B4-BE49-F238E27FC236}">
                  <a16:creationId xmlns:a16="http://schemas.microsoft.com/office/drawing/2014/main" id="{06C90CE6-F5F1-F487-51E4-FA4E1081F2E0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E7EE09F9-3B99-1E92-D081-5019BDFD557B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A5C0B268-BE8B-43A5-FBD7-F1D91D9FA481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27EC3604-7496-8D31-2FAD-A0B891138B86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0200F1F9-3696-6F4C-B57D-DDF1BCFB1D17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75D50D5E-6732-B4BD-BF47-3B74BA1B765D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3743FC8B-940D-BE7B-AB96-D774F2E5CE65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4A7DE8F0-24A9-15FB-31EB-8696591B0BF9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4A0B31CD-EEFF-C4EB-0D10-53E95A6E675F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3E6F26E5-87E7-B141-D93D-6D973F54CF52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15A878EE-41F1-0CA9-3C5D-158DB9F00D33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3" name="Rechteck 282">
              <a:extLst>
                <a:ext uri="{FF2B5EF4-FFF2-40B4-BE49-F238E27FC236}">
                  <a16:creationId xmlns:a16="http://schemas.microsoft.com/office/drawing/2014/main" id="{ED89E719-CE1D-380D-804A-8DDA026A01F6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75F774CB-EE75-4762-046C-F6A25FF7BFF0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5FED1B1E-7A76-2410-D7A0-82ABB0676DD7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98D6E8B1-F9E6-7156-E162-30C03C18EAE7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C68A3BFB-6AB0-C182-6FE3-54F8C0413540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BD072C43-0691-766D-BC5B-9792E72C0860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1EF16077-983E-22E0-8C12-D03231A8D26B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0068593F-F3E1-5022-8453-FB53BF9E6FB9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168E361A-E856-7D63-D12E-CAF20DDE05C6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4CE0B89B-0ED4-101E-B824-E71E9E8145B3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07984503-9565-060B-84F1-C5F05C32290A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4DF80959-CCAB-63CD-8CDC-E72243AA7010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60034036-5B5B-AEBB-5DE9-A58CBED2DCEB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2EED3034-1299-EB47-3CED-73723A3291C0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74BCDF44-51F2-B555-6E0A-6A4A482BB120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BDBFC7EA-B121-2ADE-C32C-F04E68ED7533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B60216B0-7427-1F93-72DA-5384B965306A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9F20C657-6EDF-9FF5-81CB-4C11931675B2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2CD539F8-2A7C-46FD-B615-6E8FA103584D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8ECE2368-2D8B-D6E4-B7A3-50571A01719B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62B35920-FCE6-813A-3DE0-E02803E88BAB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94A3E265-9B43-01CB-826E-3A679037D772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D679F87C-ACC5-4E5C-4E6D-4A38B09271CF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6D891ACE-A068-4229-BE86-61F1D4B0AB6D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022C9AF1-DA88-E36D-B6DF-B8EFE7F00921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15AE2429-8729-D181-B02C-DE69C6632C39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01148E07-1A39-35FC-AD09-0F9EF225912A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60DDA28B-CA90-6FBE-45A2-71C1CAE1B6CA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33180018-7172-6FD3-F946-45449D58635A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05C52664-34EF-994A-C9E2-ABFA345E045C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677755C8-EE93-5393-AD32-A8E929212286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112856BB-06F8-0FBC-1382-39EA57933F4F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6A6F14AD-7365-1311-B2E4-4CB4AB99864B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0231BAE9-0AAD-D7F2-596C-5C3F92E4FD54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F22A498E-F685-1E8A-4486-7EE49A4AD90C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10576592-0917-A272-8EC1-07F36F55CEF1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38420A1D-AC27-2069-3F9E-60C131033874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A30B81BD-ECEF-9AA9-CEE1-E9CA1A9B5C1F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C19B1B73-370E-1D8D-7502-9CC93C6E3FFA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69B99626-3FC2-C45E-005E-511E6BE1803F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4EDAB558-CEC0-3718-E920-A45B5F0067BC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2DC0B6FC-0480-394D-E5EE-E02F7AF92A31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769E259A-2312-8DE9-8D7B-E4451C319CA7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0E383A4C-AF4E-85D0-5B5C-315C1C449A0F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0DF3FC96-20A0-E766-7950-05B3CC0DD0D3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063B08B8-26D5-0D67-071C-0B8F168923EB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13696CA4-A1D5-D09D-E106-96A370204276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F3D8F586-ABE4-8597-2343-08DAE003258D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703088A5-6DC7-D5BB-44AC-5E8D11BB67BF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84E87DA5-26FC-072A-5669-75135918D3AF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C6320B96-8FD0-B6FD-CC9A-E0CBC1DEC446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2BBC829F-B0E8-1E14-17D6-6FA72A233DE3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492777A7-AAC0-C020-49DD-8479F4C2F24D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33919EBF-B3E2-BC99-1C93-D84C69C8A672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F34E2AE1-2644-FAA8-99C1-3B30DEFAC51E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D8A842E3-BEFE-8390-685B-81A2BE3025D2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4505B5E6-E2E7-6AFE-F307-5991289E1D5D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B4975F2A-7464-0158-4E8D-F54A6BD08481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9CE31611-9C4E-2E2B-B0DC-307CE5E992BB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8FC37BE7-4F3A-E80C-5FFF-F411B343A1D4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E45D1AFB-89B3-B561-CD56-ADD23AA2A393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D4543A3E-7A44-D778-BFC1-BB3F01400031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34677254-7E79-FE84-A734-982593DDE88D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BF0E9C7C-AF21-8C82-63D1-6796BAE3BE60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147DECF9-0575-6132-178C-8C48BE9A9618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14ABEE62-6C81-7ECE-491B-A760D419C21E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D99054A0-AE99-24A4-1049-0BF7A5715DA2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EB405491-C0A7-4DE5-9433-6458AD62A9CD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1BA2399A-B013-D3C4-7D5F-F50DEF9C07C2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B211FA68-90CF-27FD-7A33-CF615A44D1E7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732DEF96-8AAC-A5B0-97B8-934563C287B6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D4766C35-A89B-5B45-C73F-E65D349E1C82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F4D7BA31-5093-03FB-30AF-8EFBC9795751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E25D8CA0-4F00-EC7C-25C2-5E67E3DE60CF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E8518285-684B-2913-49A1-F54FFCF9EF5C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4B154C5A-6386-3744-5FA3-B2C39AD22B21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DB8CAACD-D3DF-5506-5CC7-7C1740523298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70711201-27AA-F27D-7F29-A6B8785C9B3F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A414A3B9-104C-F6ED-574B-DB1037B169C7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3A06FFC0-1FD2-A284-66A3-78B0A4A61F40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3D1AA4A3-3CB5-A305-4BFB-3EB667D7A761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9BBFA944-E6A8-2612-48C6-43CC302FE809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3AE0FE69-B4BE-A343-A3A0-33F3E8E32C5A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89709E1C-C476-7D94-CA69-683FDFB170DF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E3391966-7E2E-21DD-722B-85475696E621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2A88A50F-7AE6-2C85-1FA6-B5A45D773569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04E716E8-D0F4-3CC8-F03A-F61C06C44E9F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71E5F60D-6CD9-C2AD-8859-CAB550AB7EA4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381CA6A3-335F-FADA-226E-0155957A3CEC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C9D5758E-E1AE-2E8C-B5AB-30FD7C23E683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9B5212E3-081A-EFE1-2F65-C834593B4F6D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2073899A-8727-A05E-122C-04494467D1B9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36EA85AA-7094-B73E-7241-C1CAA2E1BC1D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58C58E62-19F8-6417-4AA4-3C2A630FFC21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66678A5C-4F7A-D7A1-EE7C-B8E7EF3C69F3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8165FED5-DEA9-0135-0033-481D0B57107F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2CFA3AFF-7421-A010-FE97-A2A2638FAF27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9E9A67BD-6327-4CAC-2044-6F6CC118CD65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90766766-A01A-3786-4378-27AE5DA82EBC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5AB5FF54-C8B3-6D81-D720-F0AE69EB80E8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246E0B07-4F3E-423D-5EBC-E026AB447C01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5A761BFB-9D98-C403-DF19-AE28A64B1678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0CB7A8BF-024B-6613-A476-8A435B1F3FB4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BE22894F-AA1E-5D28-ADC2-7D6CACBD96FB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48A776DE-423E-068E-D1A9-53BFAA80A225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1025F6B7-0835-BAF6-3A05-77E1AFBE0872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9CB828D6-3144-002C-EE51-459CE2FB25D3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0" name="Rechteck 389">
              <a:extLst>
                <a:ext uri="{FF2B5EF4-FFF2-40B4-BE49-F238E27FC236}">
                  <a16:creationId xmlns:a16="http://schemas.microsoft.com/office/drawing/2014/main" id="{D6F973FE-2A92-4224-141C-6640E734C1DD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1" name="Rechteck 390">
              <a:extLst>
                <a:ext uri="{FF2B5EF4-FFF2-40B4-BE49-F238E27FC236}">
                  <a16:creationId xmlns:a16="http://schemas.microsoft.com/office/drawing/2014/main" id="{0B5DB296-F090-FFC1-1B25-C39D57E54B51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2" name="Rechteck 391">
              <a:extLst>
                <a:ext uri="{FF2B5EF4-FFF2-40B4-BE49-F238E27FC236}">
                  <a16:creationId xmlns:a16="http://schemas.microsoft.com/office/drawing/2014/main" id="{5C7E263B-20E8-50F4-E5EB-6736994BCE67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3" name="Rechteck 392">
              <a:extLst>
                <a:ext uri="{FF2B5EF4-FFF2-40B4-BE49-F238E27FC236}">
                  <a16:creationId xmlns:a16="http://schemas.microsoft.com/office/drawing/2014/main" id="{EF09D085-9AFC-47ED-8C16-A379672CBC6A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4" name="Rechteck 393">
              <a:extLst>
                <a:ext uri="{FF2B5EF4-FFF2-40B4-BE49-F238E27FC236}">
                  <a16:creationId xmlns:a16="http://schemas.microsoft.com/office/drawing/2014/main" id="{9C99C55A-94A9-CD70-DE3A-CAC2DCDBD390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5" name="Rechteck 394">
              <a:extLst>
                <a:ext uri="{FF2B5EF4-FFF2-40B4-BE49-F238E27FC236}">
                  <a16:creationId xmlns:a16="http://schemas.microsoft.com/office/drawing/2014/main" id="{294D9768-B58A-9D78-2EF0-95AE7B3D19DE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6" name="Rechteck 395">
              <a:extLst>
                <a:ext uri="{FF2B5EF4-FFF2-40B4-BE49-F238E27FC236}">
                  <a16:creationId xmlns:a16="http://schemas.microsoft.com/office/drawing/2014/main" id="{E045C236-DFC2-84DD-3ACD-A21236272DAE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7" name="Rechteck 396">
              <a:extLst>
                <a:ext uri="{FF2B5EF4-FFF2-40B4-BE49-F238E27FC236}">
                  <a16:creationId xmlns:a16="http://schemas.microsoft.com/office/drawing/2014/main" id="{B293FBB0-E6CF-54BB-8998-FB202CC85459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1C4843D0-414F-3C42-AA14-CA508D98DAEC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B38DEE85-1E5E-1C74-EFD2-4A4AB127E52A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2D660827-5D4C-197B-C3DB-3374701979EA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AA0C6F8A-A05F-CB89-5417-018D3FBE26B9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C987FCE4-9147-F00E-9EAD-89D813576A8B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3" name="Rechteck 402">
              <a:extLst>
                <a:ext uri="{FF2B5EF4-FFF2-40B4-BE49-F238E27FC236}">
                  <a16:creationId xmlns:a16="http://schemas.microsoft.com/office/drawing/2014/main" id="{D0581425-1055-E469-7776-F7306BC9DA5C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B6C5BC7A-8696-5091-35F1-64CB5BD74752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5" name="Rechteck 404">
              <a:extLst>
                <a:ext uri="{FF2B5EF4-FFF2-40B4-BE49-F238E27FC236}">
                  <a16:creationId xmlns:a16="http://schemas.microsoft.com/office/drawing/2014/main" id="{2D1198C2-C774-1E0E-0E60-43A4BC42481F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6" name="Rechteck 405">
              <a:extLst>
                <a:ext uri="{FF2B5EF4-FFF2-40B4-BE49-F238E27FC236}">
                  <a16:creationId xmlns:a16="http://schemas.microsoft.com/office/drawing/2014/main" id="{9A3C2D6D-8477-760A-B611-44C96B865D88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8F225F7D-37B8-291F-FCD6-2DD49AEFDE09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169F820B-C4BD-4FA3-B94F-860563E0301C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E57D7161-B6DF-ACC5-9900-52599FECBA8E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sp>
        <p:nvSpPr>
          <p:cNvPr id="411" name="Freihandform: Form 410">
            <a:extLst>
              <a:ext uri="{FF2B5EF4-FFF2-40B4-BE49-F238E27FC236}">
                <a16:creationId xmlns:a16="http://schemas.microsoft.com/office/drawing/2014/main" id="{2AD52377-04C7-915A-34D5-E1C0543FB4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1424" y="2060848"/>
            <a:ext cx="2892425" cy="2879303"/>
          </a:xfrm>
          <a:custGeom>
            <a:avLst/>
            <a:gdLst>
              <a:gd name="connsiteX0" fmla="*/ 0 w 2892425"/>
              <a:gd name="connsiteY0" fmla="*/ 0 h 2879303"/>
              <a:gd name="connsiteX1" fmla="*/ 2892425 w 2892425"/>
              <a:gd name="connsiteY1" fmla="*/ 0 h 2879303"/>
              <a:gd name="connsiteX2" fmla="*/ 2307742 w 2892425"/>
              <a:gd name="connsiteY2" fmla="*/ 2298575 h 2879303"/>
              <a:gd name="connsiteX3" fmla="*/ 0 w 2892425"/>
              <a:gd name="connsiteY3" fmla="*/ 2879303 h 2879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92425" h="2879303">
                <a:moveTo>
                  <a:pt x="0" y="0"/>
                </a:moveTo>
                <a:lnTo>
                  <a:pt x="2892425" y="0"/>
                </a:lnTo>
                <a:lnTo>
                  <a:pt x="2307742" y="2298575"/>
                </a:lnTo>
                <a:lnTo>
                  <a:pt x="0" y="2879303"/>
                </a:lnTo>
                <a:close/>
              </a:path>
            </a:pathLst>
          </a:custGeom>
          <a:solidFill>
            <a:schemeClr val="bg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 rtl="0"/>
            <a:endParaRPr lang="en-US" sz="1600" dirty="0"/>
          </a:p>
        </p:txBody>
      </p:sp>
      <p:sp>
        <p:nvSpPr>
          <p:cNvPr id="272" name="Number">
            <a:extLst>
              <a:ext uri="{FF2B5EF4-FFF2-40B4-BE49-F238E27FC236}">
                <a16:creationId xmlns:a16="http://schemas.microsoft.com/office/drawing/2014/main" id="{B51777ED-2677-4CA6-9D24-823DF0017EB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11424" y="2060997"/>
            <a:ext cx="2880320" cy="2880171"/>
          </a:xfrm>
          <a:custGeom>
            <a:avLst/>
            <a:gdLst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517775 w 3022600"/>
              <a:gd name="connsiteY2" fmla="*/ 2520950 h 3024187"/>
              <a:gd name="connsiteX3" fmla="*/ 0 w 3022600"/>
              <a:gd name="connsiteY3" fmla="*/ 3024187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337856 w 3022600"/>
              <a:gd name="connsiteY2" fmla="*/ 2347595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414488 w 3022600"/>
              <a:gd name="connsiteY2" fmla="*/ 2417604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2600" h="3024187">
                <a:moveTo>
                  <a:pt x="0" y="0"/>
                </a:moveTo>
                <a:lnTo>
                  <a:pt x="3022600" y="0"/>
                </a:lnTo>
                <a:lnTo>
                  <a:pt x="2414488" y="2417604"/>
                </a:lnTo>
                <a:lnTo>
                  <a:pt x="0" y="3024187"/>
                </a:lnTo>
                <a:lnTo>
                  <a:pt x="0" y="0"/>
                </a:lnTo>
                <a:close/>
              </a:path>
            </a:pathLst>
          </a:custGeom>
          <a:solidFill>
            <a:srgbClr val="519FBC"/>
          </a:solidFill>
          <a:ln w="127">
            <a:solidFill>
              <a:srgbClr val="519FBC">
                <a:alpha val="0"/>
              </a:srgbClr>
            </a:solidFill>
          </a:ln>
        </p:spPr>
        <p:txBody>
          <a:bodyPr wrap="square" lIns="216000" tIns="0" rIns="0" bIns="0" anchor="t" anchorCtr="0"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9pPr>
          </a:lstStyle>
          <a:p>
            <a:r>
              <a:rPr lang="en-US"/>
              <a:t>00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4727849" y="1988840"/>
            <a:ext cx="5040000" cy="18002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36000" rIns="216000">
            <a:noAutofit/>
          </a:bodyPr>
          <a:lstStyle>
            <a:lvl1pPr rtl="0"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Divider slide | Insert your headline in maximal three lines her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46297C-A90E-4725-9584-F26D2B59D3D8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4727848" y="3717033"/>
            <a:ext cx="5040000" cy="936104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US"/>
              <a:t>Insert here your subtitle</a:t>
            </a:r>
            <a:endParaRPr lang="en-US" dirty="0"/>
          </a:p>
        </p:txBody>
      </p:sp>
      <p:sp>
        <p:nvSpPr>
          <p:cNvPr id="271" name="Source">
            <a:extLst>
              <a:ext uri="{FF2B5EF4-FFF2-40B4-BE49-F238E27FC236}">
                <a16:creationId xmlns:a16="http://schemas.microsoft.com/office/drawing/2014/main" id="{ECFBD499-EAD8-4061-9B79-3BE04BC20C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87488" y="6525000"/>
            <a:ext cx="9144512" cy="144000"/>
          </a:xfrm>
        </p:spPr>
        <p:txBody>
          <a:bodyPr anchor="b"/>
          <a:lstStyle>
            <a:lvl1pPr marL="0" indent="0" algn="l" rtl="0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2pPr>
            <a:lvl3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3pPr>
            <a:lvl4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6pPr>
            <a:lvl7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7pPr>
            <a:lvl8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8pPr>
            <a:lvl9pPr marL="0" indent="0" algn="l"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/>
              <a:t>Source, Footnote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9CCD5DB-0D01-7AB9-B6CA-3826DB15D2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5BEB42C0-BD1B-4147-BFFC-A8336F91A7B9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DD82BBB-77A7-D509-536D-9C9CE1AFC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F35785-D94C-67B5-E395-7424B82734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19314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E68A7B6-7ED5-2464-41CF-C16A6F1131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8894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68A7B6-7ED5-2464-41CF-C16A6F1131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B0795529-4D73-3332-2945-704225E049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60648"/>
            <a:ext cx="8063551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7" name="Subtitle"/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788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9" name="Source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98D2D80-83C7-C3BE-11DE-891FB4F740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9A4C19A7-2697-4401-A65A-0F200AB0BD3F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4FF2831-9930-617B-0107-D5E0273C47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4DE80F-7084-7C4F-A5DC-647F766EC0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47632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3838">
          <p15:clr>
            <a:srgbClr val="FBAE40"/>
          </p15:clr>
        </p15:guide>
        <p15:guide id="5" pos="211">
          <p15:clr>
            <a:srgbClr val="FBAE40"/>
          </p15:clr>
        </p15:guide>
        <p15:guide id="6" orient="horz" pos="1298">
          <p15:clr>
            <a:srgbClr val="FBAE40"/>
          </p15:clr>
        </p15:guide>
      </p15:sldGuideLst>
    </p:ext>
  </p:extLs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D4467629-D436-FE27-CF1E-6F235CB653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2280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467629-D436-FE27-CF1E-6F235CB653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">
            <a:extLst>
              <a:ext uri="{FF2B5EF4-FFF2-40B4-BE49-F238E27FC236}">
                <a16:creationId xmlns:a16="http://schemas.microsoft.com/office/drawing/2014/main" id="{CF5EDE16-5B1A-4150-90CB-D4C4142476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96F545AC-9767-C3A9-8852-5B3F117FB099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1" y="658788"/>
            <a:ext cx="8064895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4962" y="2060575"/>
            <a:ext cx="10369549" cy="4032250"/>
          </a:xfrm>
          <a:prstGeom prst="rect">
            <a:avLst/>
          </a:prstGeom>
        </p:spPr>
        <p:txBody>
          <a:bodyPr/>
          <a:lstStyle>
            <a:lvl1pPr rtl="0">
              <a:defRPr baseline="0"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5" name="Source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313E8EF-477B-829C-E76D-82E935EA0F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8914BA79-9CF9-4542-BDB0-93DCCAD941AD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99F21F9-7E82-D3A4-D13F-25045FB168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069B29-DDCD-4764-6C0C-2E75AC2884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9307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3" pos="6743">
          <p15:clr>
            <a:srgbClr val="FBAE40"/>
          </p15:clr>
        </p15:guide>
        <p15:guide id="4" orient="horz" pos="3838">
          <p15:clr>
            <a:srgbClr val="FBAE40"/>
          </p15:clr>
        </p15:guide>
        <p15:guide id="5" pos="211">
          <p15:clr>
            <a:srgbClr val="FBAE40"/>
          </p15:clr>
        </p15:guide>
        <p15:guide id="6" orient="horz" pos="935">
          <p15:clr>
            <a:srgbClr val="FBAE40"/>
          </p15:clr>
        </p15:guide>
        <p15:guide id="7" pos="7469">
          <p15:clr>
            <a:srgbClr val="FBAE40"/>
          </p15:clr>
        </p15:guide>
      </p15:sldGuideLst>
    </p:ext>
  </p:extLs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2D41B3A-008C-EA6E-E252-D1C2352140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1879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D41B3A-008C-EA6E-E252-D1C2352140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">
            <a:extLst>
              <a:ext uri="{FF2B5EF4-FFF2-40B4-BE49-F238E27FC236}">
                <a16:creationId xmlns:a16="http://schemas.microsoft.com/office/drawing/2014/main" id="{88B08B0E-0F2C-4F39-8C83-40D56780A4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511F11FC-FCA8-FA31-88F5-727DE1C458C7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4963" y="2060574"/>
            <a:ext cx="5761037" cy="4032721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672263" y="2060575"/>
            <a:ext cx="5184377" cy="403225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0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8" y="6525000"/>
            <a:ext cx="9144512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5A63D7-562B-C3CB-9A70-CD611C8190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rtl="0">
              <a:defRPr/>
            </a:lvl1pPr>
          </a:lstStyle>
          <a:p>
            <a:fld id="{26AE5FF7-CF5E-419A-8C03-8CE67B686C77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A1B3EF-1533-F6D5-16F8-628C93E34E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0807DB1-E0B6-D636-F949-1B29AAFDE8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2989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2" pos="211">
          <p15:clr>
            <a:srgbClr val="FBAE40"/>
          </p15:clr>
        </p15:guide>
        <p15:guide id="3" pos="3840">
          <p15:clr>
            <a:srgbClr val="FBAE40"/>
          </p15:clr>
        </p15:guide>
        <p15:guide id="4" orient="horz" pos="3838">
          <p15:clr>
            <a:srgbClr val="FBAE40"/>
          </p15:clr>
        </p15:guide>
        <p15:guide id="5" pos="4203">
          <p15:clr>
            <a:srgbClr val="FBAE40"/>
          </p15:clr>
        </p15:guide>
        <p15:guide id="6" pos="7469">
          <p15:clr>
            <a:srgbClr val="FBAE40"/>
          </p15:clr>
        </p15:guide>
        <p15:guide id="7" orient="horz" pos="935">
          <p15:clr>
            <a:srgbClr val="FBAE40"/>
          </p15:clr>
        </p15:guide>
      </p15:sldGuideLst>
    </p:ext>
  </p:extLs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wo contents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E241E46-B189-28CB-BD37-30FE40E3F4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5261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241E46-B189-28CB-BD37-30FE40E3F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">
            <a:extLst>
              <a:ext uri="{FF2B5EF4-FFF2-40B4-BE49-F238E27FC236}">
                <a16:creationId xmlns:a16="http://schemas.microsoft.com/office/drawing/2014/main" id="{88B08B0E-0F2C-4F39-8C83-40D56780A4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EE808A18-70FE-DEF8-E6D2-29530301EDF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5360" y="2060575"/>
            <a:ext cx="2592288" cy="403225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03689BB-5D3D-4CA0-AB51-B4084500818D}"/>
              </a:ext>
            </a:extLst>
          </p:cNvPr>
          <p:cNvSpPr>
            <a:spLocks noGrp="1"/>
          </p:cNvSpPr>
          <p:nvPr>
            <p:ph idx="21" hasCustomPrompt="1"/>
          </p:nvPr>
        </p:nvSpPr>
        <p:spPr bwMode="gray">
          <a:xfrm>
            <a:off x="3503712" y="2060575"/>
            <a:ext cx="2592288" cy="403225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672263" y="2060575"/>
            <a:ext cx="5184775" cy="403225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0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8" y="6525000"/>
            <a:ext cx="9144512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3786BD5-22CA-99DE-9E0E-717C8157D8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 rtl="0">
              <a:defRPr/>
            </a:lvl1pPr>
          </a:lstStyle>
          <a:p>
            <a:fld id="{3AE7CC68-AE93-446C-8D25-4309545FCAF2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1ECC00D-5CF3-B203-FBF0-46A16B02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39BCCD-2AB5-4A2C-D8EC-2F02CB0424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679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2" pos="211">
          <p15:clr>
            <a:srgbClr val="FBAE40"/>
          </p15:clr>
        </p15:guide>
        <p15:guide id="3" pos="3840">
          <p15:clr>
            <a:srgbClr val="FBAE40"/>
          </p15:clr>
        </p15:guide>
        <p15:guide id="4" pos="4203">
          <p15:clr>
            <a:srgbClr val="FBAE40"/>
          </p15:clr>
        </p15:guide>
        <p15:guide id="5" pos="7469">
          <p15:clr>
            <a:srgbClr val="FBAE40"/>
          </p15:clr>
        </p15:guide>
        <p15:guide id="6" orient="horz" pos="3838">
          <p15:clr>
            <a:srgbClr val="FBAE40"/>
          </p15:clr>
        </p15:guide>
        <p15:guide id="7" orient="horz" pos="935">
          <p15:clr>
            <a:srgbClr val="FBAE40"/>
          </p15:clr>
        </p15:guide>
      </p15:sldGuideLst>
    </p:ext>
  </p:extLs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B9F2D5F-F6A3-9D5F-EF81-42FCF2C0C1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340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9F2D5F-F6A3-9D5F-EF81-42FCF2C0C1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Picture">
            <a:extLst>
              <a:ext uri="{FF2B5EF4-FFF2-40B4-BE49-F238E27FC236}">
                <a16:creationId xmlns:a16="http://schemas.microsoft.com/office/drawing/2014/main" id="{4A4DB585-6D1E-7B61-ADF1-62BBDEF4151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0" y="0"/>
            <a:ext cx="10704512" cy="6858000"/>
          </a:xfrm>
          <a:custGeom>
            <a:avLst/>
            <a:gdLst>
              <a:gd name="connsiteX0" fmla="*/ 0 w 10632504"/>
              <a:gd name="connsiteY0" fmla="*/ 0 h 6858000"/>
              <a:gd name="connsiteX1" fmla="*/ 10632504 w 10632504"/>
              <a:gd name="connsiteY1" fmla="*/ 0 h 6858000"/>
              <a:gd name="connsiteX2" fmla="*/ 10632504 w 10632504"/>
              <a:gd name="connsiteY2" fmla="*/ 6858000 h 6858000"/>
              <a:gd name="connsiteX3" fmla="*/ 0 w 1063250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632504" h="6858000">
                <a:moveTo>
                  <a:pt x="0" y="0"/>
                </a:moveTo>
                <a:lnTo>
                  <a:pt x="10632504" y="0"/>
                </a:lnTo>
                <a:lnTo>
                  <a:pt x="1063250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6D9DC"/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8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2" name="Content">
            <a:extLst>
              <a:ext uri="{FF2B5EF4-FFF2-40B4-BE49-F238E27FC236}">
                <a16:creationId xmlns:a16="http://schemas.microsoft.com/office/drawing/2014/main" id="{93536E9D-E5E2-4B0C-91F6-B80985E0540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11424" y="1484784"/>
            <a:ext cx="3455789" cy="2305961"/>
          </a:xfrm>
          <a:solidFill>
            <a:schemeClr val="bg1"/>
          </a:solidFill>
        </p:spPr>
        <p:txBody>
          <a:bodyPr wrap="square" lIns="216000" tIns="216000" rIns="216000" bIns="216000">
            <a:sp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  <a:endParaRPr lang="en-US" dirty="0"/>
          </a:p>
        </p:txBody>
      </p:sp>
      <p:sp>
        <p:nvSpPr>
          <p:cNvPr id="5" name="Shape">
            <a:extLst>
              <a:ext uri="{FF2B5EF4-FFF2-40B4-BE49-F238E27FC236}">
                <a16:creationId xmlns:a16="http://schemas.microsoft.com/office/drawing/2014/main" id="{3F86E13A-084F-ED45-B21A-6735204194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10848528" y="0"/>
            <a:ext cx="216024" cy="13414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en-US" sz="160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78EB467-3819-CE01-9D54-B8D7B7DF1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6A9F266E-84FC-43F2-9321-B86398D5610B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4C1F6D1-6F23-F489-09BB-6E7DCE86A7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BB33AB8-ED32-DEC4-5F38-F02D6AB1AE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99765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CF68C98-440C-916B-A7B0-59C4DDF021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7552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F68C98-440C-916B-A7B0-59C4DDF021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">
            <a:extLst>
              <a:ext uri="{FF2B5EF4-FFF2-40B4-BE49-F238E27FC236}">
                <a16:creationId xmlns:a16="http://schemas.microsoft.com/office/drawing/2014/main" id="{F9147370-4CB5-4DED-AFC1-3924091C14B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" y="0"/>
            <a:ext cx="7824192" cy="6858000"/>
          </a:xfrm>
          <a:custGeom>
            <a:avLst/>
            <a:gdLst>
              <a:gd name="connsiteX0" fmla="*/ 0 w 8112125"/>
              <a:gd name="connsiteY0" fmla="*/ 0 h 6858000"/>
              <a:gd name="connsiteX1" fmla="*/ 8112125 w 8112125"/>
              <a:gd name="connsiteY1" fmla="*/ 0 h 6858000"/>
              <a:gd name="connsiteX2" fmla="*/ 8112125 w 8112125"/>
              <a:gd name="connsiteY2" fmla="*/ 6858000 h 6858000"/>
              <a:gd name="connsiteX3" fmla="*/ 0 w 811212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12125" h="6858000">
                <a:moveTo>
                  <a:pt x="0" y="0"/>
                </a:moveTo>
                <a:lnTo>
                  <a:pt x="8112125" y="0"/>
                </a:lnTo>
                <a:lnTo>
                  <a:pt x="811212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6D9DC"/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8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2" name="Content">
            <a:extLst>
              <a:ext uri="{FF2B5EF4-FFF2-40B4-BE49-F238E27FC236}">
                <a16:creationId xmlns:a16="http://schemas.microsoft.com/office/drawing/2014/main" id="{93536E9D-E5E2-4B0C-91F6-B80985E0540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400256" y="1484784"/>
            <a:ext cx="2880320" cy="4608512"/>
          </a:xfrm>
          <a:solidFill>
            <a:schemeClr val="bg1"/>
          </a:solidFill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13D68D4-6ACC-C20D-4759-F19E61D9AB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E45B979-FB31-4544-8231-F98C5E5EFDE6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D2D84D-6F02-C357-984C-E85E1F7C68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9F18E5F-9F75-692D-6F83-2EBE624C80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73825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6DF6D97-716D-715F-38DA-84F7A4D38F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4778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DF6D97-716D-715F-38DA-84F7A4D38F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0EA33E6C-B6EA-4396-A2D1-BF412B2609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7CD28B2C-FBA7-17AC-27BC-DFDFAA1A2D2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5" name="Picture 1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35360" y="1484783"/>
            <a:ext cx="5184378" cy="4608041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9" name="Picture 2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095999" y="1484313"/>
            <a:ext cx="5184775" cy="4608512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6EC8BE7-F506-DD6E-D0BF-03869A5732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57933E13-3C9B-4EF6-A5F1-5698D11260BA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D5AFD17-3544-54BD-6CA6-E32063B705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ACBA8D8-2C91-A9DC-0C32-8D2C0EAABE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6462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838">
          <p15:clr>
            <a:srgbClr val="FBAE40"/>
          </p15:clr>
        </p15:guide>
        <p15:guide id="3" pos="3840">
          <p15:clr>
            <a:srgbClr val="FBAE40"/>
          </p15:clr>
        </p15:guide>
        <p15:guide id="4" pos="3477">
          <p15:clr>
            <a:srgbClr val="FBAE40"/>
          </p15:clr>
        </p15:guide>
        <p15:guide id="5" pos="211">
          <p15:clr>
            <a:srgbClr val="FBAE40"/>
          </p15:clr>
        </p15:guide>
        <p15:guide id="6" pos="7106">
          <p15:clr>
            <a:srgbClr val="FBAE40"/>
          </p15:clr>
        </p15:guide>
      </p15:sldGuideLst>
    </p:ext>
  </p:extLs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&amp;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49C0DBAD-5546-1454-9206-E8A4EF94C6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6667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C0DBAD-5546-1454-9206-E8A4EF94C6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0EA33E6C-B6EA-4396-A2D1-BF412B2609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913BB0AF-B044-78B3-50A8-2B3BCC5A4AD1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5" name="Picture 1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35360" y="1484784"/>
            <a:ext cx="3456384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Content 1">
            <a:extLst>
              <a:ext uri="{FF2B5EF4-FFF2-40B4-BE49-F238E27FC236}">
                <a16:creationId xmlns:a16="http://schemas.microsoft.com/office/drawing/2014/main" id="{06A67EB1-7EE7-45D3-A94D-6EA201E90CF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34964" y="3789363"/>
            <a:ext cx="3456780" cy="2303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  <a:endParaRPr lang="en-US" dirty="0"/>
          </a:p>
        </p:txBody>
      </p:sp>
      <p:sp>
        <p:nvSpPr>
          <p:cNvPr id="9" name="Picture 2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367808" y="1484784"/>
            <a:ext cx="3456384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2" name="Content 2">
            <a:extLst>
              <a:ext uri="{FF2B5EF4-FFF2-40B4-BE49-F238E27FC236}">
                <a16:creationId xmlns:a16="http://schemas.microsoft.com/office/drawing/2014/main" id="{C35DD715-4BC4-4F30-A849-B8E23CA41DB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367213" y="3789363"/>
            <a:ext cx="3457575" cy="2303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  <a:endParaRPr lang="en-US" dirty="0"/>
          </a:p>
        </p:txBody>
      </p:sp>
      <p:sp>
        <p:nvSpPr>
          <p:cNvPr id="10" name="Picture 3">
            <a:extLst>
              <a:ext uri="{FF2B5EF4-FFF2-40B4-BE49-F238E27FC236}">
                <a16:creationId xmlns:a16="http://schemas.microsoft.com/office/drawing/2014/main" id="{13F83B90-1053-4BAE-A04B-E97DF0BCFAD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8400256" y="1484784"/>
            <a:ext cx="3456384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3" name="Content 3">
            <a:extLst>
              <a:ext uri="{FF2B5EF4-FFF2-40B4-BE49-F238E27FC236}">
                <a16:creationId xmlns:a16="http://schemas.microsoft.com/office/drawing/2014/main" id="{312C35B1-615F-427F-BBA3-DA904C08CA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400256" y="3789363"/>
            <a:ext cx="3456384" cy="2303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  <a:endParaRPr lang="en-US" dirty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4E386D9-C434-65C3-CE3E-5CD1C1ECED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>
            <a:lvl1pPr rtl="0">
              <a:defRPr/>
            </a:lvl1pPr>
          </a:lstStyle>
          <a:p>
            <a:fld id="{7706AF2B-8B92-4B39-A293-A477DA953158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83C618C-9D8F-7DC3-186F-2EAA8F41FD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CF80E59-E563-C03E-500C-5F125399B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3797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211">
          <p15:clr>
            <a:srgbClr val="FBAE40"/>
          </p15:clr>
        </p15:guide>
        <p15:guide id="5" pos="5292">
          <p15:clr>
            <a:srgbClr val="FBAE40"/>
          </p15:clr>
        </p15:guide>
        <p15:guide id="6" pos="4929">
          <p15:clr>
            <a:srgbClr val="FBAE40"/>
          </p15:clr>
        </p15:guide>
        <p15:guide id="7" pos="7469">
          <p15:clr>
            <a:srgbClr val="FBAE40"/>
          </p15:clr>
        </p15:guide>
        <p15:guide id="8" orient="horz" pos="2205">
          <p15:clr>
            <a:srgbClr val="FBAE40"/>
          </p15:clr>
        </p15:guide>
        <p15:guide id="9" orient="horz" pos="2387">
          <p15:clr>
            <a:srgbClr val="FBAE40"/>
          </p15:clr>
        </p15:guide>
        <p15:guide id="10" orient="horz" pos="3838">
          <p15:clr>
            <a:srgbClr val="FBAE40"/>
          </p15:clr>
        </p15:guide>
        <p15:guide id="11" pos="2389">
          <p15:clr>
            <a:srgbClr val="FBAE40"/>
          </p15:clr>
        </p15:guide>
        <p15:guide id="12" pos="275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Diagrams &amp;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0EA33E6C-B6EA-4396-A2D1-BF412B2609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9249E29B-4214-E23A-46E7-5147331FCB39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8" name="Diagram 1">
            <a:extLst>
              <a:ext uri="{FF2B5EF4-FFF2-40B4-BE49-F238E27FC236}">
                <a16:creationId xmlns:a16="http://schemas.microsoft.com/office/drawing/2014/main" id="{3C03ED19-FCCA-4F93-A27B-CE2D505869A8}"/>
              </a:ext>
            </a:extLst>
          </p:cNvPr>
          <p:cNvSpPr>
            <a:spLocks noGrp="1"/>
          </p:cNvSpPr>
          <p:nvPr>
            <p:ph type="chart" sz="quarter" idx="28" hasCustomPrompt="1"/>
          </p:nvPr>
        </p:nvSpPr>
        <p:spPr bwMode="gray">
          <a:xfrm>
            <a:off x="335360" y="1486098"/>
            <a:ext cx="2304000" cy="20161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7" name="Content 1">
            <a:extLst>
              <a:ext uri="{FF2B5EF4-FFF2-40B4-BE49-F238E27FC236}">
                <a16:creationId xmlns:a16="http://schemas.microsoft.com/office/drawing/2014/main" id="{06A67EB1-7EE7-45D3-A94D-6EA201E90CF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35360" y="3789039"/>
            <a:ext cx="2304000" cy="2303785"/>
          </a:xfrm>
        </p:spPr>
        <p:txBody>
          <a:bodyPr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7" name="Diagram 2">
            <a:extLst>
              <a:ext uri="{FF2B5EF4-FFF2-40B4-BE49-F238E27FC236}">
                <a16:creationId xmlns:a16="http://schemas.microsoft.com/office/drawing/2014/main" id="{D1A80D6A-DCC1-4500-888C-4F1A24AABF4F}"/>
              </a:ext>
            </a:extLst>
          </p:cNvPr>
          <p:cNvSpPr>
            <a:spLocks noGrp="1"/>
          </p:cNvSpPr>
          <p:nvPr>
            <p:ph type="chart" sz="quarter" idx="29" hasCustomPrompt="1"/>
          </p:nvPr>
        </p:nvSpPr>
        <p:spPr bwMode="gray">
          <a:xfrm>
            <a:off x="3215680" y="1485660"/>
            <a:ext cx="2304000" cy="20161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2" name="Content 2">
            <a:extLst>
              <a:ext uri="{FF2B5EF4-FFF2-40B4-BE49-F238E27FC236}">
                <a16:creationId xmlns:a16="http://schemas.microsoft.com/office/drawing/2014/main" id="{C35DD715-4BC4-4F30-A849-B8E23CA41DB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215680" y="3789040"/>
            <a:ext cx="2304000" cy="2303785"/>
          </a:xfrm>
        </p:spPr>
        <p:txBody>
          <a:bodyPr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8" name="Diagram 3">
            <a:extLst>
              <a:ext uri="{FF2B5EF4-FFF2-40B4-BE49-F238E27FC236}">
                <a16:creationId xmlns:a16="http://schemas.microsoft.com/office/drawing/2014/main" id="{021B7AD0-D310-4069-ACD1-90BD901B155A}"/>
              </a:ext>
            </a:extLst>
          </p:cNvPr>
          <p:cNvSpPr>
            <a:spLocks noGrp="1"/>
          </p:cNvSpPr>
          <p:nvPr>
            <p:ph type="chart" sz="quarter" idx="30" hasCustomPrompt="1"/>
          </p:nvPr>
        </p:nvSpPr>
        <p:spPr bwMode="gray">
          <a:xfrm>
            <a:off x="6096000" y="1485222"/>
            <a:ext cx="2304000" cy="20161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3" name="Content 3">
            <a:extLst>
              <a:ext uri="{FF2B5EF4-FFF2-40B4-BE49-F238E27FC236}">
                <a16:creationId xmlns:a16="http://schemas.microsoft.com/office/drawing/2014/main" id="{312C35B1-615F-427F-BBA3-DA904C08CA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096168" y="3789040"/>
            <a:ext cx="2304000" cy="2303785"/>
          </a:xfrm>
        </p:spPr>
        <p:txBody>
          <a:bodyPr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9" name="Diagram 5">
            <a:extLst>
              <a:ext uri="{FF2B5EF4-FFF2-40B4-BE49-F238E27FC236}">
                <a16:creationId xmlns:a16="http://schemas.microsoft.com/office/drawing/2014/main" id="{2857BF4C-3473-4E27-93FF-E487BE286E40}"/>
              </a:ext>
            </a:extLst>
          </p:cNvPr>
          <p:cNvSpPr>
            <a:spLocks noGrp="1"/>
          </p:cNvSpPr>
          <p:nvPr>
            <p:ph type="chart" sz="quarter" idx="31" hasCustomPrompt="1"/>
          </p:nvPr>
        </p:nvSpPr>
        <p:spPr bwMode="gray">
          <a:xfrm>
            <a:off x="8976576" y="1484784"/>
            <a:ext cx="2304000" cy="20161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6" name="Content 4">
            <a:extLst>
              <a:ext uri="{FF2B5EF4-FFF2-40B4-BE49-F238E27FC236}">
                <a16:creationId xmlns:a16="http://schemas.microsoft.com/office/drawing/2014/main" id="{6CA8DE4A-220D-4F9A-90B4-B0BB300CB3D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8976576" y="3789040"/>
            <a:ext cx="2304000" cy="2303785"/>
          </a:xfrm>
        </p:spPr>
        <p:txBody>
          <a:bodyPr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1" name="Source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AD73A62-5F93-5692-4019-B4CB93AE59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E143280B-9569-4C06-8D5E-3FA14784C29D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AEF68D-D7DA-91EF-710C-3A139E3935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964B93-1B38-7930-9F7E-426900F171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8367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3" orient="horz" pos="2205">
          <p15:clr>
            <a:srgbClr val="FBAE40"/>
          </p15:clr>
        </p15:guide>
        <p15:guide id="4" orient="horz" pos="2387">
          <p15:clr>
            <a:srgbClr val="FBAE40"/>
          </p15:clr>
        </p15:guide>
        <p15:guide id="5" orient="horz" pos="3838">
          <p15:clr>
            <a:srgbClr val="FBAE40"/>
          </p15:clr>
        </p15:guide>
        <p15:guide id="6" pos="211">
          <p15:clr>
            <a:srgbClr val="FBAE40"/>
          </p15:clr>
        </p15:guide>
        <p15:guide id="7" pos="7106">
          <p15:clr>
            <a:srgbClr val="FBAE40"/>
          </p15:clr>
        </p15:guide>
        <p15:guide id="8" pos="1663">
          <p15:clr>
            <a:srgbClr val="FBAE40"/>
          </p15:clr>
        </p15:guide>
        <p15:guide id="9" pos="2026">
          <p15:clr>
            <a:srgbClr val="FBAE40"/>
          </p15:clr>
        </p15:guide>
        <p15:guide id="10" pos="3477">
          <p15:clr>
            <a:srgbClr val="FBAE40"/>
          </p15:clr>
        </p15:guide>
        <p15:guide id="11" pos="3840">
          <p15:clr>
            <a:srgbClr val="FBAE40"/>
          </p15:clr>
        </p15:guide>
        <p15:guide id="12" pos="5292">
          <p15:clr>
            <a:srgbClr val="FBAE40"/>
          </p15:clr>
        </p15:guide>
        <p15:guide id="13" pos="5654">
          <p15:clr>
            <a:srgbClr val="FBAE40"/>
          </p15:clr>
        </p15:guide>
      </p15:sldGuideLst>
    </p:ext>
  </p:extLs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 &amp;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CFC5BD26-56E4-1232-6B4F-DBDF4BA2D9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5200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C5BD26-56E4-1232-6B4F-DBDF4BA2D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0EA33E6C-B6EA-4396-A2D1-BF412B2609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1507B77C-0D2E-12CE-1939-1BE789001261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5" name="Picture 1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35360" y="1484883"/>
            <a:ext cx="2304000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Content 1">
            <a:extLst>
              <a:ext uri="{FF2B5EF4-FFF2-40B4-BE49-F238E27FC236}">
                <a16:creationId xmlns:a16="http://schemas.microsoft.com/office/drawing/2014/main" id="{06A67EB1-7EE7-45D3-A94D-6EA201E90CF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35616" y="3789039"/>
            <a:ext cx="2304000" cy="2303785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  <a:endParaRPr lang="en-US" dirty="0"/>
          </a:p>
        </p:txBody>
      </p:sp>
      <p:sp>
        <p:nvSpPr>
          <p:cNvPr id="9" name="Picture 2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215936" y="1484556"/>
            <a:ext cx="2304000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2" name="Content 2">
            <a:extLst>
              <a:ext uri="{FF2B5EF4-FFF2-40B4-BE49-F238E27FC236}">
                <a16:creationId xmlns:a16="http://schemas.microsoft.com/office/drawing/2014/main" id="{C35DD715-4BC4-4F30-A849-B8E23CA41DB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215680" y="3789239"/>
            <a:ext cx="2304000" cy="2303586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  <a:endParaRPr lang="en-US" dirty="0"/>
          </a:p>
        </p:txBody>
      </p:sp>
      <p:sp>
        <p:nvSpPr>
          <p:cNvPr id="10" name="Picture 3">
            <a:extLst>
              <a:ext uri="{FF2B5EF4-FFF2-40B4-BE49-F238E27FC236}">
                <a16:creationId xmlns:a16="http://schemas.microsoft.com/office/drawing/2014/main" id="{13F83B90-1053-4BAE-A04B-E97DF0BCFAD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096000" y="1484556"/>
            <a:ext cx="2304000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3" name="Content 3">
            <a:extLst>
              <a:ext uri="{FF2B5EF4-FFF2-40B4-BE49-F238E27FC236}">
                <a16:creationId xmlns:a16="http://schemas.microsoft.com/office/drawing/2014/main" id="{312C35B1-615F-427F-BBA3-DA904C08CA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096000" y="3789437"/>
            <a:ext cx="2304000" cy="2303387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  <a:endParaRPr lang="en-US" sz="1600" dirty="0"/>
          </a:p>
        </p:txBody>
      </p:sp>
      <p:sp>
        <p:nvSpPr>
          <p:cNvPr id="15" name="Picture 4">
            <a:extLst>
              <a:ext uri="{FF2B5EF4-FFF2-40B4-BE49-F238E27FC236}">
                <a16:creationId xmlns:a16="http://schemas.microsoft.com/office/drawing/2014/main" id="{66D73E2B-B33B-41C2-A349-344B52ABB4F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8976320" y="1484556"/>
            <a:ext cx="2304000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6" name="Content 4">
            <a:extLst>
              <a:ext uri="{FF2B5EF4-FFF2-40B4-BE49-F238E27FC236}">
                <a16:creationId xmlns:a16="http://schemas.microsoft.com/office/drawing/2014/main" id="{6CA8DE4A-220D-4F9A-90B4-B0BB300CB3D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8976320" y="3789437"/>
            <a:ext cx="2304000" cy="2303387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  <a:endParaRPr lang="en-US" dirty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E647764-8CCE-C554-1F25-EEEE0F5D96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>
            <a:lvl1pPr rtl="0">
              <a:defRPr/>
            </a:lvl1pPr>
          </a:lstStyle>
          <a:p>
            <a:fld id="{974118DD-53CC-4B59-B461-BE93352D0430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488AB02-059F-77D0-CA70-E32FA49AB6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EE24804-CB38-11A2-FCB9-F55C4EE010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1595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4" orient="horz" pos="2387">
          <p15:clr>
            <a:srgbClr val="FBAE40"/>
          </p15:clr>
        </p15:guide>
        <p15:guide id="5" orient="horz" pos="3838">
          <p15:clr>
            <a:srgbClr val="FBAE40"/>
          </p15:clr>
        </p15:guide>
        <p15:guide id="6" pos="211">
          <p15:clr>
            <a:srgbClr val="FBAE40"/>
          </p15:clr>
        </p15:guide>
        <p15:guide id="7" pos="7106">
          <p15:clr>
            <a:srgbClr val="FBAE40"/>
          </p15:clr>
        </p15:guide>
        <p15:guide id="8" pos="1663">
          <p15:clr>
            <a:srgbClr val="FBAE40"/>
          </p15:clr>
        </p15:guide>
        <p15:guide id="9" orient="horz" pos="2205">
          <p15:clr>
            <a:srgbClr val="FBAE40"/>
          </p15:clr>
        </p15:guide>
        <p15:guide id="10" pos="2026">
          <p15:clr>
            <a:srgbClr val="FBAE40"/>
          </p15:clr>
        </p15:guide>
        <p15:guide id="11" pos="3477">
          <p15:clr>
            <a:srgbClr val="FBAE40"/>
          </p15:clr>
        </p15:guide>
        <p15:guide id="12" pos="3840">
          <p15:clr>
            <a:srgbClr val="FBAE40"/>
          </p15:clr>
        </p15:guide>
        <p15:guide id="13" pos="5292">
          <p15:clr>
            <a:srgbClr val="FBAE40"/>
          </p15:clr>
        </p15:guide>
        <p15:guide id="14" pos="5654">
          <p15:clr>
            <a:srgbClr val="FBAE40"/>
          </p15:clr>
        </p15:guide>
      </p15:sldGuideLst>
    </p:ext>
  </p:extLs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 &amp; contents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C627E474-AC11-AA4A-2BF4-794D392ED1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729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27E474-AC11-AA4A-2BF4-794D392ED1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0EA33E6C-B6EA-4396-A2D1-BF412B2609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8C3CA226-0D3A-7FCE-3A80-9AA57B3A41C9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5" name="Picture 1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35360" y="1485111"/>
            <a:ext cx="2304312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Content 1">
            <a:extLst>
              <a:ext uri="{FF2B5EF4-FFF2-40B4-BE49-F238E27FC236}">
                <a16:creationId xmlns:a16="http://schemas.microsoft.com/office/drawing/2014/main" id="{06A67EB1-7EE7-45D3-A94D-6EA201E90CF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2927648" y="1484784"/>
            <a:ext cx="2592090" cy="201572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  <a:endParaRPr lang="en-US" dirty="0"/>
          </a:p>
        </p:txBody>
      </p:sp>
      <p:sp>
        <p:nvSpPr>
          <p:cNvPr id="9" name="Picture 2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35360" y="4077072"/>
            <a:ext cx="2304312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2" name="Content 2">
            <a:extLst>
              <a:ext uri="{FF2B5EF4-FFF2-40B4-BE49-F238E27FC236}">
                <a16:creationId xmlns:a16="http://schemas.microsoft.com/office/drawing/2014/main" id="{C35DD715-4BC4-4F30-A849-B8E23CA41DB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2927936" y="4077273"/>
            <a:ext cx="2592000" cy="201572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  <a:endParaRPr lang="en-US" dirty="0"/>
          </a:p>
        </p:txBody>
      </p:sp>
      <p:sp>
        <p:nvSpPr>
          <p:cNvPr id="10" name="Picture3">
            <a:extLst>
              <a:ext uri="{FF2B5EF4-FFF2-40B4-BE49-F238E27FC236}">
                <a16:creationId xmlns:a16="http://schemas.microsoft.com/office/drawing/2014/main" id="{13F83B90-1053-4BAE-A04B-E97DF0BCFAD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096000" y="1484784"/>
            <a:ext cx="2304312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3" name="Content 3">
            <a:extLst>
              <a:ext uri="{FF2B5EF4-FFF2-40B4-BE49-F238E27FC236}">
                <a16:creationId xmlns:a16="http://schemas.microsoft.com/office/drawing/2014/main" id="{312C35B1-615F-427F-BBA3-DA904C08CA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688576" y="1484784"/>
            <a:ext cx="2592000" cy="201572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  <a:endParaRPr lang="en-US" dirty="0"/>
          </a:p>
        </p:txBody>
      </p:sp>
      <p:sp>
        <p:nvSpPr>
          <p:cNvPr id="15" name="Picture 4">
            <a:extLst>
              <a:ext uri="{FF2B5EF4-FFF2-40B4-BE49-F238E27FC236}">
                <a16:creationId xmlns:a16="http://schemas.microsoft.com/office/drawing/2014/main" id="{66D73E2B-B33B-41C2-A349-344B52ABB4F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096000" y="4089172"/>
            <a:ext cx="2304312" cy="2016125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6" name="Content 4">
            <a:extLst>
              <a:ext uri="{FF2B5EF4-FFF2-40B4-BE49-F238E27FC236}">
                <a16:creationId xmlns:a16="http://schemas.microsoft.com/office/drawing/2014/main" id="{6CA8DE4A-220D-4F9A-90B4-B0BB300CB3D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8688576" y="4077072"/>
            <a:ext cx="2592000" cy="201572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  <a:endParaRPr lang="en-US" dirty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0800896-A343-85C0-41B8-D38B9CF988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>
            <a:lvl1pPr rtl="0">
              <a:defRPr/>
            </a:lvl1pPr>
          </a:lstStyle>
          <a:p>
            <a:fld id="{6FCDF597-C84A-4D1D-BE20-65C297D7131C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6CD4FCA-BFF1-7819-C4DB-F0B56CE7FA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9EF8F54-B891-4074-416C-767E36E5FE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4717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211">
          <p15:clr>
            <a:srgbClr val="FBAE40"/>
          </p15:clr>
        </p15:guide>
        <p15:guide id="5" pos="7106">
          <p15:clr>
            <a:srgbClr val="FBAE40"/>
          </p15:clr>
        </p15:guide>
        <p15:guide id="6" orient="horz" pos="2205">
          <p15:clr>
            <a:srgbClr val="FBAE40"/>
          </p15:clr>
        </p15:guide>
        <p15:guide id="7" orient="horz" pos="2568">
          <p15:clr>
            <a:srgbClr val="FBAE40"/>
          </p15:clr>
        </p15:guide>
        <p15:guide id="8" orient="horz" pos="3838">
          <p15:clr>
            <a:srgbClr val="FBAE40"/>
          </p15:clr>
        </p15:guide>
        <p15:guide id="9" pos="3477">
          <p15:clr>
            <a:srgbClr val="FBAE40"/>
          </p15:clr>
        </p15:guide>
        <p15:guide id="10" pos="3840">
          <p15:clr>
            <a:srgbClr val="FBAE40"/>
          </p15:clr>
        </p15:guide>
      </p15:sldGuideLst>
    </p:ext>
  </p:extLs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Diagrams &amp;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BAB1BE1-ACAC-4AE1-6241-6A28C22449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5627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AB1BE1-ACAC-4AE1-6241-6A28C22449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0EA33E6C-B6EA-4396-A2D1-BF412B2609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9249E29B-4214-E23A-46E7-5147331FCB39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8" name="Diagram 1">
            <a:extLst>
              <a:ext uri="{FF2B5EF4-FFF2-40B4-BE49-F238E27FC236}">
                <a16:creationId xmlns:a16="http://schemas.microsoft.com/office/drawing/2014/main" id="{3C03ED19-FCCA-4F93-A27B-CE2D505869A8}"/>
              </a:ext>
            </a:extLst>
          </p:cNvPr>
          <p:cNvSpPr>
            <a:spLocks noGrp="1"/>
          </p:cNvSpPr>
          <p:nvPr>
            <p:ph type="chart" sz="quarter" idx="28" hasCustomPrompt="1"/>
          </p:nvPr>
        </p:nvSpPr>
        <p:spPr bwMode="gray">
          <a:xfrm>
            <a:off x="335360" y="1486098"/>
            <a:ext cx="2304000" cy="201612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Content 1">
            <a:extLst>
              <a:ext uri="{FF2B5EF4-FFF2-40B4-BE49-F238E27FC236}">
                <a16:creationId xmlns:a16="http://schemas.microsoft.com/office/drawing/2014/main" id="{06A67EB1-7EE7-45D3-A94D-6EA201E90CF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35360" y="3789039"/>
            <a:ext cx="2304000" cy="230378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  <a:endParaRPr lang="en-US" dirty="0"/>
          </a:p>
        </p:txBody>
      </p:sp>
      <p:sp>
        <p:nvSpPr>
          <p:cNvPr id="17" name="Diagram 2">
            <a:extLst>
              <a:ext uri="{FF2B5EF4-FFF2-40B4-BE49-F238E27FC236}">
                <a16:creationId xmlns:a16="http://schemas.microsoft.com/office/drawing/2014/main" id="{D1A80D6A-DCC1-4500-888C-4F1A24AABF4F}"/>
              </a:ext>
            </a:extLst>
          </p:cNvPr>
          <p:cNvSpPr>
            <a:spLocks noGrp="1"/>
          </p:cNvSpPr>
          <p:nvPr>
            <p:ph type="chart" sz="quarter" idx="29" hasCustomPrompt="1"/>
          </p:nvPr>
        </p:nvSpPr>
        <p:spPr bwMode="gray">
          <a:xfrm>
            <a:off x="3215680" y="1485660"/>
            <a:ext cx="2304000" cy="201612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2" name="Content 2">
            <a:extLst>
              <a:ext uri="{FF2B5EF4-FFF2-40B4-BE49-F238E27FC236}">
                <a16:creationId xmlns:a16="http://schemas.microsoft.com/office/drawing/2014/main" id="{C35DD715-4BC4-4F30-A849-B8E23CA41DB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215680" y="3789040"/>
            <a:ext cx="2304000" cy="230378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  <a:endParaRPr lang="en-US" dirty="0"/>
          </a:p>
        </p:txBody>
      </p:sp>
      <p:sp>
        <p:nvSpPr>
          <p:cNvPr id="18" name="Diagram 3">
            <a:extLst>
              <a:ext uri="{FF2B5EF4-FFF2-40B4-BE49-F238E27FC236}">
                <a16:creationId xmlns:a16="http://schemas.microsoft.com/office/drawing/2014/main" id="{021B7AD0-D310-4069-ACD1-90BD901B155A}"/>
              </a:ext>
            </a:extLst>
          </p:cNvPr>
          <p:cNvSpPr>
            <a:spLocks noGrp="1"/>
          </p:cNvSpPr>
          <p:nvPr>
            <p:ph type="chart" sz="quarter" idx="30" hasCustomPrompt="1"/>
          </p:nvPr>
        </p:nvSpPr>
        <p:spPr bwMode="gray">
          <a:xfrm>
            <a:off x="6096000" y="1485222"/>
            <a:ext cx="2304000" cy="201612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3" name="Content 3">
            <a:extLst>
              <a:ext uri="{FF2B5EF4-FFF2-40B4-BE49-F238E27FC236}">
                <a16:creationId xmlns:a16="http://schemas.microsoft.com/office/drawing/2014/main" id="{312C35B1-615F-427F-BBA3-DA904C08CA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096168" y="3789040"/>
            <a:ext cx="2304000" cy="230378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  <a:endParaRPr lang="en-US" dirty="0"/>
          </a:p>
        </p:txBody>
      </p:sp>
      <p:sp>
        <p:nvSpPr>
          <p:cNvPr id="19" name="Diagram 5">
            <a:extLst>
              <a:ext uri="{FF2B5EF4-FFF2-40B4-BE49-F238E27FC236}">
                <a16:creationId xmlns:a16="http://schemas.microsoft.com/office/drawing/2014/main" id="{2857BF4C-3473-4E27-93FF-E487BE286E40}"/>
              </a:ext>
            </a:extLst>
          </p:cNvPr>
          <p:cNvSpPr>
            <a:spLocks noGrp="1"/>
          </p:cNvSpPr>
          <p:nvPr>
            <p:ph type="chart" sz="quarter" idx="31" hasCustomPrompt="1"/>
          </p:nvPr>
        </p:nvSpPr>
        <p:spPr bwMode="gray">
          <a:xfrm>
            <a:off x="8976576" y="1484784"/>
            <a:ext cx="2304000" cy="201612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6" name="Content 4">
            <a:extLst>
              <a:ext uri="{FF2B5EF4-FFF2-40B4-BE49-F238E27FC236}">
                <a16:creationId xmlns:a16="http://schemas.microsoft.com/office/drawing/2014/main" id="{6CA8DE4A-220D-4F9A-90B4-B0BB300CB3D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8976576" y="3789040"/>
            <a:ext cx="2304000" cy="230378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  <a:endParaRPr lang="en-US" dirty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AD73A62-5F93-5692-4019-B4CB93AE59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DAD5CD45-0FD2-46DF-8449-7526BC8224B8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AEF68D-D7DA-91EF-710C-3A139E3935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964B93-1B38-7930-9F7E-426900F171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4843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3" orient="horz" pos="2205">
          <p15:clr>
            <a:srgbClr val="FBAE40"/>
          </p15:clr>
        </p15:guide>
        <p15:guide id="4" orient="horz" pos="2387">
          <p15:clr>
            <a:srgbClr val="FBAE40"/>
          </p15:clr>
        </p15:guide>
        <p15:guide id="5" orient="horz" pos="3838">
          <p15:clr>
            <a:srgbClr val="FBAE40"/>
          </p15:clr>
        </p15:guide>
        <p15:guide id="6" pos="211">
          <p15:clr>
            <a:srgbClr val="FBAE40"/>
          </p15:clr>
        </p15:guide>
        <p15:guide id="7" pos="7106">
          <p15:clr>
            <a:srgbClr val="FBAE40"/>
          </p15:clr>
        </p15:guide>
        <p15:guide id="8" pos="1663">
          <p15:clr>
            <a:srgbClr val="FBAE40"/>
          </p15:clr>
        </p15:guide>
        <p15:guide id="9" pos="2026">
          <p15:clr>
            <a:srgbClr val="FBAE40"/>
          </p15:clr>
        </p15:guide>
        <p15:guide id="10" pos="3477">
          <p15:clr>
            <a:srgbClr val="FBAE40"/>
          </p15:clr>
        </p15:guide>
        <p15:guide id="11" pos="3840">
          <p15:clr>
            <a:srgbClr val="FBAE40"/>
          </p15:clr>
        </p15:guide>
        <p15:guide id="12" pos="5292">
          <p15:clr>
            <a:srgbClr val="FBAE40"/>
          </p15:clr>
        </p15:guide>
        <p15:guide id="13" pos="5654">
          <p15:clr>
            <a:srgbClr val="FBAE40"/>
          </p15:clr>
        </p15:guide>
      </p15:sldGuideLst>
    </p:ext>
  </p:extLs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6CED637-3658-5C33-C734-D08C40FB6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4065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CED637-3658-5C33-C734-D08C40FB6E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B323AA85-A1CF-4FE7-8932-7304C7420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C5A673E7-146B-0F2F-21E1-617457FA7BA1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5360" y="2061045"/>
            <a:ext cx="5184378" cy="4032251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 hasCustomPrompt="1"/>
          </p:nvPr>
        </p:nvSpPr>
        <p:spPr bwMode="gray">
          <a:xfrm>
            <a:off x="6094935" y="2061045"/>
            <a:ext cx="5184378" cy="4032251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8" y="6525000"/>
            <a:ext cx="9143999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6D14CB0-8393-5DC6-F9B0-16524D8197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rtl="0">
              <a:defRPr/>
            </a:lvl1pPr>
          </a:lstStyle>
          <a:p>
            <a:fld id="{76B7B76E-9108-4227-8B92-7446D43FB2B7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8C971C8-8A05-00F1-F73B-B86674EA52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80422B2-3883-8096-897A-4E9981BBD9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9602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2" pos="3840">
          <p15:clr>
            <a:srgbClr val="FBAE40"/>
          </p15:clr>
        </p15:guide>
        <p15:guide id="3" pos="3477">
          <p15:clr>
            <a:srgbClr val="FBAE40"/>
          </p15:clr>
        </p15:guide>
        <p15:guide id="4" pos="7106">
          <p15:clr>
            <a:srgbClr val="FBAE40"/>
          </p15:clr>
        </p15:guide>
        <p15:guide id="5" pos="211">
          <p15:clr>
            <a:srgbClr val="FBAE40"/>
          </p15:clr>
        </p15:guide>
        <p15:guide id="6" orient="horz" pos="3838">
          <p15:clr>
            <a:srgbClr val="FBAE40"/>
          </p15:clr>
        </p15:guide>
      </p15:sldGuideLst>
    </p:ext>
  </p:extLs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5629EEA-D2EA-1EDF-0A5E-89F37333DE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25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629EEA-D2EA-1EDF-0A5E-89F37333D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FCA3E486-0EBD-4776-BA1F-112C5185C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C0EA9C1E-5D6B-17C9-7981-2D7528C3C02A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5360" y="2061045"/>
            <a:ext cx="3456000" cy="4032251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 hasCustomPrompt="1"/>
          </p:nvPr>
        </p:nvSpPr>
        <p:spPr bwMode="gray">
          <a:xfrm>
            <a:off x="4368192" y="2061045"/>
            <a:ext cx="3456000" cy="4032251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8400256" y="2061045"/>
            <a:ext cx="3456000" cy="4032251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12" name="Source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C3FE5F1-47BB-D5FE-BA8D-1A7CA9233C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0D2BE7B7-863E-4694-A1A2-4615C808F717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FA3B5FF-F94F-B68A-7BB4-B7A715EFF2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94CF1FC-3864-67F0-6544-6A9113A4C4A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1064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2" pos="211">
          <p15:clr>
            <a:srgbClr val="FBAE40"/>
          </p15:clr>
        </p15:guide>
        <p15:guide id="3" pos="2751">
          <p15:clr>
            <a:srgbClr val="FBAE40"/>
          </p15:clr>
        </p15:guide>
        <p15:guide id="4" pos="2389">
          <p15:clr>
            <a:srgbClr val="FBAE40"/>
          </p15:clr>
        </p15:guide>
        <p15:guide id="5" pos="5292">
          <p15:clr>
            <a:srgbClr val="FBAE40"/>
          </p15:clr>
        </p15:guide>
        <p15:guide id="6" pos="4929">
          <p15:clr>
            <a:srgbClr val="FBAE40"/>
          </p15:clr>
        </p15:guide>
        <p15:guide id="7" pos="7469">
          <p15:clr>
            <a:srgbClr val="FBAE40"/>
          </p15:clr>
        </p15:guide>
        <p15:guide id="8" orient="horz" pos="3838">
          <p15:clr>
            <a:srgbClr val="FBAE40"/>
          </p15:clr>
        </p15:guide>
      </p15:sldGuideLst>
    </p:ext>
  </p:extLs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64E26C9-E838-D932-C34D-B3EE88FCD6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8852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4E26C9-E838-D932-C34D-B3EE88FCD6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9C3F806D-AD62-4FAF-ACF7-4E654593A0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71ECE885-C792-1197-23E7-87F3EA82962F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5360" y="2061045"/>
            <a:ext cx="2304000" cy="403225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 hasCustomPrompt="1"/>
          </p:nvPr>
        </p:nvSpPr>
        <p:spPr bwMode="gray">
          <a:xfrm>
            <a:off x="3215680" y="2061046"/>
            <a:ext cx="2304000" cy="403225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096000" y="2061046"/>
            <a:ext cx="2304000" cy="4032249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76576" y="2061046"/>
            <a:ext cx="2304000" cy="403225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12" name="Source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E393A0D-4EED-300B-CF2D-381E4CDFC0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 rtl="0">
              <a:defRPr/>
            </a:lvl1pPr>
          </a:lstStyle>
          <a:p>
            <a:fld id="{F684B13E-4096-4489-96A6-EDDAB9EC1802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D2C5886-1FC3-743A-7B19-09B60A2E70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9455AF0-9100-7C20-4C99-B5582D5834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3698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2" pos="211">
          <p15:clr>
            <a:srgbClr val="FBAE40"/>
          </p15:clr>
        </p15:guide>
        <p15:guide id="3" pos="7106">
          <p15:clr>
            <a:srgbClr val="FBAE40"/>
          </p15:clr>
        </p15:guide>
        <p15:guide id="4" orient="horz" pos="3838">
          <p15:clr>
            <a:srgbClr val="FBAE40"/>
          </p15:clr>
        </p15:guide>
        <p15:guide id="5" pos="5654">
          <p15:clr>
            <a:srgbClr val="FBAE40"/>
          </p15:clr>
        </p15:guide>
        <p15:guide id="6" pos="5292">
          <p15:clr>
            <a:srgbClr val="FBAE40"/>
          </p15:clr>
        </p15:guide>
        <p15:guide id="7" pos="3840">
          <p15:clr>
            <a:srgbClr val="FBAE40"/>
          </p15:clr>
        </p15:guide>
        <p15:guide id="8" pos="3477">
          <p15:clr>
            <a:srgbClr val="FBAE40"/>
          </p15:clr>
        </p15:guide>
        <p15:guide id="9" pos="2026">
          <p15:clr>
            <a:srgbClr val="FBAE40"/>
          </p15:clr>
        </p15:guide>
        <p15:guide id="10" pos="1663">
          <p15:clr>
            <a:srgbClr val="FBAE40"/>
          </p15:clr>
        </p15:guide>
      </p15:sldGuideLst>
    </p:ext>
  </p:extLs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1D3282C-575C-A046-E1F8-5BC1C183F3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4480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D3282C-575C-A046-E1F8-5BC1C183F3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456C613C-8B12-41CF-B6EE-ED0A598357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C39EBC16-06C0-C9BF-3775-6257BE716204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5360" y="1484784"/>
            <a:ext cx="5184378" cy="201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 hasCustomPrompt="1"/>
          </p:nvPr>
        </p:nvSpPr>
        <p:spPr bwMode="gray">
          <a:xfrm>
            <a:off x="6095999" y="1484785"/>
            <a:ext cx="5184775" cy="201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335360" y="4077073"/>
            <a:ext cx="5184378" cy="201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095999" y="4077072"/>
            <a:ext cx="5184775" cy="201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  <a:endParaRPr lang="en-US" dirty="0"/>
          </a:p>
        </p:txBody>
      </p:sp>
      <p:sp>
        <p:nvSpPr>
          <p:cNvPr id="12" name="Source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487488" y="6525000"/>
            <a:ext cx="9144512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9662A98-E78E-B372-BD2D-55903C8F02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 rtl="0">
              <a:defRPr/>
            </a:lvl1pPr>
          </a:lstStyle>
          <a:p>
            <a:fld id="{B6BB87FB-332F-474C-AFF2-0DFD16422F69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20C0625-3AC3-CF81-145A-854DCB935E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82B4419-65DF-2B9C-E379-BD3D2DA807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046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2" pos="211">
          <p15:clr>
            <a:srgbClr val="FBAE40"/>
          </p15:clr>
        </p15:guide>
        <p15:guide id="3" pos="3840">
          <p15:clr>
            <a:srgbClr val="FBAE40"/>
          </p15:clr>
        </p15:guide>
        <p15:guide id="4" pos="3477">
          <p15:clr>
            <a:srgbClr val="FBAE40"/>
          </p15:clr>
        </p15:guide>
        <p15:guide id="5" pos="7106">
          <p15:clr>
            <a:srgbClr val="FBAE40"/>
          </p15:clr>
        </p15:guide>
        <p15:guide id="6" orient="horz" pos="3838">
          <p15:clr>
            <a:srgbClr val="FBAE40"/>
          </p15:clr>
        </p15:guide>
      </p15:sldGuideLst>
    </p:ext>
  </p:extLs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harts and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A4C8EA58-6235-F5D6-B636-98186AF80C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4959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C8EA58-6235-F5D6-B636-98186AF80C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F814CA5C-4F72-4D7A-9378-F25AAE1E19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446639C3-1ED9-85F5-C8DE-074963D1BDE1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3" name="Diagram"/>
          <p:cNvSpPr>
            <a:spLocks noGrp="1"/>
          </p:cNvSpPr>
          <p:nvPr>
            <p:ph idx="1" hasCustomPrompt="1"/>
          </p:nvPr>
        </p:nvSpPr>
        <p:spPr bwMode="gray">
          <a:xfrm>
            <a:off x="335360" y="2060848"/>
            <a:ext cx="11521678" cy="4032251"/>
          </a:xfrm>
          <a:prstGeom prst="rect">
            <a:avLst/>
          </a:prstGeom>
        </p:spPr>
        <p:txBody>
          <a:bodyPr anchor="t"/>
          <a:lstStyle>
            <a:lvl1pPr marL="0" indent="0" algn="ctr" rtl="0">
              <a:spcBef>
                <a:spcPts val="1000"/>
              </a:spcBef>
              <a:buNone/>
              <a:defRPr sz="1600" baseline="0"/>
            </a:lvl1pPr>
            <a:lvl2pPr marL="0" indent="0">
              <a:spcBef>
                <a:spcPts val="1000"/>
              </a:spcBef>
              <a:buNone/>
              <a:defRPr sz="2800"/>
            </a:lvl2pPr>
            <a:lvl3pPr marL="0" indent="0">
              <a:spcBef>
                <a:spcPts val="1000"/>
              </a:spcBef>
              <a:buNone/>
              <a:defRPr sz="2800"/>
            </a:lvl3pPr>
            <a:lvl4pPr>
              <a:spcBef>
                <a:spcPts val="1000"/>
              </a:spcBef>
              <a:buNone/>
              <a:defRPr sz="2800"/>
            </a:lvl4pPr>
            <a:lvl5pPr marL="0" indent="0">
              <a:spcBef>
                <a:spcPts val="1000"/>
              </a:spcBef>
              <a:buNone/>
              <a:defRPr sz="2800"/>
            </a:lvl5pPr>
          </a:lstStyle>
          <a:p>
            <a:pPr lvl="0"/>
            <a:r>
              <a:rPr lang="en-US"/>
              <a:t>Use this layout for large charts and tables only. Please, do not use with text.</a:t>
            </a:r>
            <a:endParaRPr lang="en-US" dirty="0"/>
          </a:p>
        </p:txBody>
      </p:sp>
      <p:sp>
        <p:nvSpPr>
          <p:cNvPr id="9" name="Source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479BDE-F217-1606-121A-A2C6BD914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42C48769-5C1A-4A8F-86DE-10B479FE779E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189551-0F6F-E8BD-F9C9-6A15D13C0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42622DE-33D2-2BA8-3111-512A69FAFF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3682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69">
          <p15:clr>
            <a:srgbClr val="FBAE40"/>
          </p15:clr>
        </p15:guide>
        <p15:guide id="4" orient="horz" pos="1298">
          <p15:clr>
            <a:srgbClr val="FBAE40"/>
          </p15:clr>
        </p15:guide>
        <p15:guide id="5" orient="horz" pos="3838">
          <p15:clr>
            <a:srgbClr val="FBAE40"/>
          </p15:clr>
        </p15:guide>
        <p15:guide id="6" pos="211">
          <p15:clr>
            <a:srgbClr val="FBAE40"/>
          </p15:clr>
        </p15:guide>
      </p15:sldGuideLst>
    </p:ext>
  </p:extLs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105E46-F242-3710-6602-859E08D424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0419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105E46-F242-3710-6602-859E08D424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">
            <a:extLst>
              <a:ext uri="{FF2B5EF4-FFF2-40B4-BE49-F238E27FC236}">
                <a16:creationId xmlns:a16="http://schemas.microsoft.com/office/drawing/2014/main" id="{2EA34D9C-A1E3-4B38-B976-FAFB7D8CCE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0A62B5BA-2EEF-E0A9-4BC5-30A5B752A08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4" name="Diagram"/>
          <p:cNvSpPr>
            <a:spLocks noGrp="1"/>
          </p:cNvSpPr>
          <p:nvPr>
            <p:ph type="chart" sz="quarter" idx="17" hasCustomPrompt="1"/>
          </p:nvPr>
        </p:nvSpPr>
        <p:spPr bwMode="gray">
          <a:xfrm>
            <a:off x="334963" y="2060574"/>
            <a:ext cx="8066087" cy="4032721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Click to add chart</a:t>
            </a:r>
            <a:endParaRPr lang="en-US" dirty="0"/>
          </a:p>
        </p:txBody>
      </p:sp>
      <p:sp>
        <p:nvSpPr>
          <p:cNvPr id="16" name="Content">
            <a:extLst>
              <a:ext uri="{FF2B5EF4-FFF2-40B4-BE49-F238E27FC236}">
                <a16:creationId xmlns:a16="http://schemas.microsoft.com/office/drawing/2014/main" id="{70876C6A-FD31-474D-BB56-8DECA6A84BA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76320" y="2060848"/>
            <a:ext cx="2880320" cy="40322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6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9" y="6525000"/>
            <a:ext cx="9144000" cy="144000"/>
          </a:xfrm>
          <a:prstGeom prst="rect">
            <a:avLst/>
          </a:prstGeom>
          <a:noFill/>
        </p:spPr>
        <p:txBody>
          <a:bodyPr lIns="0" tIns="0" rIns="0" bIns="0" anchor="b"/>
          <a:lstStyle>
            <a:lvl1pPr marL="0" indent="0" rtl="0">
              <a:spcBef>
                <a:spcPts val="0"/>
              </a:spcBef>
              <a:buNone/>
              <a:defRPr sz="900" b="0"/>
            </a:lvl1pPr>
            <a:lvl2pPr marL="0" indent="0">
              <a:spcBef>
                <a:spcPts val="0"/>
              </a:spcBef>
              <a:buNone/>
              <a:defRPr sz="900" b="0"/>
            </a:lvl2pPr>
            <a:lvl3pPr marL="0" indent="0">
              <a:spcBef>
                <a:spcPts val="0"/>
              </a:spcBef>
              <a:buNone/>
              <a:defRPr sz="900" b="0"/>
            </a:lvl3pPr>
            <a:lvl4pPr marL="0" indent="0">
              <a:spcBef>
                <a:spcPts val="0"/>
              </a:spcBef>
              <a:buNone/>
              <a:defRPr sz="900" b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7D307C5-EE03-0779-BFEF-56A6B769D8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rtl="0">
              <a:defRPr/>
            </a:lvl1pPr>
          </a:lstStyle>
          <a:p>
            <a:fld id="{95431DBC-942B-41A8-B090-7F61C4B1A8FC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4A7B9E-E8C1-359E-C3A0-1C8E8BA065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BDC71E9-3DB5-FCE0-6BD3-1C4C4AAF0E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6526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92">
          <p15:clr>
            <a:srgbClr val="FBAE40"/>
          </p15:clr>
        </p15:guide>
        <p15:guide id="2" pos="7469">
          <p15:clr>
            <a:srgbClr val="FBAE40"/>
          </p15:clr>
        </p15:guide>
        <p15:guide id="3" orient="horz" pos="1298">
          <p15:clr>
            <a:srgbClr val="FBAE40"/>
          </p15:clr>
        </p15:guide>
        <p15:guide id="4" orient="horz" pos="3838">
          <p15:clr>
            <a:srgbClr val="FBAE40"/>
          </p15:clr>
        </p15:guide>
        <p15:guide id="5" pos="4929">
          <p15:clr>
            <a:srgbClr val="FBAE40"/>
          </p15:clr>
        </p15:guide>
        <p15:guide id="6" pos="211">
          <p15:clr>
            <a:srgbClr val="FBAE40"/>
          </p15:clr>
        </p15:guide>
      </p15:sldGuideLst>
    </p:ext>
  </p:extLs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teboo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5FD40EE-E78D-DB68-1E9F-D07C9B800E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5086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FD40EE-E78D-DB68-1E9F-D07C9B800E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">
            <a:extLst>
              <a:ext uri="{FF2B5EF4-FFF2-40B4-BE49-F238E27FC236}">
                <a16:creationId xmlns:a16="http://schemas.microsoft.com/office/drawing/2014/main" id="{688D30AF-522D-4245-9284-58DA1A6605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CAE8C20D-BB63-92BE-C96C-53725E5FB955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18" name="Shape">
            <a:extLst>
              <a:ext uri="{FF2B5EF4-FFF2-40B4-BE49-F238E27FC236}">
                <a16:creationId xmlns:a16="http://schemas.microsoft.com/office/drawing/2014/main" id="{BD5F0027-250B-42F2-867F-9FED18931B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5088000" y="1916750"/>
            <a:ext cx="5976000" cy="3888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pic>
        <p:nvPicPr>
          <p:cNvPr id="10" name="Shape">
            <a:extLst>
              <a:ext uri="{FF2B5EF4-FFF2-40B4-BE49-F238E27FC236}">
                <a16:creationId xmlns:a16="http://schemas.microsoft.com/office/drawing/2014/main" id="{5A4FDBA1-5706-4639-9AF6-B0075997EF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936001" y="1844674"/>
            <a:ext cx="8256000" cy="43279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5360" y="2060848"/>
            <a:ext cx="3456384" cy="4032448"/>
          </a:xfrm>
          <a:prstGeom prst="rect">
            <a:avLst/>
          </a:prstGeom>
        </p:spPr>
        <p:txBody>
          <a:bodyPr anchor="t"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200"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75B90C02-6FB2-69C6-D072-E90145B78B6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143500" y="1955800"/>
            <a:ext cx="5842000" cy="3771900"/>
          </a:xfrm>
          <a:prstGeom prst="roundRect">
            <a:avLst>
              <a:gd name="adj" fmla="val 2189"/>
            </a:avLst>
          </a:prstGeo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122615C-9513-149B-3B45-34427170F1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rtl="0">
              <a:defRPr/>
            </a:lvl1pPr>
          </a:lstStyle>
          <a:p>
            <a:fld id="{31B87165-8FD0-4FF7-8801-73C8974B39F2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BB78F0-6262-A1CD-04B6-57A492E5C3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34E15A0-F9D0-075D-A080-D8EED1F791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70311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323AA85-A1CF-4FE7-8932-7304C7420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C5A673E7-146B-0F2F-21E1-617457FA7BA1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5360" y="2061045"/>
            <a:ext cx="5184378" cy="40322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 hasCustomPrompt="1"/>
          </p:nvPr>
        </p:nvSpPr>
        <p:spPr bwMode="gray">
          <a:xfrm>
            <a:off x="6094935" y="2061045"/>
            <a:ext cx="5184378" cy="40322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11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8" y="6525000"/>
            <a:ext cx="9143999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6D14CB0-8393-5DC6-F9B0-16524D8197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1D6B0493-CE82-4E89-BD90-C556503B063F}" type="datetime1">
              <a:rPr lang="en-GB" smtClean="0"/>
              <a:t>12/02/2026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8C971C8-8A05-00F1-F73B-B86674EA52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80422B2-3883-8096-897A-4E9981BBD9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2591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2" pos="3840">
          <p15:clr>
            <a:srgbClr val="FBAE40"/>
          </p15:clr>
        </p15:guide>
        <p15:guide id="3" pos="3477">
          <p15:clr>
            <a:srgbClr val="FBAE40"/>
          </p15:clr>
        </p15:guide>
        <p15:guide id="4" pos="7106">
          <p15:clr>
            <a:srgbClr val="FBAE40"/>
          </p15:clr>
        </p15:guide>
        <p15:guide id="5" pos="211">
          <p15:clr>
            <a:srgbClr val="FBAE40"/>
          </p15:clr>
        </p15:guide>
        <p15:guide id="6" orient="horz" pos="3838">
          <p15:clr>
            <a:srgbClr val="FBAE40"/>
          </p15:clr>
        </p15:guide>
      </p15:sldGuideLst>
    </p:ext>
  </p:extLs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C242FC3-EF25-1A13-8310-C30473D297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4527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242FC3-EF25-1A13-8310-C30473D297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">
            <a:extLst>
              <a:ext uri="{FF2B5EF4-FFF2-40B4-BE49-F238E27FC236}">
                <a16:creationId xmlns:a16="http://schemas.microsoft.com/office/drawing/2014/main" id="{F65E210A-EEA7-42E8-8FF8-1EF5E4DDE9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A9FFCAD9-833D-6C62-123D-358843C82731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5360" y="2060847"/>
            <a:ext cx="3456384" cy="4032449"/>
          </a:xfrm>
          <a:prstGeom prst="rect">
            <a:avLst/>
          </a:prstGeom>
        </p:spPr>
        <p:txBody>
          <a:bodyPr anchor="t"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200"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9C3A763B-E2E0-485C-B3D0-6D8C1B4FC2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5040664" y="1927860"/>
            <a:ext cx="6033780" cy="4008120"/>
          </a:xfrm>
          <a:prstGeom prst="roundRect">
            <a:avLst>
              <a:gd name="adj" fmla="val 512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pic>
        <p:nvPicPr>
          <p:cNvPr id="10" name="Shape">
            <a:extLst>
              <a:ext uri="{FF2B5EF4-FFF2-40B4-BE49-F238E27FC236}">
                <a16:creationId xmlns:a16="http://schemas.microsoft.com/office/drawing/2014/main" id="{A69542B0-BEFE-488C-BB9A-7FA4648D38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67"/>
          <a:stretch/>
        </p:blipFill>
        <p:spPr bwMode="gray">
          <a:xfrm>
            <a:off x="3672664" y="1806037"/>
            <a:ext cx="8400000" cy="4575713"/>
          </a:xfrm>
          <a:prstGeom prst="rect">
            <a:avLst/>
          </a:prstGeom>
        </p:spPr>
      </p:pic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2DBAB34E-942D-A270-5D81-6FDC0D52802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081315" y="1962150"/>
            <a:ext cx="5935662" cy="3914774"/>
          </a:xfrm>
          <a:prstGeom prst="roundRect">
            <a:avLst>
              <a:gd name="adj" fmla="val 5313"/>
            </a:avLst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8" y="6525000"/>
            <a:ext cx="9144512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40CC73F-5665-9700-FCAF-843AFAF1FA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rtl="0">
              <a:defRPr/>
            </a:lvl1pPr>
          </a:lstStyle>
          <a:p>
            <a:fld id="{4EBF0C12-EB22-4238-85CF-49A01A986110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5803CE6-440C-770B-50B9-876CA14B74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D429126-2340-1DA9-9148-3A025A5EDE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47625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C8AEB5C-71AD-F865-51AD-4EB3ED85FF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938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8AEB5C-71AD-F865-51AD-4EB3ED85FF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">
            <a:extLst>
              <a:ext uri="{FF2B5EF4-FFF2-40B4-BE49-F238E27FC236}">
                <a16:creationId xmlns:a16="http://schemas.microsoft.com/office/drawing/2014/main" id="{AA7BA5C5-D7C9-4AD6-8D12-B312C46B26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548A329-08DC-1A62-ED68-B168E6AFF67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93C2BED1-C288-4362-A0E0-C779978ACA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7863840" y="1379220"/>
            <a:ext cx="2164080" cy="4549140"/>
          </a:xfrm>
          <a:prstGeom prst="roundRect">
            <a:avLst>
              <a:gd name="adj" fmla="val 1314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5360" y="2060847"/>
            <a:ext cx="6336704" cy="4032449"/>
          </a:xfrm>
          <a:prstGeom prst="rect">
            <a:avLst/>
          </a:prstGeom>
        </p:spPr>
        <p:txBody>
          <a:bodyPr anchor="t"/>
          <a:lstStyle>
            <a:lvl1pPr rtl="0">
              <a:lnSpc>
                <a:spcPct val="100000"/>
              </a:lnSpc>
              <a:defRPr sz="1600"/>
            </a:lvl1pPr>
            <a:lvl2pPr rtl="0">
              <a:lnSpc>
                <a:spcPct val="100000"/>
              </a:lnSpc>
              <a:defRPr sz="1600"/>
            </a:lvl2pPr>
            <a:lvl3pPr rtl="0">
              <a:lnSpc>
                <a:spcPct val="100000"/>
              </a:lnSpc>
              <a:defRPr sz="1600"/>
            </a:lvl3pPr>
            <a:lvl4pPr rtl="0">
              <a:lnSpc>
                <a:spcPct val="100000"/>
              </a:lnSpc>
              <a:defRPr sz="1600"/>
            </a:lvl4pPr>
            <a:lvl5pPr rtl="0">
              <a:lnSpc>
                <a:spcPct val="100000"/>
              </a:lnSpc>
              <a:defRPr sz="1200"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 sz="1600"/>
              <a:t>Insert your copy in Lato 16 pt or 12 pt here | Use the function “Increase List level” for text levels on Tab HO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US" dirty="0"/>
          </a:p>
        </p:txBody>
      </p:sp>
      <p:pic>
        <p:nvPicPr>
          <p:cNvPr id="18" name="Shape">
            <a:extLst>
              <a:ext uri="{FF2B5EF4-FFF2-40B4-BE49-F238E27FC236}">
                <a16:creationId xmlns:a16="http://schemas.microsoft.com/office/drawing/2014/main" id="{7F09AB9E-D3D1-4BF0-9135-508497D860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392000" y="1341438"/>
            <a:ext cx="3096000" cy="4787820"/>
          </a:xfrm>
          <a:prstGeom prst="rect">
            <a:avLst/>
          </a:prstGeom>
        </p:spPr>
      </p:pic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E73C628E-8916-9F81-2393-DF6AF23BC89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7909560" y="1432560"/>
            <a:ext cx="2057400" cy="4450080"/>
          </a:xfrm>
          <a:prstGeom prst="roundRect">
            <a:avLst>
              <a:gd name="adj" fmla="val 12964"/>
            </a:avLst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2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F342084-8763-7CB2-C48E-577922A572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rtl="0">
              <a:defRPr/>
            </a:lvl1pPr>
          </a:lstStyle>
          <a:p>
            <a:fld id="{75C6E30F-CA3B-47F7-9C41-F609F91733D0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30B3054-B34F-16AA-2CB1-C1061087E1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C1B9A6-3977-5939-01A3-CD2D975D24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39595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mart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F044DEC-536B-30CA-736D-789F287DE2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6206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044DEC-536B-30CA-736D-789F287DE2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">
            <a:extLst>
              <a:ext uri="{FF2B5EF4-FFF2-40B4-BE49-F238E27FC236}">
                <a16:creationId xmlns:a16="http://schemas.microsoft.com/office/drawing/2014/main" id="{AA7BA5C5-D7C9-4AD6-8D12-B312C46B26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3377423B-DA7A-9098-27EA-EFAEFF393980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93C2BED1-C288-4362-A0E0-C779978ACA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3327824" y="1379220"/>
            <a:ext cx="2164080" cy="4549140"/>
          </a:xfrm>
          <a:prstGeom prst="roundRect">
            <a:avLst>
              <a:gd name="adj" fmla="val 1314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pic>
        <p:nvPicPr>
          <p:cNvPr id="18" name="Shape">
            <a:extLst>
              <a:ext uri="{FF2B5EF4-FFF2-40B4-BE49-F238E27FC236}">
                <a16:creationId xmlns:a16="http://schemas.microsoft.com/office/drawing/2014/main" id="{7F09AB9E-D3D1-4BF0-9135-508497D860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855984" y="1341438"/>
            <a:ext cx="3096000" cy="4787820"/>
          </a:xfrm>
          <a:prstGeom prst="rect">
            <a:avLst/>
          </a:prstGeom>
        </p:spPr>
      </p:pic>
      <p:sp>
        <p:nvSpPr>
          <p:cNvPr id="13" name="Rechteck: abgerundete Ecken 19">
            <a:extLst>
              <a:ext uri="{FF2B5EF4-FFF2-40B4-BE49-F238E27FC236}">
                <a16:creationId xmlns:a16="http://schemas.microsoft.com/office/drawing/2014/main" id="{E9916D98-3C6E-F067-BDD5-1A4A849EF1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6711856" y="1379220"/>
            <a:ext cx="2164080" cy="4549140"/>
          </a:xfrm>
          <a:prstGeom prst="roundRect">
            <a:avLst>
              <a:gd name="adj" fmla="val 1314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pic>
        <p:nvPicPr>
          <p:cNvPr id="14" name="Shape">
            <a:extLst>
              <a:ext uri="{FF2B5EF4-FFF2-40B4-BE49-F238E27FC236}">
                <a16:creationId xmlns:a16="http://schemas.microsoft.com/office/drawing/2014/main" id="{7A9D731A-95B3-E07F-A903-A04AB7A419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40016" y="1341438"/>
            <a:ext cx="3096000" cy="4787820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EE61EFE-7948-B7E3-1B6D-06F4012902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 rtl="0">
              <a:defRPr/>
            </a:lvl1pPr>
          </a:lstStyle>
          <a:p>
            <a:fld id="{23966CE9-96F7-4583-AF5B-FC25CC6002BD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47F0D6-A5F3-F828-35B0-984A88ACE7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4A3E4BF-588B-BB9F-90D3-4527536C1C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181E81A8-4080-A097-4083-7DF221E5BAE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373544" y="1432560"/>
            <a:ext cx="2057400" cy="4450080"/>
          </a:xfrm>
          <a:prstGeom prst="roundRect">
            <a:avLst>
              <a:gd name="adj" fmla="val 12964"/>
            </a:avLst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364DE43C-8BE5-169D-9F07-4787DA11F2D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757576" y="1432560"/>
            <a:ext cx="2057400" cy="4450080"/>
          </a:xfrm>
          <a:prstGeom prst="roundRect">
            <a:avLst>
              <a:gd name="adj" fmla="val 12964"/>
            </a:avLst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2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18610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mart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FCE5AD8-6FF0-AB3E-E488-05F6E84600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464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CE5AD8-6FF0-AB3E-E488-05F6E8460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">
            <a:extLst>
              <a:ext uri="{FF2B5EF4-FFF2-40B4-BE49-F238E27FC236}">
                <a16:creationId xmlns:a16="http://schemas.microsoft.com/office/drawing/2014/main" id="{AA7BA5C5-D7C9-4AD6-8D12-B312C46B26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8730BF4F-4A62-6DBC-1C82-32EE9A88D0D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93C2BED1-C288-4362-A0E0-C779978ACA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7936336" y="1379220"/>
            <a:ext cx="2164080" cy="4549140"/>
          </a:xfrm>
          <a:prstGeom prst="roundRect">
            <a:avLst>
              <a:gd name="adj" fmla="val 1314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pic>
        <p:nvPicPr>
          <p:cNvPr id="18" name="Shape">
            <a:extLst>
              <a:ext uri="{FF2B5EF4-FFF2-40B4-BE49-F238E27FC236}">
                <a16:creationId xmlns:a16="http://schemas.microsoft.com/office/drawing/2014/main" id="{7F09AB9E-D3D1-4BF0-9135-508497D860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464496" y="1341438"/>
            <a:ext cx="3096000" cy="4787820"/>
          </a:xfrm>
          <a:prstGeom prst="rect">
            <a:avLst/>
          </a:prstGeom>
        </p:spPr>
      </p:pic>
      <p:sp>
        <p:nvSpPr>
          <p:cNvPr id="13" name="Rechteck: abgerundete Ecken 19">
            <a:extLst>
              <a:ext uri="{FF2B5EF4-FFF2-40B4-BE49-F238E27FC236}">
                <a16:creationId xmlns:a16="http://schemas.microsoft.com/office/drawing/2014/main" id="{83B6B1DD-3BB2-05F1-F33D-74DC95727A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2103688" y="1379220"/>
            <a:ext cx="2164080" cy="4549140"/>
          </a:xfrm>
          <a:prstGeom prst="roundRect">
            <a:avLst>
              <a:gd name="adj" fmla="val 1314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pic>
        <p:nvPicPr>
          <p:cNvPr id="14" name="Shape">
            <a:extLst>
              <a:ext uri="{FF2B5EF4-FFF2-40B4-BE49-F238E27FC236}">
                <a16:creationId xmlns:a16="http://schemas.microsoft.com/office/drawing/2014/main" id="{880E8645-6288-AE19-6DBF-172F4C2CDE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631848" y="1341438"/>
            <a:ext cx="3096000" cy="4787820"/>
          </a:xfrm>
          <a:prstGeom prst="rect">
            <a:avLst/>
          </a:prstGeom>
        </p:spPr>
      </p:pic>
      <p:sp>
        <p:nvSpPr>
          <p:cNvPr id="16" name="Rechteck: abgerundete Ecken 19">
            <a:extLst>
              <a:ext uri="{FF2B5EF4-FFF2-40B4-BE49-F238E27FC236}">
                <a16:creationId xmlns:a16="http://schemas.microsoft.com/office/drawing/2014/main" id="{DB994C57-CEE0-8540-5583-CD8BBFB852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4983664" y="1379220"/>
            <a:ext cx="2164080" cy="4549140"/>
          </a:xfrm>
          <a:prstGeom prst="roundRect">
            <a:avLst>
              <a:gd name="adj" fmla="val 1314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pic>
        <p:nvPicPr>
          <p:cNvPr id="17" name="Shape">
            <a:extLst>
              <a:ext uri="{FF2B5EF4-FFF2-40B4-BE49-F238E27FC236}">
                <a16:creationId xmlns:a16="http://schemas.microsoft.com/office/drawing/2014/main" id="{29B3C5F7-8DA9-D126-B8E6-0E97A57FDE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511824" y="1341438"/>
            <a:ext cx="3096000" cy="4787820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93171A0-A001-0E72-7460-81AC7DA532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rtl="0">
              <a:defRPr/>
            </a:lvl1pPr>
          </a:lstStyle>
          <a:p>
            <a:fld id="{AE0B6CCC-CA1B-4175-9EF7-C103F54C08DE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9269E69-786B-15A2-0535-F84F8D4E8C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20B9A9-7858-A59F-E2EA-0BB3E873F6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D230F225-9077-C298-1939-2EEB21FE0C3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7982056" y="1432560"/>
            <a:ext cx="2057400" cy="4450080"/>
          </a:xfrm>
          <a:prstGeom prst="roundRect">
            <a:avLst>
              <a:gd name="adj" fmla="val 12964"/>
            </a:avLst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1457C9D4-0CF0-AA7E-E1DE-54A91AD7F96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2149408" y="1432560"/>
            <a:ext cx="2057400" cy="4450080"/>
          </a:xfrm>
          <a:prstGeom prst="roundRect">
            <a:avLst>
              <a:gd name="adj" fmla="val 12964"/>
            </a:avLst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026E3E96-B285-EEA0-BFF4-016AADCB4F25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5029384" y="1432560"/>
            <a:ext cx="2057400" cy="4450080"/>
          </a:xfrm>
          <a:prstGeom prst="roundRect">
            <a:avLst>
              <a:gd name="adj" fmla="val 12964"/>
            </a:avLst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2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3352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69DBDB6-F0B6-A33F-1EA4-10640D61DB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4330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9DBDB6-F0B6-A33F-1EA4-10640D61DB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">
            <a:extLst>
              <a:ext uri="{FF2B5EF4-FFF2-40B4-BE49-F238E27FC236}">
                <a16:creationId xmlns:a16="http://schemas.microsoft.com/office/drawing/2014/main" id="{ED4DEA22-86AB-4055-9D31-EB6A5698AB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0F820368-8441-E4B1-BF67-81B1020CD7D1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6" name="Shape">
            <a:extLst>
              <a:ext uri="{FF2B5EF4-FFF2-40B4-BE49-F238E27FC236}">
                <a16:creationId xmlns:a16="http://schemas.microsoft.com/office/drawing/2014/main" id="{9DA19E0A-630E-4703-A2E3-311F8429CE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335360" y="1484785"/>
            <a:ext cx="5184576" cy="20162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BD8E93B3-990F-934D-BD7B-A37DC1324EE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51672" y="1700784"/>
            <a:ext cx="1368000" cy="1584000"/>
          </a:xfrm>
          <a:prstGeom prst="rect">
            <a:avLst/>
          </a:prstGeo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 sz="1400"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BB3E6D75-1EC4-1B44-B491-E581CC62B05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35673" y="1700784"/>
            <a:ext cx="316824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ountry</a:t>
            </a:r>
            <a:endParaRPr lang="en-US" dirty="0"/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9C0EC6CE-70D2-D940-9547-3F776BCF57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135672" y="206078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Name Surname</a:t>
            </a:r>
            <a:endParaRPr lang="en-US" dirty="0"/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D3260424-7049-BF4D-AA75-2D68FBC04D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135672" y="2276784"/>
            <a:ext cx="316824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Job Position</a:t>
            </a:r>
            <a:endParaRPr lang="en-US" dirty="0"/>
          </a:p>
        </p:txBody>
      </p:sp>
      <p:sp>
        <p:nvSpPr>
          <p:cNvPr id="39" name="Text Placeholder 5">
            <a:extLst>
              <a:ext uri="{FF2B5EF4-FFF2-40B4-BE49-F238E27FC236}">
                <a16:creationId xmlns:a16="http://schemas.microsoft.com/office/drawing/2014/main" id="{F3664B3A-842D-8146-B7A8-6EE203E6050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135672" y="2708920"/>
            <a:ext cx="3168242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Phone number</a:t>
            </a:r>
            <a:endParaRPr lang="en-US" dirty="0"/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B42C9151-00E7-8F44-BDA2-330D9B9791A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2135672" y="2924920"/>
            <a:ext cx="3168242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Email address</a:t>
            </a:r>
            <a:endParaRPr lang="en-US" dirty="0"/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096000" y="1484783"/>
            <a:ext cx="5184576" cy="4608513"/>
          </a:xfrm>
          <a:prstGeom prst="rect">
            <a:avLst/>
          </a:prstGeom>
        </p:spPr>
        <p:txBody>
          <a:bodyPr/>
          <a:lstStyle>
            <a:lvl1pPr rtl="0">
              <a:defRPr sz="1600" baseline="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200"/>
            </a:lvl5pPr>
          </a:lstStyle>
          <a:p>
            <a:pPr lvl="0"/>
            <a:r>
              <a:rPr lang="en-US"/>
              <a:t>Additional information (if needed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13FDAA3-A0DC-2E64-1196-8FF01BE1E6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 rtl="0">
              <a:defRPr/>
            </a:lvl1pPr>
          </a:lstStyle>
          <a:p>
            <a:fld id="{ED1D1678-D66A-4080-8DC2-48AC748C98BA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87AACA9-762A-05ED-5AE4-5EE72266D4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6AD0D2C-3C1F-3238-BF55-233D0EDF2F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04522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BF7CD0D-66DE-544A-2E7B-DF3A6F8E6C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6831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F7CD0D-66DE-544A-2E7B-DF3A6F8E6C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9" name="Shape">
            <a:extLst>
              <a:ext uri="{FF2B5EF4-FFF2-40B4-BE49-F238E27FC236}">
                <a16:creationId xmlns:a16="http://schemas.microsoft.com/office/drawing/2014/main" id="{A308B59F-C74A-41A0-8B1E-7A5EFCC4D0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335360" y="1484785"/>
            <a:ext cx="5184576" cy="20162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sp>
        <p:nvSpPr>
          <p:cNvPr id="110" name="Shape">
            <a:extLst>
              <a:ext uri="{FF2B5EF4-FFF2-40B4-BE49-F238E27FC236}">
                <a16:creationId xmlns:a16="http://schemas.microsoft.com/office/drawing/2014/main" id="{4BF4C20B-694A-46F7-9866-549844DD6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6096000" y="1484785"/>
            <a:ext cx="5184576" cy="20162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7C9F81EF-6E6B-4C6B-8728-D3ABC0E420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C4BCC443-AB9F-B213-EE37-942C86A0AD63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88" name="Picture Placeholder 3">
            <a:extLst>
              <a:ext uri="{FF2B5EF4-FFF2-40B4-BE49-F238E27FC236}">
                <a16:creationId xmlns:a16="http://schemas.microsoft.com/office/drawing/2014/main" id="{FE641735-A1C5-43D0-BD73-1778301964C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51672" y="1700784"/>
            <a:ext cx="1368000" cy="158400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 sz="1400"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89" name="Text Placeholder 5">
            <a:extLst>
              <a:ext uri="{FF2B5EF4-FFF2-40B4-BE49-F238E27FC236}">
                <a16:creationId xmlns:a16="http://schemas.microsoft.com/office/drawing/2014/main" id="{35F3426A-8179-413F-A089-EDC85F7AE52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35672" y="1700784"/>
            <a:ext cx="316824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ountry</a:t>
            </a:r>
            <a:endParaRPr lang="en-US" dirty="0"/>
          </a:p>
        </p:txBody>
      </p:sp>
      <p:sp>
        <p:nvSpPr>
          <p:cNvPr id="90" name="Text Placeholder 5">
            <a:extLst>
              <a:ext uri="{FF2B5EF4-FFF2-40B4-BE49-F238E27FC236}">
                <a16:creationId xmlns:a16="http://schemas.microsoft.com/office/drawing/2014/main" id="{77DE9175-08EB-4DE9-AF2A-082DE24F91B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135672" y="206078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Name Surname</a:t>
            </a:r>
            <a:endParaRPr lang="en-US" dirty="0"/>
          </a:p>
        </p:txBody>
      </p:sp>
      <p:sp>
        <p:nvSpPr>
          <p:cNvPr id="91" name="Text Placeholder 5">
            <a:extLst>
              <a:ext uri="{FF2B5EF4-FFF2-40B4-BE49-F238E27FC236}">
                <a16:creationId xmlns:a16="http://schemas.microsoft.com/office/drawing/2014/main" id="{D5EF4277-ADF9-4E2E-B2BE-1A7E9852139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135672" y="2276784"/>
            <a:ext cx="316824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Job Position</a:t>
            </a:r>
            <a:endParaRPr lang="en-US" dirty="0"/>
          </a:p>
        </p:txBody>
      </p:sp>
      <p:sp>
        <p:nvSpPr>
          <p:cNvPr id="92" name="Text Placeholder 5">
            <a:extLst>
              <a:ext uri="{FF2B5EF4-FFF2-40B4-BE49-F238E27FC236}">
                <a16:creationId xmlns:a16="http://schemas.microsoft.com/office/drawing/2014/main" id="{7BDBE224-C61A-4B63-ACB4-6021E55B9D3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135671" y="2708920"/>
            <a:ext cx="3168241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Phone number</a:t>
            </a:r>
            <a:endParaRPr lang="en-US" dirty="0"/>
          </a:p>
        </p:txBody>
      </p:sp>
      <p:sp>
        <p:nvSpPr>
          <p:cNvPr id="93" name="Text Placeholder 5">
            <a:extLst>
              <a:ext uri="{FF2B5EF4-FFF2-40B4-BE49-F238E27FC236}">
                <a16:creationId xmlns:a16="http://schemas.microsoft.com/office/drawing/2014/main" id="{12C39AE6-6E95-408F-AB43-27C17926E0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2135671" y="2924920"/>
            <a:ext cx="3168241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Email address</a:t>
            </a:r>
            <a:endParaRPr lang="en-US" dirty="0"/>
          </a:p>
        </p:txBody>
      </p:sp>
      <p:sp>
        <p:nvSpPr>
          <p:cNvPr id="107" name="Text Placeholder 34">
            <a:extLst>
              <a:ext uri="{FF2B5EF4-FFF2-40B4-BE49-F238E27FC236}">
                <a16:creationId xmlns:a16="http://schemas.microsoft.com/office/drawing/2014/main" id="{7A67B2C7-A9D1-420E-A686-D67FE2D6C26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2135560" y="3789040"/>
            <a:ext cx="3384376" cy="2304255"/>
          </a:xfrm>
          <a:prstGeom prst="rect">
            <a:avLst/>
          </a:prstGeom>
        </p:spPr>
        <p:txBody>
          <a:bodyPr/>
          <a:lstStyle>
            <a:lvl1pPr rtl="0">
              <a:defRPr sz="1600" baseline="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200"/>
            </a:lvl5pPr>
          </a:lstStyle>
          <a:p>
            <a:pPr lvl="0"/>
            <a:r>
              <a:rPr lang="en-US"/>
              <a:t>Additional information (if needed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1" name="Picture Placeholder 3">
            <a:extLst>
              <a:ext uri="{FF2B5EF4-FFF2-40B4-BE49-F238E27FC236}">
                <a16:creationId xmlns:a16="http://schemas.microsoft.com/office/drawing/2014/main" id="{2F3F9AB8-A6A9-4914-B176-D5301D8AD889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6312762" y="1700784"/>
            <a:ext cx="1368000" cy="158400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 sz="1400"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02" name="Text Placeholder 5">
            <a:extLst>
              <a:ext uri="{FF2B5EF4-FFF2-40B4-BE49-F238E27FC236}">
                <a16:creationId xmlns:a16="http://schemas.microsoft.com/office/drawing/2014/main" id="{60D53D97-2F4B-4FF3-BB08-6DE88C7D08D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7896762" y="1700784"/>
            <a:ext cx="316824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ountry</a:t>
            </a:r>
            <a:endParaRPr lang="en-US" dirty="0"/>
          </a:p>
        </p:txBody>
      </p:sp>
      <p:sp>
        <p:nvSpPr>
          <p:cNvPr id="103" name="Text Placeholder 5">
            <a:extLst>
              <a:ext uri="{FF2B5EF4-FFF2-40B4-BE49-F238E27FC236}">
                <a16:creationId xmlns:a16="http://schemas.microsoft.com/office/drawing/2014/main" id="{912FAF1E-DB1C-42D7-9953-A4E2639C864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7899821" y="206078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Name Surname</a:t>
            </a:r>
            <a:endParaRPr lang="en-US" dirty="0"/>
          </a:p>
        </p:txBody>
      </p:sp>
      <p:sp>
        <p:nvSpPr>
          <p:cNvPr id="104" name="Text Placeholder 5">
            <a:extLst>
              <a:ext uri="{FF2B5EF4-FFF2-40B4-BE49-F238E27FC236}">
                <a16:creationId xmlns:a16="http://schemas.microsoft.com/office/drawing/2014/main" id="{4BEAEA15-5204-41C5-AEFB-5901E9232BC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7896762" y="2276784"/>
            <a:ext cx="316824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Job Position</a:t>
            </a:r>
            <a:endParaRPr lang="en-US" dirty="0"/>
          </a:p>
        </p:txBody>
      </p:sp>
      <p:sp>
        <p:nvSpPr>
          <p:cNvPr id="105" name="Text Placeholder 5">
            <a:extLst>
              <a:ext uri="{FF2B5EF4-FFF2-40B4-BE49-F238E27FC236}">
                <a16:creationId xmlns:a16="http://schemas.microsoft.com/office/drawing/2014/main" id="{268C1B9F-921F-461C-A9B2-8860F57E26D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7896762" y="2708920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Phone number</a:t>
            </a:r>
            <a:endParaRPr lang="en-US" dirty="0"/>
          </a:p>
        </p:txBody>
      </p:sp>
      <p:sp>
        <p:nvSpPr>
          <p:cNvPr id="106" name="Text Placeholder 5">
            <a:extLst>
              <a:ext uri="{FF2B5EF4-FFF2-40B4-BE49-F238E27FC236}">
                <a16:creationId xmlns:a16="http://schemas.microsoft.com/office/drawing/2014/main" id="{DF6DB13D-A16B-44FD-BBA4-181841B2C8E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7896762" y="2924920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Email address</a:t>
            </a:r>
            <a:endParaRPr lang="en-US" dirty="0"/>
          </a:p>
        </p:txBody>
      </p:sp>
      <p:sp>
        <p:nvSpPr>
          <p:cNvPr id="108" name="Text Placeholder 34">
            <a:extLst>
              <a:ext uri="{FF2B5EF4-FFF2-40B4-BE49-F238E27FC236}">
                <a16:creationId xmlns:a16="http://schemas.microsoft.com/office/drawing/2014/main" id="{0739D20A-6CD2-4EFD-BFD8-AC097164997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7897018" y="3789040"/>
            <a:ext cx="3383558" cy="2304256"/>
          </a:xfrm>
          <a:prstGeom prst="rect">
            <a:avLst/>
          </a:prstGeom>
        </p:spPr>
        <p:txBody>
          <a:bodyPr/>
          <a:lstStyle>
            <a:lvl1pPr rtl="0">
              <a:defRPr sz="1600" baseline="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200"/>
            </a:lvl5pPr>
          </a:lstStyle>
          <a:p>
            <a:pPr lvl="0"/>
            <a:r>
              <a:rPr lang="en-US"/>
              <a:t>Additional information (if needed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FF5EA01-F4CC-F707-3384-355C3A7832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43"/>
          </p:nvPr>
        </p:nvSpPr>
        <p:spPr/>
        <p:txBody>
          <a:bodyPr/>
          <a:lstStyle>
            <a:lvl1pPr rtl="0">
              <a:defRPr/>
            </a:lvl1pPr>
          </a:lstStyle>
          <a:p>
            <a:fld id="{25FF9EFB-C2FA-44CE-8CF8-F62C970FAFB0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ECFB7EC-1DDD-4793-F0F9-FB8F64B7BB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005237-160E-5576-1349-4E58BEABCB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61332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E63F2AF-A80A-31D3-DB20-6CFD639C85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6640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63F2AF-A80A-31D3-DB20-6CFD639C85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">
            <a:extLst>
              <a:ext uri="{FF2B5EF4-FFF2-40B4-BE49-F238E27FC236}">
                <a16:creationId xmlns:a16="http://schemas.microsoft.com/office/drawing/2014/main" id="{03F187D5-78CE-4CB4-97FD-A8472D948E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27" name="Subtitle">
            <a:extLst>
              <a:ext uri="{FF2B5EF4-FFF2-40B4-BE49-F238E27FC236}">
                <a16:creationId xmlns:a16="http://schemas.microsoft.com/office/drawing/2014/main" id="{C79A977C-0417-AA8F-2CD0-72FF316DCAA2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48" name="Shape">
            <a:extLst>
              <a:ext uri="{FF2B5EF4-FFF2-40B4-BE49-F238E27FC236}">
                <a16:creationId xmlns:a16="http://schemas.microsoft.com/office/drawing/2014/main" id="{62E7F382-C6C4-485A-83D1-B2DF463F3B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335360" y="1484784"/>
            <a:ext cx="5184576" cy="201571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sp>
        <p:nvSpPr>
          <p:cNvPr id="94" name="Picture Placeholder 3">
            <a:extLst>
              <a:ext uri="{FF2B5EF4-FFF2-40B4-BE49-F238E27FC236}">
                <a16:creationId xmlns:a16="http://schemas.microsoft.com/office/drawing/2014/main" id="{96D1107F-3E3A-3C4B-8256-95C871BFFA2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51672" y="1700784"/>
            <a:ext cx="1368000" cy="158400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 sz="1400"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95" name="Text Placeholder 5">
            <a:extLst>
              <a:ext uri="{FF2B5EF4-FFF2-40B4-BE49-F238E27FC236}">
                <a16:creationId xmlns:a16="http://schemas.microsoft.com/office/drawing/2014/main" id="{9E6D6A14-7FC7-2E46-8CC2-5CA4E52119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35672" y="1700784"/>
            <a:ext cx="316824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ountry</a:t>
            </a:r>
            <a:endParaRPr lang="en-US" dirty="0"/>
          </a:p>
        </p:txBody>
      </p:sp>
      <p:sp>
        <p:nvSpPr>
          <p:cNvPr id="96" name="Text Placeholder 5">
            <a:extLst>
              <a:ext uri="{FF2B5EF4-FFF2-40B4-BE49-F238E27FC236}">
                <a16:creationId xmlns:a16="http://schemas.microsoft.com/office/drawing/2014/main" id="{F98B3B28-1889-DA4F-A2D1-BD173114DC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135672" y="206078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Name Surname</a:t>
            </a:r>
            <a:endParaRPr lang="en-US" dirty="0"/>
          </a:p>
        </p:txBody>
      </p:sp>
      <p:sp>
        <p:nvSpPr>
          <p:cNvPr id="97" name="Text Placeholder 5">
            <a:extLst>
              <a:ext uri="{FF2B5EF4-FFF2-40B4-BE49-F238E27FC236}">
                <a16:creationId xmlns:a16="http://schemas.microsoft.com/office/drawing/2014/main" id="{8AAA19EE-9DB4-474A-A321-C8153907CCE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135672" y="2276784"/>
            <a:ext cx="316824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Job Position</a:t>
            </a:r>
            <a:endParaRPr lang="en-US" dirty="0"/>
          </a:p>
        </p:txBody>
      </p:sp>
      <p:sp>
        <p:nvSpPr>
          <p:cNvPr id="98" name="Text Placeholder 5">
            <a:extLst>
              <a:ext uri="{FF2B5EF4-FFF2-40B4-BE49-F238E27FC236}">
                <a16:creationId xmlns:a16="http://schemas.microsoft.com/office/drawing/2014/main" id="{B143D523-493C-BC4E-B1AA-5DB95154E3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135672" y="2708920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Phone number</a:t>
            </a:r>
            <a:endParaRPr lang="en-US" dirty="0"/>
          </a:p>
        </p:txBody>
      </p:sp>
      <p:sp>
        <p:nvSpPr>
          <p:cNvPr id="99" name="Text Placeholder 5">
            <a:extLst>
              <a:ext uri="{FF2B5EF4-FFF2-40B4-BE49-F238E27FC236}">
                <a16:creationId xmlns:a16="http://schemas.microsoft.com/office/drawing/2014/main" id="{9D91B60C-53AD-284C-95D2-EDFB9B2E1C5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2135672" y="2924920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Email address</a:t>
            </a:r>
            <a:endParaRPr lang="en-US" dirty="0"/>
          </a:p>
        </p:txBody>
      </p:sp>
      <p:sp>
        <p:nvSpPr>
          <p:cNvPr id="49" name="Shape">
            <a:extLst>
              <a:ext uri="{FF2B5EF4-FFF2-40B4-BE49-F238E27FC236}">
                <a16:creationId xmlns:a16="http://schemas.microsoft.com/office/drawing/2014/main" id="{FA2307D6-B00C-4CF8-B22E-11BF9AF7DE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6096000" y="1485297"/>
            <a:ext cx="5184576" cy="201571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sp>
        <p:nvSpPr>
          <p:cNvPr id="119" name="Picture Placeholder 3">
            <a:extLst>
              <a:ext uri="{FF2B5EF4-FFF2-40B4-BE49-F238E27FC236}">
                <a16:creationId xmlns:a16="http://schemas.microsoft.com/office/drawing/2014/main" id="{B5007B33-0681-7C4B-8C02-A2115D4F5A8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6312762" y="1700784"/>
            <a:ext cx="1368000" cy="158400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 sz="1400"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20" name="Text Placeholder 5">
            <a:extLst>
              <a:ext uri="{FF2B5EF4-FFF2-40B4-BE49-F238E27FC236}">
                <a16:creationId xmlns:a16="http://schemas.microsoft.com/office/drawing/2014/main" id="{7947A278-4541-C145-8A1A-805C82E2BEB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7896762" y="1700784"/>
            <a:ext cx="316824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ountry</a:t>
            </a:r>
            <a:endParaRPr lang="en-US" dirty="0"/>
          </a:p>
        </p:txBody>
      </p:sp>
      <p:sp>
        <p:nvSpPr>
          <p:cNvPr id="121" name="Text Placeholder 5">
            <a:extLst>
              <a:ext uri="{FF2B5EF4-FFF2-40B4-BE49-F238E27FC236}">
                <a16:creationId xmlns:a16="http://schemas.microsoft.com/office/drawing/2014/main" id="{AB572493-73FB-0646-BCF6-467CE0D18D0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7896762" y="206078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Name Surname</a:t>
            </a:r>
            <a:endParaRPr lang="en-US" dirty="0"/>
          </a:p>
        </p:txBody>
      </p:sp>
      <p:sp>
        <p:nvSpPr>
          <p:cNvPr id="122" name="Text Placeholder 5">
            <a:extLst>
              <a:ext uri="{FF2B5EF4-FFF2-40B4-BE49-F238E27FC236}">
                <a16:creationId xmlns:a16="http://schemas.microsoft.com/office/drawing/2014/main" id="{160A0CE4-A4A1-664B-B2A5-3BEEF22E242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7896762" y="2276784"/>
            <a:ext cx="316824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Job Position</a:t>
            </a:r>
            <a:endParaRPr lang="en-US" dirty="0"/>
          </a:p>
        </p:txBody>
      </p:sp>
      <p:sp>
        <p:nvSpPr>
          <p:cNvPr id="123" name="Text Placeholder 5">
            <a:extLst>
              <a:ext uri="{FF2B5EF4-FFF2-40B4-BE49-F238E27FC236}">
                <a16:creationId xmlns:a16="http://schemas.microsoft.com/office/drawing/2014/main" id="{595B26DC-2F0F-0741-AD06-D75BE5AE795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7896762" y="2708920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Phone number</a:t>
            </a:r>
            <a:endParaRPr lang="en-US" dirty="0"/>
          </a:p>
        </p:txBody>
      </p:sp>
      <p:sp>
        <p:nvSpPr>
          <p:cNvPr id="124" name="Text Placeholder 5">
            <a:extLst>
              <a:ext uri="{FF2B5EF4-FFF2-40B4-BE49-F238E27FC236}">
                <a16:creationId xmlns:a16="http://schemas.microsoft.com/office/drawing/2014/main" id="{727EE54C-753A-284A-8B4F-9C5FDDC2D63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7896762" y="2924920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Email address</a:t>
            </a:r>
            <a:endParaRPr lang="en-US" dirty="0"/>
          </a:p>
        </p:txBody>
      </p:sp>
      <p:sp>
        <p:nvSpPr>
          <p:cNvPr id="51" name="Shape">
            <a:extLst>
              <a:ext uri="{FF2B5EF4-FFF2-40B4-BE49-F238E27FC236}">
                <a16:creationId xmlns:a16="http://schemas.microsoft.com/office/drawing/2014/main" id="{09F29F29-FEC9-4927-AB9A-F17180449E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335360" y="4077585"/>
            <a:ext cx="5184576" cy="201571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sp>
        <p:nvSpPr>
          <p:cNvPr id="106" name="Picture Placeholder 3">
            <a:extLst>
              <a:ext uri="{FF2B5EF4-FFF2-40B4-BE49-F238E27FC236}">
                <a16:creationId xmlns:a16="http://schemas.microsoft.com/office/drawing/2014/main" id="{B6FE670F-20AA-EF43-93FE-D8EBD89F9D8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551672" y="4293147"/>
            <a:ext cx="1368000" cy="158400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 sz="1400"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07" name="Text Placeholder 5">
            <a:extLst>
              <a:ext uri="{FF2B5EF4-FFF2-40B4-BE49-F238E27FC236}">
                <a16:creationId xmlns:a16="http://schemas.microsoft.com/office/drawing/2014/main" id="{62E04480-8830-0F40-AE67-E9D2BB0BFD4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135672" y="4293147"/>
            <a:ext cx="316824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ountry</a:t>
            </a:r>
            <a:endParaRPr lang="en-US" dirty="0"/>
          </a:p>
        </p:txBody>
      </p:sp>
      <p:sp>
        <p:nvSpPr>
          <p:cNvPr id="108" name="Text Placeholder 5">
            <a:extLst>
              <a:ext uri="{FF2B5EF4-FFF2-40B4-BE49-F238E27FC236}">
                <a16:creationId xmlns:a16="http://schemas.microsoft.com/office/drawing/2014/main" id="{8E37D29D-067C-6F40-8722-813FC5CCB6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135672" y="4653147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Name Surname</a:t>
            </a:r>
            <a:endParaRPr lang="en-US" dirty="0"/>
          </a:p>
        </p:txBody>
      </p:sp>
      <p:sp>
        <p:nvSpPr>
          <p:cNvPr id="109" name="Text Placeholder 5">
            <a:extLst>
              <a:ext uri="{FF2B5EF4-FFF2-40B4-BE49-F238E27FC236}">
                <a16:creationId xmlns:a16="http://schemas.microsoft.com/office/drawing/2014/main" id="{9F2507A6-1822-8441-AF42-6F32CAD5309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2135672" y="4869147"/>
            <a:ext cx="316824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Job Position</a:t>
            </a:r>
            <a:endParaRPr lang="en-US" dirty="0"/>
          </a:p>
        </p:txBody>
      </p:sp>
      <p:sp>
        <p:nvSpPr>
          <p:cNvPr id="110" name="Text Placeholder 5">
            <a:extLst>
              <a:ext uri="{FF2B5EF4-FFF2-40B4-BE49-F238E27FC236}">
                <a16:creationId xmlns:a16="http://schemas.microsoft.com/office/drawing/2014/main" id="{B1FAFD4D-A617-1D4B-A22B-92EA6E00239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2135672" y="5301283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Phone number</a:t>
            </a:r>
            <a:endParaRPr lang="en-US" dirty="0"/>
          </a:p>
        </p:txBody>
      </p:sp>
      <p:sp>
        <p:nvSpPr>
          <p:cNvPr id="111" name="Text Placeholder 5">
            <a:extLst>
              <a:ext uri="{FF2B5EF4-FFF2-40B4-BE49-F238E27FC236}">
                <a16:creationId xmlns:a16="http://schemas.microsoft.com/office/drawing/2014/main" id="{1758521F-192E-8E46-9355-9EA0AC42A50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5672" y="5517283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Email address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D930B00-6481-308D-18F9-2A16F9C17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812D12BD-E3BD-4E08-85DF-B0CF4DED85DB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BA96A78-722B-ACDB-C9FE-CD7ECF57E5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D504CF-5A52-F637-4E14-CA8D7E371B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303672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2C7FD8C-81A0-B716-D9D3-2C41622352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6126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C7FD8C-81A0-B716-D9D3-2C41622352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">
            <a:extLst>
              <a:ext uri="{FF2B5EF4-FFF2-40B4-BE49-F238E27FC236}">
                <a16:creationId xmlns:a16="http://schemas.microsoft.com/office/drawing/2014/main" id="{CA5E4281-7DAB-4B66-B128-B1580F2596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Insert your headline in Lato Heavy 24 pt here</a:t>
            </a:r>
            <a:endParaRPr lang="en-US" dirty="0"/>
          </a:p>
        </p:txBody>
      </p:sp>
      <p:sp>
        <p:nvSpPr>
          <p:cNvPr id="34" name="Subtitle">
            <a:extLst>
              <a:ext uri="{FF2B5EF4-FFF2-40B4-BE49-F238E27FC236}">
                <a16:creationId xmlns:a16="http://schemas.microsoft.com/office/drawing/2014/main" id="{1A79FB49-A60C-33E7-ADE0-835E4B954805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US"/>
              <a:t>Insert your sub-headline in Lato light 20 pt here</a:t>
            </a:r>
            <a:endParaRPr lang="en-US" dirty="0"/>
          </a:p>
        </p:txBody>
      </p:sp>
      <p:sp>
        <p:nvSpPr>
          <p:cNvPr id="62" name="Shape">
            <a:extLst>
              <a:ext uri="{FF2B5EF4-FFF2-40B4-BE49-F238E27FC236}">
                <a16:creationId xmlns:a16="http://schemas.microsoft.com/office/drawing/2014/main" id="{16825BDD-BB1B-4D1C-B52B-7933359BD6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335360" y="1484784"/>
            <a:ext cx="5184576" cy="201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sp>
        <p:nvSpPr>
          <p:cNvPr id="94" name="Picture Placeholder 3">
            <a:extLst>
              <a:ext uri="{FF2B5EF4-FFF2-40B4-BE49-F238E27FC236}">
                <a16:creationId xmlns:a16="http://schemas.microsoft.com/office/drawing/2014/main" id="{96D1107F-3E3A-3C4B-8256-95C871BFFA2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51672" y="1700784"/>
            <a:ext cx="1368000" cy="158400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 sz="1400"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95" name="Text Placeholder 5">
            <a:extLst>
              <a:ext uri="{FF2B5EF4-FFF2-40B4-BE49-F238E27FC236}">
                <a16:creationId xmlns:a16="http://schemas.microsoft.com/office/drawing/2014/main" id="{9E6D6A14-7FC7-2E46-8CC2-5CA4E52119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35672" y="1700784"/>
            <a:ext cx="316824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ountry</a:t>
            </a:r>
            <a:endParaRPr lang="en-US" dirty="0"/>
          </a:p>
        </p:txBody>
      </p:sp>
      <p:sp>
        <p:nvSpPr>
          <p:cNvPr id="96" name="Text Placeholder 5">
            <a:extLst>
              <a:ext uri="{FF2B5EF4-FFF2-40B4-BE49-F238E27FC236}">
                <a16:creationId xmlns:a16="http://schemas.microsoft.com/office/drawing/2014/main" id="{F98B3B28-1889-DA4F-A2D1-BD173114DC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135672" y="206078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Name Surname</a:t>
            </a:r>
            <a:endParaRPr lang="en-US" dirty="0"/>
          </a:p>
        </p:txBody>
      </p:sp>
      <p:sp>
        <p:nvSpPr>
          <p:cNvPr id="97" name="Text Placeholder 5">
            <a:extLst>
              <a:ext uri="{FF2B5EF4-FFF2-40B4-BE49-F238E27FC236}">
                <a16:creationId xmlns:a16="http://schemas.microsoft.com/office/drawing/2014/main" id="{8AAA19EE-9DB4-474A-A321-C8153907CCE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135672" y="2276784"/>
            <a:ext cx="316824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Job Position</a:t>
            </a:r>
            <a:endParaRPr lang="en-US" dirty="0"/>
          </a:p>
        </p:txBody>
      </p:sp>
      <p:sp>
        <p:nvSpPr>
          <p:cNvPr id="98" name="Text Placeholder 5">
            <a:extLst>
              <a:ext uri="{FF2B5EF4-FFF2-40B4-BE49-F238E27FC236}">
                <a16:creationId xmlns:a16="http://schemas.microsoft.com/office/drawing/2014/main" id="{B143D523-493C-BC4E-B1AA-5DB95154E3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135672" y="2708920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Phone number</a:t>
            </a:r>
            <a:endParaRPr lang="en-US" dirty="0"/>
          </a:p>
        </p:txBody>
      </p:sp>
      <p:sp>
        <p:nvSpPr>
          <p:cNvPr id="99" name="Text Placeholder 5">
            <a:extLst>
              <a:ext uri="{FF2B5EF4-FFF2-40B4-BE49-F238E27FC236}">
                <a16:creationId xmlns:a16="http://schemas.microsoft.com/office/drawing/2014/main" id="{9D91B60C-53AD-284C-95D2-EDFB9B2E1C5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2135672" y="2924920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Email address</a:t>
            </a:r>
            <a:endParaRPr lang="en-US" dirty="0"/>
          </a:p>
        </p:txBody>
      </p:sp>
      <p:sp>
        <p:nvSpPr>
          <p:cNvPr id="63" name="Shape">
            <a:extLst>
              <a:ext uri="{FF2B5EF4-FFF2-40B4-BE49-F238E27FC236}">
                <a16:creationId xmlns:a16="http://schemas.microsoft.com/office/drawing/2014/main" id="{B3761F59-E702-400C-BB3D-7C2F7DFAF9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6096000" y="1485297"/>
            <a:ext cx="5184576" cy="201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sp>
        <p:nvSpPr>
          <p:cNvPr id="119" name="Picture Placeholder 3">
            <a:extLst>
              <a:ext uri="{FF2B5EF4-FFF2-40B4-BE49-F238E27FC236}">
                <a16:creationId xmlns:a16="http://schemas.microsoft.com/office/drawing/2014/main" id="{B5007B33-0681-7C4B-8C02-A2115D4F5A8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6312762" y="1700784"/>
            <a:ext cx="1368000" cy="158400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 sz="1400"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20" name="Text Placeholder 5">
            <a:extLst>
              <a:ext uri="{FF2B5EF4-FFF2-40B4-BE49-F238E27FC236}">
                <a16:creationId xmlns:a16="http://schemas.microsoft.com/office/drawing/2014/main" id="{7947A278-4541-C145-8A1A-805C82E2BEB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7896762" y="1700784"/>
            <a:ext cx="316824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ountry</a:t>
            </a:r>
            <a:endParaRPr lang="en-US" dirty="0"/>
          </a:p>
        </p:txBody>
      </p:sp>
      <p:sp>
        <p:nvSpPr>
          <p:cNvPr id="121" name="Text Placeholder 5">
            <a:extLst>
              <a:ext uri="{FF2B5EF4-FFF2-40B4-BE49-F238E27FC236}">
                <a16:creationId xmlns:a16="http://schemas.microsoft.com/office/drawing/2014/main" id="{AB572493-73FB-0646-BCF6-467CE0D18D0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7896762" y="206078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Name Surname</a:t>
            </a:r>
            <a:endParaRPr lang="en-US" dirty="0"/>
          </a:p>
        </p:txBody>
      </p:sp>
      <p:sp>
        <p:nvSpPr>
          <p:cNvPr id="122" name="Text Placeholder 5">
            <a:extLst>
              <a:ext uri="{FF2B5EF4-FFF2-40B4-BE49-F238E27FC236}">
                <a16:creationId xmlns:a16="http://schemas.microsoft.com/office/drawing/2014/main" id="{160A0CE4-A4A1-664B-B2A5-3BEEF22E242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7896762" y="2276784"/>
            <a:ext cx="316824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Job Position</a:t>
            </a:r>
            <a:endParaRPr lang="en-US" dirty="0"/>
          </a:p>
        </p:txBody>
      </p:sp>
      <p:sp>
        <p:nvSpPr>
          <p:cNvPr id="123" name="Text Placeholder 5">
            <a:extLst>
              <a:ext uri="{FF2B5EF4-FFF2-40B4-BE49-F238E27FC236}">
                <a16:creationId xmlns:a16="http://schemas.microsoft.com/office/drawing/2014/main" id="{595B26DC-2F0F-0741-AD06-D75BE5AE795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7896762" y="2708920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Phone number</a:t>
            </a:r>
            <a:endParaRPr lang="en-US" dirty="0"/>
          </a:p>
        </p:txBody>
      </p:sp>
      <p:sp>
        <p:nvSpPr>
          <p:cNvPr id="124" name="Text Placeholder 5">
            <a:extLst>
              <a:ext uri="{FF2B5EF4-FFF2-40B4-BE49-F238E27FC236}">
                <a16:creationId xmlns:a16="http://schemas.microsoft.com/office/drawing/2014/main" id="{727EE54C-753A-284A-8B4F-9C5FDDC2D63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7896762" y="2924920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Email address</a:t>
            </a:r>
            <a:endParaRPr lang="en-US" dirty="0"/>
          </a:p>
        </p:txBody>
      </p:sp>
      <p:sp>
        <p:nvSpPr>
          <p:cNvPr id="61" name="Shape">
            <a:extLst>
              <a:ext uri="{FF2B5EF4-FFF2-40B4-BE49-F238E27FC236}">
                <a16:creationId xmlns:a16="http://schemas.microsoft.com/office/drawing/2014/main" id="{6902CA4F-7D42-4F6B-8E46-F2707F4EA0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335360" y="4077296"/>
            <a:ext cx="5184576" cy="201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sp>
        <p:nvSpPr>
          <p:cNvPr id="106" name="Picture Placeholder 3">
            <a:extLst>
              <a:ext uri="{FF2B5EF4-FFF2-40B4-BE49-F238E27FC236}">
                <a16:creationId xmlns:a16="http://schemas.microsoft.com/office/drawing/2014/main" id="{B6FE670F-20AA-EF43-93FE-D8EBD89F9D8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551672" y="4292858"/>
            <a:ext cx="1368000" cy="158400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 sz="1400"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07" name="Text Placeholder 5">
            <a:extLst>
              <a:ext uri="{FF2B5EF4-FFF2-40B4-BE49-F238E27FC236}">
                <a16:creationId xmlns:a16="http://schemas.microsoft.com/office/drawing/2014/main" id="{62E04480-8830-0F40-AE67-E9D2BB0BFD4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135672" y="4292858"/>
            <a:ext cx="316824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ountry</a:t>
            </a:r>
            <a:endParaRPr lang="en-US" dirty="0"/>
          </a:p>
        </p:txBody>
      </p:sp>
      <p:sp>
        <p:nvSpPr>
          <p:cNvPr id="108" name="Text Placeholder 5">
            <a:extLst>
              <a:ext uri="{FF2B5EF4-FFF2-40B4-BE49-F238E27FC236}">
                <a16:creationId xmlns:a16="http://schemas.microsoft.com/office/drawing/2014/main" id="{8E37D29D-067C-6F40-8722-813FC5CCB6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135672" y="4652858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Name Surname</a:t>
            </a:r>
            <a:endParaRPr lang="en-US" dirty="0"/>
          </a:p>
        </p:txBody>
      </p:sp>
      <p:sp>
        <p:nvSpPr>
          <p:cNvPr id="109" name="Text Placeholder 5">
            <a:extLst>
              <a:ext uri="{FF2B5EF4-FFF2-40B4-BE49-F238E27FC236}">
                <a16:creationId xmlns:a16="http://schemas.microsoft.com/office/drawing/2014/main" id="{9F2507A6-1822-8441-AF42-6F32CAD5309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2135672" y="4868858"/>
            <a:ext cx="316824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Job Position</a:t>
            </a:r>
            <a:endParaRPr lang="en-US" dirty="0"/>
          </a:p>
        </p:txBody>
      </p:sp>
      <p:sp>
        <p:nvSpPr>
          <p:cNvPr id="110" name="Text Placeholder 5">
            <a:extLst>
              <a:ext uri="{FF2B5EF4-FFF2-40B4-BE49-F238E27FC236}">
                <a16:creationId xmlns:a16="http://schemas.microsoft.com/office/drawing/2014/main" id="{B1FAFD4D-A617-1D4B-A22B-92EA6E00239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2135672" y="530099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Phone number</a:t>
            </a:r>
            <a:endParaRPr lang="en-US" dirty="0"/>
          </a:p>
        </p:txBody>
      </p:sp>
      <p:sp>
        <p:nvSpPr>
          <p:cNvPr id="111" name="Text Placeholder 5">
            <a:extLst>
              <a:ext uri="{FF2B5EF4-FFF2-40B4-BE49-F238E27FC236}">
                <a16:creationId xmlns:a16="http://schemas.microsoft.com/office/drawing/2014/main" id="{1758521F-192E-8E46-9355-9EA0AC42A50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5672" y="551699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Email address</a:t>
            </a:r>
            <a:endParaRPr lang="en-US" dirty="0"/>
          </a:p>
        </p:txBody>
      </p:sp>
      <p:sp>
        <p:nvSpPr>
          <p:cNvPr id="65" name="Shape">
            <a:extLst>
              <a:ext uri="{FF2B5EF4-FFF2-40B4-BE49-F238E27FC236}">
                <a16:creationId xmlns:a16="http://schemas.microsoft.com/office/drawing/2014/main" id="{B4AE5ACA-7F4B-4818-955D-31E8DD6155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6096000" y="4077296"/>
            <a:ext cx="5184576" cy="201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sp>
        <p:nvSpPr>
          <p:cNvPr id="131" name="Picture Placeholder 3">
            <a:extLst>
              <a:ext uri="{FF2B5EF4-FFF2-40B4-BE49-F238E27FC236}">
                <a16:creationId xmlns:a16="http://schemas.microsoft.com/office/drawing/2014/main" id="{805973E7-6E2A-9147-9EEF-11EA3705FB9B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312762" y="4275958"/>
            <a:ext cx="1368000" cy="158400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 rtl="0">
              <a:buNone/>
              <a:defRPr sz="1400"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32" name="Text Placeholder 5">
            <a:extLst>
              <a:ext uri="{FF2B5EF4-FFF2-40B4-BE49-F238E27FC236}">
                <a16:creationId xmlns:a16="http://schemas.microsoft.com/office/drawing/2014/main" id="{8962C3D4-A44F-C143-8800-C613E37B77C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7896762" y="4275958"/>
            <a:ext cx="316824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ountry</a:t>
            </a:r>
            <a:endParaRPr lang="en-US" dirty="0"/>
          </a:p>
        </p:txBody>
      </p:sp>
      <p:sp>
        <p:nvSpPr>
          <p:cNvPr id="133" name="Text Placeholder 5">
            <a:extLst>
              <a:ext uri="{FF2B5EF4-FFF2-40B4-BE49-F238E27FC236}">
                <a16:creationId xmlns:a16="http://schemas.microsoft.com/office/drawing/2014/main" id="{A8F8F8A4-0708-D740-9016-1F49549FDC6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7896762" y="4635958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Name Surname</a:t>
            </a:r>
            <a:endParaRPr lang="en-US" dirty="0"/>
          </a:p>
        </p:txBody>
      </p:sp>
      <p:sp>
        <p:nvSpPr>
          <p:cNvPr id="134" name="Text Placeholder 5">
            <a:extLst>
              <a:ext uri="{FF2B5EF4-FFF2-40B4-BE49-F238E27FC236}">
                <a16:creationId xmlns:a16="http://schemas.microsoft.com/office/drawing/2014/main" id="{57164E9F-FD59-6846-BB9E-D6BE603E2F6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7896762" y="4851958"/>
            <a:ext cx="316824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Job Position</a:t>
            </a:r>
            <a:endParaRPr lang="en-US" dirty="0"/>
          </a:p>
        </p:txBody>
      </p:sp>
      <p:sp>
        <p:nvSpPr>
          <p:cNvPr id="135" name="Text Placeholder 5">
            <a:extLst>
              <a:ext uri="{FF2B5EF4-FFF2-40B4-BE49-F238E27FC236}">
                <a16:creationId xmlns:a16="http://schemas.microsoft.com/office/drawing/2014/main" id="{BFAABD29-99A4-AF4F-847D-F82B682D01B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7896762" y="528409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Phone number</a:t>
            </a:r>
            <a:endParaRPr lang="en-US" dirty="0"/>
          </a:p>
        </p:txBody>
      </p:sp>
      <p:sp>
        <p:nvSpPr>
          <p:cNvPr id="136" name="Text Placeholder 5">
            <a:extLst>
              <a:ext uri="{FF2B5EF4-FFF2-40B4-BE49-F238E27FC236}">
                <a16:creationId xmlns:a16="http://schemas.microsoft.com/office/drawing/2014/main" id="{74BE0303-949F-8445-84A6-96A0C8234482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7896762" y="550009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Email address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3204550-A5A5-31DB-6ABA-065941F96D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48"/>
          </p:nvPr>
        </p:nvSpPr>
        <p:spPr/>
        <p:txBody>
          <a:bodyPr/>
          <a:lstStyle>
            <a:lvl1pPr rtl="0">
              <a:defRPr/>
            </a:lvl1pPr>
          </a:lstStyle>
          <a:p>
            <a:fld id="{7EB77560-7136-49BF-9CB3-BCBF36E48D9A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9058617-3B9B-BD7A-9507-958E503010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970689-15E1-925D-0040-16C71D9791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50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1244380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E02F546-9ADD-0128-BDB0-CEE5993AEB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5289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02F546-9ADD-0128-BDB0-CEE5993AEB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ource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87488" y="6525000"/>
            <a:ext cx="9144512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8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8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8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800" b="0">
                <a:latin typeface="+mn-lt"/>
              </a:defRPr>
            </a:lvl9pPr>
          </a:lstStyle>
          <a:p>
            <a:pPr lvl="0"/>
            <a:r>
              <a:rPr lang="en-US"/>
              <a:t>Source, Footnote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7C340BC-16A9-6649-EF34-AAFDE214B5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2D2EDB60-1969-4DE2-AAF0-E6DA15C12389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8322D16-4DE7-822A-3574-99885BF60D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3711EB7-4C93-989A-FCC9-51FE93C0AC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FE39C4BC-14FF-4AB6-8138-D11671C6FB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6126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orient="horz" pos="3838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</p15:sldGuideLst>
    </p:ext>
  </p:extLs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0E8D828-5ADB-E876-FBB4-56C270CF79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1289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E8D828-5ADB-E876-FBB4-56C270CF79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121A9A89-4485-5FDC-5E66-B5022C061C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B923FD47-75B6-A0F9-D10E-86C13339C3D4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89E4FD3F-8DB4-4216-C88E-CAAC5AFC00A8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A6239ABC-1C52-8EA3-0D3B-15D5674DDF64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DD97EA18-CB4C-8627-D4D6-590689644983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D46046C1-71C1-1AF3-14DA-DE103770C248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8ACD466-99F9-F4AD-5064-B3A0FC8E9BE6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6004BDC6-E95E-5858-738F-5074E6AB1A17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8882A681-B345-36F9-E838-3DCEB2CC4878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F69F9536-F95C-05B2-3D4B-7C750609F961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52B55680-59C5-1E4C-6E0C-515CDCBEB9C3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88EA9CAE-0F34-33F0-81A5-C88D9A5DDF92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1170CCA2-0188-F16C-5913-F83727B492CF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E1FB8C33-74B1-FF44-B12E-7845C91C4AE4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F46EEB80-75AD-99E7-0A92-D9EF8D6D93EE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57CFEAFD-1B92-8B2A-73CA-03990C64353D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3C23417D-2BC6-3B8B-C321-F55C3AE71E59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CBC09072-6D6E-6F70-4043-A6D22B8CE19A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A81978AC-A67E-6D25-FD25-6C8E9DA26497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78206771-9BDB-6C9C-D21F-B5B0088A3A19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9F7AF162-0DC8-07EE-6863-FD7310FA2D84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17C55752-8D8F-D9C5-8442-916953E9E222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A8A63583-14BB-BA3A-E84F-18BCCD925641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FA33261E-30F6-FBF0-1C22-5BDEB9EE4AD9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0" name="Rechteck 269">
              <a:extLst>
                <a:ext uri="{FF2B5EF4-FFF2-40B4-BE49-F238E27FC236}">
                  <a16:creationId xmlns:a16="http://schemas.microsoft.com/office/drawing/2014/main" id="{FF14B0D9-A903-787B-5D07-97C7FEAA940A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00DFF390-C437-32E7-6B9D-7AC6B0CF952D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62C84F2D-57BE-133A-B0C3-AB573883627A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8333C9F6-428A-3DC8-CC6C-86787D252C83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2366E17C-C46E-B58B-7624-A12DA4C7BF82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015C0C1C-4525-700F-50E7-8A1EE91490B5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B72DCBEF-0F2E-F266-8CB2-97075857124A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21EF83C0-BAE4-5437-A93C-F8A1CA39BD4E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152822FB-D591-A563-8626-223558CF7BE9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A40109E7-0622-067F-B326-D3DC65782826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A80B18BF-19DD-0315-0B57-32C18A87E988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21590603-99B4-B03A-DF64-896351996A2C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3" name="Rechteck 282">
              <a:extLst>
                <a:ext uri="{FF2B5EF4-FFF2-40B4-BE49-F238E27FC236}">
                  <a16:creationId xmlns:a16="http://schemas.microsoft.com/office/drawing/2014/main" id="{65EAB206-BED6-5C70-04F4-D2739626A016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D99C9E5D-FF77-823F-401F-0EC5638F0A33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8F720B2C-C675-7F4F-7998-07289EC2721A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C40D91AA-D1D0-8BF8-9113-26D0CFDC8205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F699B8C2-2FD0-F9CB-DA77-68BF124D8F52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0D3978D4-5BA0-BC31-1604-E388A2AD1202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368DF30E-D803-8B27-DF5D-E7EDB88F9769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21701AF5-951A-6522-BA2D-FF77B02E9C1E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94CF6D30-F006-AD27-3090-25FF3B1984A8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DEA0E544-F6E9-08A8-16E9-87B13128574D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6FFC0C97-3042-1646-21CC-2B015B2A1BAC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6084D666-FF9C-3525-45F4-51AA26482C07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55BB078B-AA78-9212-26BB-D1945D1E11D4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11E502A6-B8BD-4853-32D2-A6C39A0FEB18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A956D66F-FF35-3C4C-9586-26455FC12952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315ADA8A-1F40-43E0-1DAB-F38E2A735CDD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49CF7ED2-7C31-95A0-6B9F-D571BDAE9C71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E6057369-F83D-2258-0BF0-DCDB91928F34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DEA62CBF-5637-42F1-E803-1D1F58CDA03D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3DC33345-7084-0841-331F-94023FFC92C0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C45A7607-FE9A-FE8D-D976-FD4CEE51EB31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1260596F-109C-2484-AF96-092A4EB1BA69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3BF9E739-7588-0BC1-0D83-1A4158AD18C4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241F28FE-5F1A-5472-FA50-55D899C93B6F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D0A19E0D-42C9-391E-C7A2-1DBA1AD420B3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C391576D-8CE8-92E8-E9EC-DEB94E832825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9703B0D4-5E83-7E49-CA97-B53DC490FAAA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EBBE80AD-39CE-2297-9345-D517B6228FCA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2446D2A4-A2D8-7CB9-8D2D-424D6BFB5B86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4A21E4A1-C1D7-A795-CEAA-ACDA7FE8758E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416C810C-9BEB-BDC0-684D-40A4CE9B99B3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A5F24FBE-6702-34AC-0EF7-30CF9133C0A7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208BF697-19FD-0C81-5987-DD4A433E8202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1B632DAC-E841-C085-4545-043CED2BF314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B5215F3D-C00C-3979-37D5-BBAF0807A118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1CC78125-1F22-5AFD-EB20-65E7947D0C6C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89C94B2E-CDB4-B5AE-0F5C-4829D95429CF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6742A516-B16F-E3C8-B213-F5BC1E90AD9E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12B19DA7-FBA8-85D9-73FF-6BAAD0605F8C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CDC669FB-1C10-56A6-E729-61CF50ECA059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6A4EA3AB-3A42-3792-CB80-9098D37D1E72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EC63E718-1C8D-95A1-51A7-A57A66E09A31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11107D52-F765-E596-5925-77004932CFB6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DC4A7A7D-EA6F-3A6C-FBE9-B5E74FE4C530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10DA29F7-E3B4-1232-FD2E-34AF04D129E8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ACDB3704-38F9-0591-446A-BC5750A88987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11E2271F-ACCE-5D27-6FD7-751E0631E0B6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0B991E5C-B210-1ADF-4F1B-7F8AC2CBB876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21660858-2652-6D21-2FA9-A7351A42BA66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49E0ED3F-7B78-FF23-A4C0-A69D55183513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C506ED9D-9710-EB78-F2F4-0C4E6CA08633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BE45CC63-A1DC-36D5-3871-FC254ABC6C2F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EF86E4E8-90A1-6034-1789-FE76AED01B10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82E264E3-8BA0-114A-C3CC-37C73BEF9F7F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D94BB858-4E1C-E4D2-3EB0-70316D7F014E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FD578BD9-55D3-2B49-FCCC-E6510915EF37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1BD78D79-6FA5-D82D-07A1-AE48456B30A1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0A5B14DC-E15E-75BC-5358-820BCCE4F945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2961DAE7-9A51-76D3-A858-C7B8F5B0C892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202A1060-66A0-C58D-AE1C-5C9389D44B6A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4430C740-7255-83B7-A225-4E69E1549C5E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A5011DE3-6DC0-3279-0A72-A46BD4CE40D4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F08D7717-9867-D366-6BC8-90FED66F6484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D482CF92-E4B5-90B9-B24E-F238F53D3BFD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7103853B-6DEB-EDF0-F52E-3E291C260575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DA307EE1-AA34-75D6-F1E8-1E1CF13569E8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8A3942DA-C8A0-F795-1404-8F433FC1ECDF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72C18E86-35C3-A83D-9708-16A74BC24A04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F3C64D41-9C04-DA8A-8157-D209B709AC11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315A915F-1193-F71E-0FD4-794531D5ACC7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9E382C6A-F356-48AE-FC24-86F636DBFD86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DED4A34D-76D9-8901-418E-85C0A67BA8D2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D44D63B9-A92C-56DC-641E-2ECCA72D640F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27922954-8327-3C8A-75C2-7CA8C85740D3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73767A9F-4DE5-0E95-B0AE-2D56A315DEF3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924C9CF8-0896-F9F3-7D6C-497A3C8AB188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DA22004E-F780-5734-DAB9-DBC708E14042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2BB1E1F9-7B24-FF18-8DD8-D6EB7F3A211D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259A3DE5-E1C4-78D5-6F36-4F785DECF442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8E2AC191-CB14-8E70-E67C-A2AFA8434593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A337771F-FE59-CAD8-7008-1A722EA701B5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51A97863-5A09-D8AF-9A11-C098D669975F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EB813768-1689-5153-6393-3AF5421897AA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0" name="Rechteck 389">
              <a:extLst>
                <a:ext uri="{FF2B5EF4-FFF2-40B4-BE49-F238E27FC236}">
                  <a16:creationId xmlns:a16="http://schemas.microsoft.com/office/drawing/2014/main" id="{CA5EB520-C62D-E118-A710-86BEF41A7D64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1" name="Rechteck 390">
              <a:extLst>
                <a:ext uri="{FF2B5EF4-FFF2-40B4-BE49-F238E27FC236}">
                  <a16:creationId xmlns:a16="http://schemas.microsoft.com/office/drawing/2014/main" id="{2CDB9506-2B9D-F678-2EA4-3F15D146FCEE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2" name="Rechteck 391">
              <a:extLst>
                <a:ext uri="{FF2B5EF4-FFF2-40B4-BE49-F238E27FC236}">
                  <a16:creationId xmlns:a16="http://schemas.microsoft.com/office/drawing/2014/main" id="{86D5AF89-1A8B-DB77-72C3-17BE9ABBF773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3" name="Rechteck 392">
              <a:extLst>
                <a:ext uri="{FF2B5EF4-FFF2-40B4-BE49-F238E27FC236}">
                  <a16:creationId xmlns:a16="http://schemas.microsoft.com/office/drawing/2014/main" id="{242C00D5-050B-C6CD-6F0E-D9FA4E45171F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4" name="Rechteck 393">
              <a:extLst>
                <a:ext uri="{FF2B5EF4-FFF2-40B4-BE49-F238E27FC236}">
                  <a16:creationId xmlns:a16="http://schemas.microsoft.com/office/drawing/2014/main" id="{06893B78-98F6-342F-A7E4-53CD2FDE7039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5" name="Rechteck 394">
              <a:extLst>
                <a:ext uri="{FF2B5EF4-FFF2-40B4-BE49-F238E27FC236}">
                  <a16:creationId xmlns:a16="http://schemas.microsoft.com/office/drawing/2014/main" id="{4E461DEA-B867-CC8E-59D1-BC8F5D771F91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6" name="Rechteck 395">
              <a:extLst>
                <a:ext uri="{FF2B5EF4-FFF2-40B4-BE49-F238E27FC236}">
                  <a16:creationId xmlns:a16="http://schemas.microsoft.com/office/drawing/2014/main" id="{B1C8068D-BFAB-22C3-D190-1BBC335DB423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7" name="Rechteck 396">
              <a:extLst>
                <a:ext uri="{FF2B5EF4-FFF2-40B4-BE49-F238E27FC236}">
                  <a16:creationId xmlns:a16="http://schemas.microsoft.com/office/drawing/2014/main" id="{622B1CC8-790F-F7D4-DFE5-A90842E768DC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EA61A97C-0B3B-5C7E-4461-ADDB7FD97AFA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7FFBCE92-82AD-A992-D41F-B0A5F11CD7AB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70813162-0499-12FA-59D8-72D2926000D2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C6522CCD-5DB6-A551-A3A0-C580EF799E72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D65F26A3-906F-DD2F-D9A8-E96F1C2021C1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3" name="Rechteck 402">
              <a:extLst>
                <a:ext uri="{FF2B5EF4-FFF2-40B4-BE49-F238E27FC236}">
                  <a16:creationId xmlns:a16="http://schemas.microsoft.com/office/drawing/2014/main" id="{752092CD-F4BE-57F6-82B9-69B3D9733AFD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FCAC3DF6-8CC9-A1F3-818B-7EDBDBEA6989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5" name="Rechteck 404">
              <a:extLst>
                <a:ext uri="{FF2B5EF4-FFF2-40B4-BE49-F238E27FC236}">
                  <a16:creationId xmlns:a16="http://schemas.microsoft.com/office/drawing/2014/main" id="{C3C8F918-57A3-BC10-74A9-026732945877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6" name="Rechteck 405">
              <a:extLst>
                <a:ext uri="{FF2B5EF4-FFF2-40B4-BE49-F238E27FC236}">
                  <a16:creationId xmlns:a16="http://schemas.microsoft.com/office/drawing/2014/main" id="{46ABB76F-1A90-5FEB-B145-057A252E77CA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DC2B1D3C-E10E-26BA-9942-10621006E334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57DEF8BA-8926-3B13-777B-6D3BA13D46C2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37AD1C6B-847E-0A0C-48BC-66258314D1B1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0" name="Rechteck 409">
              <a:extLst>
                <a:ext uri="{FF2B5EF4-FFF2-40B4-BE49-F238E27FC236}">
                  <a16:creationId xmlns:a16="http://schemas.microsoft.com/office/drawing/2014/main" id="{FD59B179-E5EC-5933-1A1F-28FDE8C05E0B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DBBD3E64-B4D0-D35A-7652-60182BCEA32A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B83A1D92-B937-F0D8-967E-077B9ACCB511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39019A59-83A8-920E-BB48-0A868E20B2F3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AC55F9C4-98C0-C03F-4863-CA7F52850D12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B5D26C08-EEDF-5C70-1800-1BC0DEBC6401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6" name="Rechteck 415">
              <a:extLst>
                <a:ext uri="{FF2B5EF4-FFF2-40B4-BE49-F238E27FC236}">
                  <a16:creationId xmlns:a16="http://schemas.microsoft.com/office/drawing/2014/main" id="{F59402B9-C78A-66D6-6EA3-6E0861FE058B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66422A8A-D2EF-A371-9EA0-D9BE0C88BE03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8" name="Rechteck 417">
              <a:extLst>
                <a:ext uri="{FF2B5EF4-FFF2-40B4-BE49-F238E27FC236}">
                  <a16:creationId xmlns:a16="http://schemas.microsoft.com/office/drawing/2014/main" id="{0E2734D8-7F4E-6AE5-557B-BA7D289D87E5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9" name="Rechteck 418">
              <a:extLst>
                <a:ext uri="{FF2B5EF4-FFF2-40B4-BE49-F238E27FC236}">
                  <a16:creationId xmlns:a16="http://schemas.microsoft.com/office/drawing/2014/main" id="{18979B11-938B-C092-2B29-22C656A45D0A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0" name="Rechteck 419">
              <a:extLst>
                <a:ext uri="{FF2B5EF4-FFF2-40B4-BE49-F238E27FC236}">
                  <a16:creationId xmlns:a16="http://schemas.microsoft.com/office/drawing/2014/main" id="{E3FF60E9-7695-EAB2-ED80-2362FD63ED45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1" name="Rechteck 420">
              <a:extLst>
                <a:ext uri="{FF2B5EF4-FFF2-40B4-BE49-F238E27FC236}">
                  <a16:creationId xmlns:a16="http://schemas.microsoft.com/office/drawing/2014/main" id="{B5967872-C5AE-A67D-D1B2-FCFD00CA9FBC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2" name="Rechteck 421">
              <a:extLst>
                <a:ext uri="{FF2B5EF4-FFF2-40B4-BE49-F238E27FC236}">
                  <a16:creationId xmlns:a16="http://schemas.microsoft.com/office/drawing/2014/main" id="{F37EE8E1-96CA-4F74-50A7-B9AEDC507C00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3" name="Rechteck 422">
              <a:extLst>
                <a:ext uri="{FF2B5EF4-FFF2-40B4-BE49-F238E27FC236}">
                  <a16:creationId xmlns:a16="http://schemas.microsoft.com/office/drawing/2014/main" id="{52F06934-01BF-1224-581C-32BB5231A78D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4" name="Rechteck 423">
              <a:extLst>
                <a:ext uri="{FF2B5EF4-FFF2-40B4-BE49-F238E27FC236}">
                  <a16:creationId xmlns:a16="http://schemas.microsoft.com/office/drawing/2014/main" id="{3DF2E499-1062-E9E4-87C0-A3FB933A13DB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5" name="Rechteck 424">
              <a:extLst>
                <a:ext uri="{FF2B5EF4-FFF2-40B4-BE49-F238E27FC236}">
                  <a16:creationId xmlns:a16="http://schemas.microsoft.com/office/drawing/2014/main" id="{D9002FFA-E88E-6038-8ABD-C39481C01CDD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6" name="Rechteck 425">
              <a:extLst>
                <a:ext uri="{FF2B5EF4-FFF2-40B4-BE49-F238E27FC236}">
                  <a16:creationId xmlns:a16="http://schemas.microsoft.com/office/drawing/2014/main" id="{222A027A-1889-08DF-B08B-DF687E95049B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7" name="Rechteck 426">
              <a:extLst>
                <a:ext uri="{FF2B5EF4-FFF2-40B4-BE49-F238E27FC236}">
                  <a16:creationId xmlns:a16="http://schemas.microsoft.com/office/drawing/2014/main" id="{A527AD7A-BBDA-16D4-8556-6434EA9DF5AE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8" name="Rechteck 427">
              <a:extLst>
                <a:ext uri="{FF2B5EF4-FFF2-40B4-BE49-F238E27FC236}">
                  <a16:creationId xmlns:a16="http://schemas.microsoft.com/office/drawing/2014/main" id="{9C887B67-F8E1-427C-8C71-DCA02BC03F58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9" name="Rechteck 428">
              <a:extLst>
                <a:ext uri="{FF2B5EF4-FFF2-40B4-BE49-F238E27FC236}">
                  <a16:creationId xmlns:a16="http://schemas.microsoft.com/office/drawing/2014/main" id="{56728C68-6573-2BB4-E3BE-578F73074197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0" name="Rechteck 429">
              <a:extLst>
                <a:ext uri="{FF2B5EF4-FFF2-40B4-BE49-F238E27FC236}">
                  <a16:creationId xmlns:a16="http://schemas.microsoft.com/office/drawing/2014/main" id="{CA28ABBE-3F61-CAE6-0A8F-125B53614173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1" name="Rechteck 430">
              <a:extLst>
                <a:ext uri="{FF2B5EF4-FFF2-40B4-BE49-F238E27FC236}">
                  <a16:creationId xmlns:a16="http://schemas.microsoft.com/office/drawing/2014/main" id="{C14BE653-1501-1DED-6E7A-140FE9EC34EF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2" name="Rechteck 431">
              <a:extLst>
                <a:ext uri="{FF2B5EF4-FFF2-40B4-BE49-F238E27FC236}">
                  <a16:creationId xmlns:a16="http://schemas.microsoft.com/office/drawing/2014/main" id="{7CECE5C0-3C19-B27C-5E92-DA94187F6671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3" name="Rechteck 432">
              <a:extLst>
                <a:ext uri="{FF2B5EF4-FFF2-40B4-BE49-F238E27FC236}">
                  <a16:creationId xmlns:a16="http://schemas.microsoft.com/office/drawing/2014/main" id="{699026C4-ADE0-C95B-7731-04878F26D772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4" name="Rechteck 433">
              <a:extLst>
                <a:ext uri="{FF2B5EF4-FFF2-40B4-BE49-F238E27FC236}">
                  <a16:creationId xmlns:a16="http://schemas.microsoft.com/office/drawing/2014/main" id="{47408FD6-B65C-225F-D554-5A85BB4EB902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5" name="Rechteck 434">
              <a:extLst>
                <a:ext uri="{FF2B5EF4-FFF2-40B4-BE49-F238E27FC236}">
                  <a16:creationId xmlns:a16="http://schemas.microsoft.com/office/drawing/2014/main" id="{8D529776-AA74-4F63-9DE8-F045F22B9936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6" name="Rechteck 435">
              <a:extLst>
                <a:ext uri="{FF2B5EF4-FFF2-40B4-BE49-F238E27FC236}">
                  <a16:creationId xmlns:a16="http://schemas.microsoft.com/office/drawing/2014/main" id="{F7C64EA8-998D-23C9-BBB4-EF54BD9C4546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7" name="Rechteck 436">
              <a:extLst>
                <a:ext uri="{FF2B5EF4-FFF2-40B4-BE49-F238E27FC236}">
                  <a16:creationId xmlns:a16="http://schemas.microsoft.com/office/drawing/2014/main" id="{9679AE58-8DF7-7DDE-43E9-9C5CE58E1B8D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8" name="Rechteck 437">
              <a:extLst>
                <a:ext uri="{FF2B5EF4-FFF2-40B4-BE49-F238E27FC236}">
                  <a16:creationId xmlns:a16="http://schemas.microsoft.com/office/drawing/2014/main" id="{7FB540AD-CBA6-2EE3-9FBF-16ABD1BE4A73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9" name="Rechteck 438">
              <a:extLst>
                <a:ext uri="{FF2B5EF4-FFF2-40B4-BE49-F238E27FC236}">
                  <a16:creationId xmlns:a16="http://schemas.microsoft.com/office/drawing/2014/main" id="{516F418C-CAB2-F758-F9E6-47872DF90956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0" name="Rechteck 439">
              <a:extLst>
                <a:ext uri="{FF2B5EF4-FFF2-40B4-BE49-F238E27FC236}">
                  <a16:creationId xmlns:a16="http://schemas.microsoft.com/office/drawing/2014/main" id="{4158DECC-8940-7168-BC46-E6342DA624E9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1" name="Rechteck 440">
              <a:extLst>
                <a:ext uri="{FF2B5EF4-FFF2-40B4-BE49-F238E27FC236}">
                  <a16:creationId xmlns:a16="http://schemas.microsoft.com/office/drawing/2014/main" id="{60979196-FE3D-B00B-9226-9BAB6D3BBB46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2" name="Rechteck 441">
              <a:extLst>
                <a:ext uri="{FF2B5EF4-FFF2-40B4-BE49-F238E27FC236}">
                  <a16:creationId xmlns:a16="http://schemas.microsoft.com/office/drawing/2014/main" id="{37A9D8C3-F88F-6717-09FB-ED0542677BC7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3" name="Rechteck 442">
              <a:extLst>
                <a:ext uri="{FF2B5EF4-FFF2-40B4-BE49-F238E27FC236}">
                  <a16:creationId xmlns:a16="http://schemas.microsoft.com/office/drawing/2014/main" id="{4FDFE6C8-1C9E-2BBC-1B7F-94A9E3F7837D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4" name="Rechteck 443">
              <a:extLst>
                <a:ext uri="{FF2B5EF4-FFF2-40B4-BE49-F238E27FC236}">
                  <a16:creationId xmlns:a16="http://schemas.microsoft.com/office/drawing/2014/main" id="{877693BD-B93B-6249-93AC-52849B18522E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5" name="Rechteck 444">
              <a:extLst>
                <a:ext uri="{FF2B5EF4-FFF2-40B4-BE49-F238E27FC236}">
                  <a16:creationId xmlns:a16="http://schemas.microsoft.com/office/drawing/2014/main" id="{F4E47DB2-B4F9-06C0-F2BE-0506199FD928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6" name="Rechteck 445">
              <a:extLst>
                <a:ext uri="{FF2B5EF4-FFF2-40B4-BE49-F238E27FC236}">
                  <a16:creationId xmlns:a16="http://schemas.microsoft.com/office/drawing/2014/main" id="{71A88E64-4BCF-B40C-68B9-B8E9F93687CF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7" name="Rechteck 446">
              <a:extLst>
                <a:ext uri="{FF2B5EF4-FFF2-40B4-BE49-F238E27FC236}">
                  <a16:creationId xmlns:a16="http://schemas.microsoft.com/office/drawing/2014/main" id="{89267D17-3939-89EE-0444-310C67434B5D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8" name="Rechteck 447">
              <a:extLst>
                <a:ext uri="{FF2B5EF4-FFF2-40B4-BE49-F238E27FC236}">
                  <a16:creationId xmlns:a16="http://schemas.microsoft.com/office/drawing/2014/main" id="{76DE4728-5E92-A77A-073F-B83A4B4C0BA5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9" name="Rechteck 448">
              <a:extLst>
                <a:ext uri="{FF2B5EF4-FFF2-40B4-BE49-F238E27FC236}">
                  <a16:creationId xmlns:a16="http://schemas.microsoft.com/office/drawing/2014/main" id="{0B6EFD28-67E6-EB95-09EA-CB355C461927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0" name="Rechteck 449">
              <a:extLst>
                <a:ext uri="{FF2B5EF4-FFF2-40B4-BE49-F238E27FC236}">
                  <a16:creationId xmlns:a16="http://schemas.microsoft.com/office/drawing/2014/main" id="{8B584D13-9B6E-8266-35C0-CD6D624DCED4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1" name="Rechteck 450">
              <a:extLst>
                <a:ext uri="{FF2B5EF4-FFF2-40B4-BE49-F238E27FC236}">
                  <a16:creationId xmlns:a16="http://schemas.microsoft.com/office/drawing/2014/main" id="{23E74D8E-3AD4-0314-3970-89AA063D4467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2" name="Rechteck 451">
              <a:extLst>
                <a:ext uri="{FF2B5EF4-FFF2-40B4-BE49-F238E27FC236}">
                  <a16:creationId xmlns:a16="http://schemas.microsoft.com/office/drawing/2014/main" id="{20AF288A-B182-C940-45FD-6F6772DB1C0B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3" name="Rechteck 452">
              <a:extLst>
                <a:ext uri="{FF2B5EF4-FFF2-40B4-BE49-F238E27FC236}">
                  <a16:creationId xmlns:a16="http://schemas.microsoft.com/office/drawing/2014/main" id="{96A3B0F1-13F1-D8EB-D3CB-20046F43EBDD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4" name="Rechteck 453">
              <a:extLst>
                <a:ext uri="{FF2B5EF4-FFF2-40B4-BE49-F238E27FC236}">
                  <a16:creationId xmlns:a16="http://schemas.microsoft.com/office/drawing/2014/main" id="{F5D69ADC-ED8F-EFED-AC1A-5FF54F6671D3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5" name="Rechteck 454">
              <a:extLst>
                <a:ext uri="{FF2B5EF4-FFF2-40B4-BE49-F238E27FC236}">
                  <a16:creationId xmlns:a16="http://schemas.microsoft.com/office/drawing/2014/main" id="{9AB7805D-078D-E8C0-21AF-3D2EE29A81AE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6" name="Rechteck 455">
              <a:extLst>
                <a:ext uri="{FF2B5EF4-FFF2-40B4-BE49-F238E27FC236}">
                  <a16:creationId xmlns:a16="http://schemas.microsoft.com/office/drawing/2014/main" id="{B3909E2E-4849-A1E2-C1AE-B13E7C8E9448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7" name="Rechteck 456">
              <a:extLst>
                <a:ext uri="{FF2B5EF4-FFF2-40B4-BE49-F238E27FC236}">
                  <a16:creationId xmlns:a16="http://schemas.microsoft.com/office/drawing/2014/main" id="{C80CE572-1EBB-445E-CAD9-ED8F454C5B85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8" name="Rechteck 457">
              <a:extLst>
                <a:ext uri="{FF2B5EF4-FFF2-40B4-BE49-F238E27FC236}">
                  <a16:creationId xmlns:a16="http://schemas.microsoft.com/office/drawing/2014/main" id="{41B2BDED-31F3-9FF4-11D8-2384A284A410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9" name="Rechteck 458">
              <a:extLst>
                <a:ext uri="{FF2B5EF4-FFF2-40B4-BE49-F238E27FC236}">
                  <a16:creationId xmlns:a16="http://schemas.microsoft.com/office/drawing/2014/main" id="{5098BE76-A245-EE01-1A73-D08BA5291F77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60" name="Rechteck 459">
              <a:extLst>
                <a:ext uri="{FF2B5EF4-FFF2-40B4-BE49-F238E27FC236}">
                  <a16:creationId xmlns:a16="http://schemas.microsoft.com/office/drawing/2014/main" id="{D0EFB9E7-772C-607C-BF9F-4A9EF2F9B29A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cxnSp>
        <p:nvCxnSpPr>
          <p:cNvPr id="254" name="Line">
            <a:extLst>
              <a:ext uri="{FF2B5EF4-FFF2-40B4-BE49-F238E27FC236}">
                <a16:creationId xmlns:a16="http://schemas.microsoft.com/office/drawing/2014/main" id="{3C362275-2F3D-4002-8641-A07536B78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11424" y="908720"/>
            <a:ext cx="2304256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Title">
            <a:extLst>
              <a:ext uri="{FF2B5EF4-FFF2-40B4-BE49-F238E27FC236}">
                <a16:creationId xmlns:a16="http://schemas.microsoft.com/office/drawing/2014/main" id="{9258FB6E-C910-44A9-A44D-172431214D3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695400" y="1355786"/>
            <a:ext cx="2808312" cy="1440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0" rIns="216000" bIns="396000" anchor="b">
            <a:noAutofit/>
          </a:bodyPr>
          <a:lstStyle>
            <a:lvl1pPr algn="l" rtl="0">
              <a:lnSpc>
                <a:spcPct val="90000"/>
              </a:lnSpc>
              <a:defRPr sz="3000" baseline="0"/>
            </a:lvl1pPr>
          </a:lstStyle>
          <a:p>
            <a:r>
              <a:rPr lang="en-US"/>
              <a:t>[Thank You]</a:t>
            </a:r>
            <a:endParaRPr lang="en-US" dirty="0"/>
          </a:p>
        </p:txBody>
      </p:sp>
      <p:sp>
        <p:nvSpPr>
          <p:cNvPr id="271" name="Subtitle">
            <a:extLst>
              <a:ext uri="{FF2B5EF4-FFF2-40B4-BE49-F238E27FC236}">
                <a16:creationId xmlns:a16="http://schemas.microsoft.com/office/drawing/2014/main" id="{9D8B1ACD-0D77-D763-CE04-A05AF5D42782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695400" y="5877304"/>
            <a:ext cx="2808312" cy="288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none" lIns="216000" tIns="0" rIns="216000" bIns="36000" anchor="b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pPr lvl="0"/>
            <a:r>
              <a:rPr lang="en-US"/>
              <a:t>gfk.com</a:t>
            </a:r>
            <a:endParaRPr lang="en-US" dirty="0"/>
          </a:p>
        </p:txBody>
      </p:sp>
      <p:pic>
        <p:nvPicPr>
          <p:cNvPr id="461" name="Logo">
            <a:extLst>
              <a:ext uri="{FF2B5EF4-FFF2-40B4-BE49-F238E27FC236}">
                <a16:creationId xmlns:a16="http://schemas.microsoft.com/office/drawing/2014/main" id="{46B9AD8B-C7E2-67C3-5071-2E42671E29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4241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FCA3E486-0EBD-4776-BA1F-112C5185C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C0EA9C1E-5D6B-17C9-7981-2D7528C3C02A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5360" y="2061045"/>
            <a:ext cx="3456000" cy="40322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 hasCustomPrompt="1"/>
          </p:nvPr>
        </p:nvSpPr>
        <p:spPr bwMode="gray">
          <a:xfrm>
            <a:off x="4368192" y="2061045"/>
            <a:ext cx="3456000" cy="40322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8400256" y="2061045"/>
            <a:ext cx="3456000" cy="40322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12" name="Source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C3FE5F1-47BB-D5FE-BA8D-1A7CA9233C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22BA8F3-124B-4688-AE51-C3D6B9E773EE}" type="datetime1">
              <a:rPr lang="en-GB" smtClean="0"/>
              <a:t>12/02/2026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FA3B5FF-F94F-B68A-7BB4-B7A715EFF2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94CF1FC-3864-67F0-6544-6A9113A4C4A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32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2" pos="211">
          <p15:clr>
            <a:srgbClr val="FBAE40"/>
          </p15:clr>
        </p15:guide>
        <p15:guide id="3" pos="2751">
          <p15:clr>
            <a:srgbClr val="FBAE40"/>
          </p15:clr>
        </p15:guide>
        <p15:guide id="4" pos="2389">
          <p15:clr>
            <a:srgbClr val="FBAE40"/>
          </p15:clr>
        </p15:guide>
        <p15:guide id="5" pos="5292">
          <p15:clr>
            <a:srgbClr val="FBAE40"/>
          </p15:clr>
        </p15:guide>
        <p15:guide id="6" pos="4929">
          <p15:clr>
            <a:srgbClr val="FBAE40"/>
          </p15:clr>
        </p15:guide>
        <p15:guide id="7" pos="7469">
          <p15:clr>
            <a:srgbClr val="FBAE40"/>
          </p15:clr>
        </p15:guide>
        <p15:guide id="8" orient="horz" pos="3838">
          <p15:clr>
            <a:srgbClr val="FBAE40"/>
          </p15:clr>
        </p15:guide>
      </p15:sldGuideLst>
    </p:ext>
  </p:extLs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|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4924085-3563-1924-7786-91C5220D52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3743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924085-3563-1924-7786-91C5220D52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121A9A89-4485-5FDC-5E66-B5022C061C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B923FD47-75B6-A0F9-D10E-86C13339C3D4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89E4FD3F-8DB4-4216-C88E-CAAC5AFC00A8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A6239ABC-1C52-8EA3-0D3B-15D5674DDF64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DD97EA18-CB4C-8627-D4D6-590689644983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D46046C1-71C1-1AF3-14DA-DE103770C248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8ACD466-99F9-F4AD-5064-B3A0FC8E9BE6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6004BDC6-E95E-5858-738F-5074E6AB1A17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8882A681-B345-36F9-E838-3DCEB2CC4878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F69F9536-F95C-05B2-3D4B-7C750609F961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52B55680-59C5-1E4C-6E0C-515CDCBEB9C3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88EA9CAE-0F34-33F0-81A5-C88D9A5DDF92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1170CCA2-0188-F16C-5913-F83727B492CF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E1FB8C33-74B1-FF44-B12E-7845C91C4AE4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F46EEB80-75AD-99E7-0A92-D9EF8D6D93EE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57CFEAFD-1B92-8B2A-73CA-03990C64353D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3C23417D-2BC6-3B8B-C321-F55C3AE71E59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CBC09072-6D6E-6F70-4043-A6D22B8CE19A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A81978AC-A67E-6D25-FD25-6C8E9DA26497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78206771-9BDB-6C9C-D21F-B5B0088A3A19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9F7AF162-0DC8-07EE-6863-FD7310FA2D84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17C55752-8D8F-D9C5-8442-916953E9E222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A8A63583-14BB-BA3A-E84F-18BCCD925641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FA33261E-30F6-FBF0-1C22-5BDEB9EE4AD9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0" name="Rechteck 269">
              <a:extLst>
                <a:ext uri="{FF2B5EF4-FFF2-40B4-BE49-F238E27FC236}">
                  <a16:creationId xmlns:a16="http://schemas.microsoft.com/office/drawing/2014/main" id="{FF14B0D9-A903-787B-5D07-97C7FEAA940A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00DFF390-C437-32E7-6B9D-7AC6B0CF952D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62C84F2D-57BE-133A-B0C3-AB573883627A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8333C9F6-428A-3DC8-CC6C-86787D252C83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2366E17C-C46E-B58B-7624-A12DA4C7BF82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015C0C1C-4525-700F-50E7-8A1EE91490B5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B72DCBEF-0F2E-F266-8CB2-97075857124A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21EF83C0-BAE4-5437-A93C-F8A1CA39BD4E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152822FB-D591-A563-8626-223558CF7BE9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A40109E7-0622-067F-B326-D3DC65782826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A80B18BF-19DD-0315-0B57-32C18A87E988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21590603-99B4-B03A-DF64-896351996A2C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3" name="Rechteck 282">
              <a:extLst>
                <a:ext uri="{FF2B5EF4-FFF2-40B4-BE49-F238E27FC236}">
                  <a16:creationId xmlns:a16="http://schemas.microsoft.com/office/drawing/2014/main" id="{65EAB206-BED6-5C70-04F4-D2739626A016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D99C9E5D-FF77-823F-401F-0EC5638F0A33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8F720B2C-C675-7F4F-7998-07289EC2721A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C40D91AA-D1D0-8BF8-9113-26D0CFDC8205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F699B8C2-2FD0-F9CB-DA77-68BF124D8F52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0D3978D4-5BA0-BC31-1604-E388A2AD1202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368DF30E-D803-8B27-DF5D-E7EDB88F9769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21701AF5-951A-6522-BA2D-FF77B02E9C1E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94CF6D30-F006-AD27-3090-25FF3B1984A8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DEA0E544-F6E9-08A8-16E9-87B13128574D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6FFC0C97-3042-1646-21CC-2B015B2A1BAC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6084D666-FF9C-3525-45F4-51AA26482C07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55BB078B-AA78-9212-26BB-D1945D1E11D4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11E502A6-B8BD-4853-32D2-A6C39A0FEB18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A956D66F-FF35-3C4C-9586-26455FC12952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315ADA8A-1F40-43E0-1DAB-F38E2A735CDD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49CF7ED2-7C31-95A0-6B9F-D571BDAE9C71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E6057369-F83D-2258-0BF0-DCDB91928F34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DEA62CBF-5637-42F1-E803-1D1F58CDA03D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3DC33345-7084-0841-331F-94023FFC92C0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C45A7607-FE9A-FE8D-D976-FD4CEE51EB31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1260596F-109C-2484-AF96-092A4EB1BA69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3BF9E739-7588-0BC1-0D83-1A4158AD18C4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241F28FE-5F1A-5472-FA50-55D899C93B6F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D0A19E0D-42C9-391E-C7A2-1DBA1AD420B3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C391576D-8CE8-92E8-E9EC-DEB94E832825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9703B0D4-5E83-7E49-CA97-B53DC490FAAA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EBBE80AD-39CE-2297-9345-D517B6228FCA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2446D2A4-A2D8-7CB9-8D2D-424D6BFB5B86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4A21E4A1-C1D7-A795-CEAA-ACDA7FE8758E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416C810C-9BEB-BDC0-684D-40A4CE9B99B3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A5F24FBE-6702-34AC-0EF7-30CF9133C0A7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208BF697-19FD-0C81-5987-DD4A433E8202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1B632DAC-E841-C085-4545-043CED2BF314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B5215F3D-C00C-3979-37D5-BBAF0807A118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1CC78125-1F22-5AFD-EB20-65E7947D0C6C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89C94B2E-CDB4-B5AE-0F5C-4829D95429CF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6742A516-B16F-E3C8-B213-F5BC1E90AD9E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12B19DA7-FBA8-85D9-73FF-6BAAD0605F8C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CDC669FB-1C10-56A6-E729-61CF50ECA059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6A4EA3AB-3A42-3792-CB80-9098D37D1E72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EC63E718-1C8D-95A1-51A7-A57A66E09A31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11107D52-F765-E596-5925-77004932CFB6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DC4A7A7D-EA6F-3A6C-FBE9-B5E74FE4C530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10DA29F7-E3B4-1232-FD2E-34AF04D129E8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ACDB3704-38F9-0591-446A-BC5750A88987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11E2271F-ACCE-5D27-6FD7-751E0631E0B6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0B991E5C-B210-1ADF-4F1B-7F8AC2CBB876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21660858-2652-6D21-2FA9-A7351A42BA66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49E0ED3F-7B78-FF23-A4C0-A69D55183513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C506ED9D-9710-EB78-F2F4-0C4E6CA08633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BE45CC63-A1DC-36D5-3871-FC254ABC6C2F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EF86E4E8-90A1-6034-1789-FE76AED01B10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82E264E3-8BA0-114A-C3CC-37C73BEF9F7F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D94BB858-4E1C-E4D2-3EB0-70316D7F014E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FD578BD9-55D3-2B49-FCCC-E6510915EF37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1BD78D79-6FA5-D82D-07A1-AE48456B30A1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0A5B14DC-E15E-75BC-5358-820BCCE4F945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2961DAE7-9A51-76D3-A858-C7B8F5B0C892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202A1060-66A0-C58D-AE1C-5C9389D44B6A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4430C740-7255-83B7-A225-4E69E1549C5E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A5011DE3-6DC0-3279-0A72-A46BD4CE40D4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F08D7717-9867-D366-6BC8-90FED66F6484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D482CF92-E4B5-90B9-B24E-F238F53D3BFD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7103853B-6DEB-EDF0-F52E-3E291C260575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DA307EE1-AA34-75D6-F1E8-1E1CF13569E8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8A3942DA-C8A0-F795-1404-8F433FC1ECDF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72C18E86-35C3-A83D-9708-16A74BC24A04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F3C64D41-9C04-DA8A-8157-D209B709AC11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315A915F-1193-F71E-0FD4-794531D5ACC7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9E382C6A-F356-48AE-FC24-86F636DBFD86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DED4A34D-76D9-8901-418E-85C0A67BA8D2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D44D63B9-A92C-56DC-641E-2ECCA72D640F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27922954-8327-3C8A-75C2-7CA8C85740D3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73767A9F-4DE5-0E95-B0AE-2D56A315DEF3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924C9CF8-0896-F9F3-7D6C-497A3C8AB188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DA22004E-F780-5734-DAB9-DBC708E14042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2BB1E1F9-7B24-FF18-8DD8-D6EB7F3A211D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259A3DE5-E1C4-78D5-6F36-4F785DECF442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8E2AC191-CB14-8E70-E67C-A2AFA8434593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A337771F-FE59-CAD8-7008-1A722EA701B5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51A97863-5A09-D8AF-9A11-C098D669975F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EB813768-1689-5153-6393-3AF5421897AA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0" name="Rechteck 389">
              <a:extLst>
                <a:ext uri="{FF2B5EF4-FFF2-40B4-BE49-F238E27FC236}">
                  <a16:creationId xmlns:a16="http://schemas.microsoft.com/office/drawing/2014/main" id="{CA5EB520-C62D-E118-A710-86BEF41A7D64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1" name="Rechteck 390">
              <a:extLst>
                <a:ext uri="{FF2B5EF4-FFF2-40B4-BE49-F238E27FC236}">
                  <a16:creationId xmlns:a16="http://schemas.microsoft.com/office/drawing/2014/main" id="{2CDB9506-2B9D-F678-2EA4-3F15D146FCEE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2" name="Rechteck 391">
              <a:extLst>
                <a:ext uri="{FF2B5EF4-FFF2-40B4-BE49-F238E27FC236}">
                  <a16:creationId xmlns:a16="http://schemas.microsoft.com/office/drawing/2014/main" id="{86D5AF89-1A8B-DB77-72C3-17BE9ABBF773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3" name="Rechteck 392">
              <a:extLst>
                <a:ext uri="{FF2B5EF4-FFF2-40B4-BE49-F238E27FC236}">
                  <a16:creationId xmlns:a16="http://schemas.microsoft.com/office/drawing/2014/main" id="{242C00D5-050B-C6CD-6F0E-D9FA4E45171F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4" name="Rechteck 393">
              <a:extLst>
                <a:ext uri="{FF2B5EF4-FFF2-40B4-BE49-F238E27FC236}">
                  <a16:creationId xmlns:a16="http://schemas.microsoft.com/office/drawing/2014/main" id="{06893B78-98F6-342F-A7E4-53CD2FDE7039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5" name="Rechteck 394">
              <a:extLst>
                <a:ext uri="{FF2B5EF4-FFF2-40B4-BE49-F238E27FC236}">
                  <a16:creationId xmlns:a16="http://schemas.microsoft.com/office/drawing/2014/main" id="{4E461DEA-B867-CC8E-59D1-BC8F5D771F91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6" name="Rechteck 395">
              <a:extLst>
                <a:ext uri="{FF2B5EF4-FFF2-40B4-BE49-F238E27FC236}">
                  <a16:creationId xmlns:a16="http://schemas.microsoft.com/office/drawing/2014/main" id="{B1C8068D-BFAB-22C3-D190-1BBC335DB423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7" name="Rechteck 396">
              <a:extLst>
                <a:ext uri="{FF2B5EF4-FFF2-40B4-BE49-F238E27FC236}">
                  <a16:creationId xmlns:a16="http://schemas.microsoft.com/office/drawing/2014/main" id="{622B1CC8-790F-F7D4-DFE5-A90842E768DC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EA61A97C-0B3B-5C7E-4461-ADDB7FD97AFA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7FFBCE92-82AD-A992-D41F-B0A5F11CD7AB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70813162-0499-12FA-59D8-72D2926000D2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C6522CCD-5DB6-A551-A3A0-C580EF799E72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D65F26A3-906F-DD2F-D9A8-E96F1C2021C1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3" name="Rechteck 402">
              <a:extLst>
                <a:ext uri="{FF2B5EF4-FFF2-40B4-BE49-F238E27FC236}">
                  <a16:creationId xmlns:a16="http://schemas.microsoft.com/office/drawing/2014/main" id="{752092CD-F4BE-57F6-82B9-69B3D9733AFD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FCAC3DF6-8CC9-A1F3-818B-7EDBDBEA6989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5" name="Rechteck 404">
              <a:extLst>
                <a:ext uri="{FF2B5EF4-FFF2-40B4-BE49-F238E27FC236}">
                  <a16:creationId xmlns:a16="http://schemas.microsoft.com/office/drawing/2014/main" id="{C3C8F918-57A3-BC10-74A9-026732945877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6" name="Rechteck 405">
              <a:extLst>
                <a:ext uri="{FF2B5EF4-FFF2-40B4-BE49-F238E27FC236}">
                  <a16:creationId xmlns:a16="http://schemas.microsoft.com/office/drawing/2014/main" id="{46ABB76F-1A90-5FEB-B145-057A252E77CA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DC2B1D3C-E10E-26BA-9942-10621006E334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57DEF8BA-8926-3B13-777B-6D3BA13D46C2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37AD1C6B-847E-0A0C-48BC-66258314D1B1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0" name="Rechteck 409">
              <a:extLst>
                <a:ext uri="{FF2B5EF4-FFF2-40B4-BE49-F238E27FC236}">
                  <a16:creationId xmlns:a16="http://schemas.microsoft.com/office/drawing/2014/main" id="{FD59B179-E5EC-5933-1A1F-28FDE8C05E0B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DBBD3E64-B4D0-D35A-7652-60182BCEA32A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B83A1D92-B937-F0D8-967E-077B9ACCB511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39019A59-83A8-920E-BB48-0A868E20B2F3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AC55F9C4-98C0-C03F-4863-CA7F52850D12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B5D26C08-EEDF-5C70-1800-1BC0DEBC6401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6" name="Rechteck 415">
              <a:extLst>
                <a:ext uri="{FF2B5EF4-FFF2-40B4-BE49-F238E27FC236}">
                  <a16:creationId xmlns:a16="http://schemas.microsoft.com/office/drawing/2014/main" id="{F59402B9-C78A-66D6-6EA3-6E0861FE058B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66422A8A-D2EF-A371-9EA0-D9BE0C88BE03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8" name="Rechteck 417">
              <a:extLst>
                <a:ext uri="{FF2B5EF4-FFF2-40B4-BE49-F238E27FC236}">
                  <a16:creationId xmlns:a16="http://schemas.microsoft.com/office/drawing/2014/main" id="{0E2734D8-7F4E-6AE5-557B-BA7D289D87E5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9" name="Rechteck 418">
              <a:extLst>
                <a:ext uri="{FF2B5EF4-FFF2-40B4-BE49-F238E27FC236}">
                  <a16:creationId xmlns:a16="http://schemas.microsoft.com/office/drawing/2014/main" id="{18979B11-938B-C092-2B29-22C656A45D0A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0" name="Rechteck 419">
              <a:extLst>
                <a:ext uri="{FF2B5EF4-FFF2-40B4-BE49-F238E27FC236}">
                  <a16:creationId xmlns:a16="http://schemas.microsoft.com/office/drawing/2014/main" id="{E3FF60E9-7695-EAB2-ED80-2362FD63ED45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1" name="Rechteck 420">
              <a:extLst>
                <a:ext uri="{FF2B5EF4-FFF2-40B4-BE49-F238E27FC236}">
                  <a16:creationId xmlns:a16="http://schemas.microsoft.com/office/drawing/2014/main" id="{B5967872-C5AE-A67D-D1B2-FCFD00CA9FBC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2" name="Rechteck 421">
              <a:extLst>
                <a:ext uri="{FF2B5EF4-FFF2-40B4-BE49-F238E27FC236}">
                  <a16:creationId xmlns:a16="http://schemas.microsoft.com/office/drawing/2014/main" id="{F37EE8E1-96CA-4F74-50A7-B9AEDC507C00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3" name="Rechteck 422">
              <a:extLst>
                <a:ext uri="{FF2B5EF4-FFF2-40B4-BE49-F238E27FC236}">
                  <a16:creationId xmlns:a16="http://schemas.microsoft.com/office/drawing/2014/main" id="{52F06934-01BF-1224-581C-32BB5231A78D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4" name="Rechteck 423">
              <a:extLst>
                <a:ext uri="{FF2B5EF4-FFF2-40B4-BE49-F238E27FC236}">
                  <a16:creationId xmlns:a16="http://schemas.microsoft.com/office/drawing/2014/main" id="{3DF2E499-1062-E9E4-87C0-A3FB933A13DB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5" name="Rechteck 424">
              <a:extLst>
                <a:ext uri="{FF2B5EF4-FFF2-40B4-BE49-F238E27FC236}">
                  <a16:creationId xmlns:a16="http://schemas.microsoft.com/office/drawing/2014/main" id="{D9002FFA-E88E-6038-8ABD-C39481C01CDD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6" name="Rechteck 425">
              <a:extLst>
                <a:ext uri="{FF2B5EF4-FFF2-40B4-BE49-F238E27FC236}">
                  <a16:creationId xmlns:a16="http://schemas.microsoft.com/office/drawing/2014/main" id="{222A027A-1889-08DF-B08B-DF687E95049B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7" name="Rechteck 426">
              <a:extLst>
                <a:ext uri="{FF2B5EF4-FFF2-40B4-BE49-F238E27FC236}">
                  <a16:creationId xmlns:a16="http://schemas.microsoft.com/office/drawing/2014/main" id="{A527AD7A-BBDA-16D4-8556-6434EA9DF5AE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8" name="Rechteck 427">
              <a:extLst>
                <a:ext uri="{FF2B5EF4-FFF2-40B4-BE49-F238E27FC236}">
                  <a16:creationId xmlns:a16="http://schemas.microsoft.com/office/drawing/2014/main" id="{9C887B67-F8E1-427C-8C71-DCA02BC03F58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9" name="Rechteck 428">
              <a:extLst>
                <a:ext uri="{FF2B5EF4-FFF2-40B4-BE49-F238E27FC236}">
                  <a16:creationId xmlns:a16="http://schemas.microsoft.com/office/drawing/2014/main" id="{56728C68-6573-2BB4-E3BE-578F73074197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0" name="Rechteck 429">
              <a:extLst>
                <a:ext uri="{FF2B5EF4-FFF2-40B4-BE49-F238E27FC236}">
                  <a16:creationId xmlns:a16="http://schemas.microsoft.com/office/drawing/2014/main" id="{CA28ABBE-3F61-CAE6-0A8F-125B53614173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1" name="Rechteck 430">
              <a:extLst>
                <a:ext uri="{FF2B5EF4-FFF2-40B4-BE49-F238E27FC236}">
                  <a16:creationId xmlns:a16="http://schemas.microsoft.com/office/drawing/2014/main" id="{C14BE653-1501-1DED-6E7A-140FE9EC34EF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2" name="Rechteck 431">
              <a:extLst>
                <a:ext uri="{FF2B5EF4-FFF2-40B4-BE49-F238E27FC236}">
                  <a16:creationId xmlns:a16="http://schemas.microsoft.com/office/drawing/2014/main" id="{7CECE5C0-3C19-B27C-5E92-DA94187F6671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3" name="Rechteck 432">
              <a:extLst>
                <a:ext uri="{FF2B5EF4-FFF2-40B4-BE49-F238E27FC236}">
                  <a16:creationId xmlns:a16="http://schemas.microsoft.com/office/drawing/2014/main" id="{699026C4-ADE0-C95B-7731-04878F26D772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4" name="Rechteck 433">
              <a:extLst>
                <a:ext uri="{FF2B5EF4-FFF2-40B4-BE49-F238E27FC236}">
                  <a16:creationId xmlns:a16="http://schemas.microsoft.com/office/drawing/2014/main" id="{47408FD6-B65C-225F-D554-5A85BB4EB902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5" name="Rechteck 434">
              <a:extLst>
                <a:ext uri="{FF2B5EF4-FFF2-40B4-BE49-F238E27FC236}">
                  <a16:creationId xmlns:a16="http://schemas.microsoft.com/office/drawing/2014/main" id="{8D529776-AA74-4F63-9DE8-F045F22B9936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6" name="Rechteck 435">
              <a:extLst>
                <a:ext uri="{FF2B5EF4-FFF2-40B4-BE49-F238E27FC236}">
                  <a16:creationId xmlns:a16="http://schemas.microsoft.com/office/drawing/2014/main" id="{F7C64EA8-998D-23C9-BBB4-EF54BD9C4546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7" name="Rechteck 436">
              <a:extLst>
                <a:ext uri="{FF2B5EF4-FFF2-40B4-BE49-F238E27FC236}">
                  <a16:creationId xmlns:a16="http://schemas.microsoft.com/office/drawing/2014/main" id="{9679AE58-8DF7-7DDE-43E9-9C5CE58E1B8D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8" name="Rechteck 437">
              <a:extLst>
                <a:ext uri="{FF2B5EF4-FFF2-40B4-BE49-F238E27FC236}">
                  <a16:creationId xmlns:a16="http://schemas.microsoft.com/office/drawing/2014/main" id="{7FB540AD-CBA6-2EE3-9FBF-16ABD1BE4A73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9" name="Rechteck 438">
              <a:extLst>
                <a:ext uri="{FF2B5EF4-FFF2-40B4-BE49-F238E27FC236}">
                  <a16:creationId xmlns:a16="http://schemas.microsoft.com/office/drawing/2014/main" id="{516F418C-CAB2-F758-F9E6-47872DF90956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0" name="Rechteck 439">
              <a:extLst>
                <a:ext uri="{FF2B5EF4-FFF2-40B4-BE49-F238E27FC236}">
                  <a16:creationId xmlns:a16="http://schemas.microsoft.com/office/drawing/2014/main" id="{4158DECC-8940-7168-BC46-E6342DA624E9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1" name="Rechteck 440">
              <a:extLst>
                <a:ext uri="{FF2B5EF4-FFF2-40B4-BE49-F238E27FC236}">
                  <a16:creationId xmlns:a16="http://schemas.microsoft.com/office/drawing/2014/main" id="{60979196-FE3D-B00B-9226-9BAB6D3BBB46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2" name="Rechteck 441">
              <a:extLst>
                <a:ext uri="{FF2B5EF4-FFF2-40B4-BE49-F238E27FC236}">
                  <a16:creationId xmlns:a16="http://schemas.microsoft.com/office/drawing/2014/main" id="{37A9D8C3-F88F-6717-09FB-ED0542677BC7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3" name="Rechteck 442">
              <a:extLst>
                <a:ext uri="{FF2B5EF4-FFF2-40B4-BE49-F238E27FC236}">
                  <a16:creationId xmlns:a16="http://schemas.microsoft.com/office/drawing/2014/main" id="{4FDFE6C8-1C9E-2BBC-1B7F-94A9E3F7837D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4" name="Rechteck 443">
              <a:extLst>
                <a:ext uri="{FF2B5EF4-FFF2-40B4-BE49-F238E27FC236}">
                  <a16:creationId xmlns:a16="http://schemas.microsoft.com/office/drawing/2014/main" id="{877693BD-B93B-6249-93AC-52849B18522E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5" name="Rechteck 444">
              <a:extLst>
                <a:ext uri="{FF2B5EF4-FFF2-40B4-BE49-F238E27FC236}">
                  <a16:creationId xmlns:a16="http://schemas.microsoft.com/office/drawing/2014/main" id="{F4E47DB2-B4F9-06C0-F2BE-0506199FD928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6" name="Rechteck 445">
              <a:extLst>
                <a:ext uri="{FF2B5EF4-FFF2-40B4-BE49-F238E27FC236}">
                  <a16:creationId xmlns:a16="http://schemas.microsoft.com/office/drawing/2014/main" id="{71A88E64-4BCF-B40C-68B9-B8E9F93687CF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7" name="Rechteck 446">
              <a:extLst>
                <a:ext uri="{FF2B5EF4-FFF2-40B4-BE49-F238E27FC236}">
                  <a16:creationId xmlns:a16="http://schemas.microsoft.com/office/drawing/2014/main" id="{89267D17-3939-89EE-0444-310C67434B5D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8" name="Rechteck 447">
              <a:extLst>
                <a:ext uri="{FF2B5EF4-FFF2-40B4-BE49-F238E27FC236}">
                  <a16:creationId xmlns:a16="http://schemas.microsoft.com/office/drawing/2014/main" id="{76DE4728-5E92-A77A-073F-B83A4B4C0BA5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9" name="Rechteck 448">
              <a:extLst>
                <a:ext uri="{FF2B5EF4-FFF2-40B4-BE49-F238E27FC236}">
                  <a16:creationId xmlns:a16="http://schemas.microsoft.com/office/drawing/2014/main" id="{0B6EFD28-67E6-EB95-09EA-CB355C461927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0" name="Rechteck 449">
              <a:extLst>
                <a:ext uri="{FF2B5EF4-FFF2-40B4-BE49-F238E27FC236}">
                  <a16:creationId xmlns:a16="http://schemas.microsoft.com/office/drawing/2014/main" id="{8B584D13-9B6E-8266-35C0-CD6D624DCED4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1" name="Rechteck 450">
              <a:extLst>
                <a:ext uri="{FF2B5EF4-FFF2-40B4-BE49-F238E27FC236}">
                  <a16:creationId xmlns:a16="http://schemas.microsoft.com/office/drawing/2014/main" id="{23E74D8E-3AD4-0314-3970-89AA063D4467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2" name="Rechteck 451">
              <a:extLst>
                <a:ext uri="{FF2B5EF4-FFF2-40B4-BE49-F238E27FC236}">
                  <a16:creationId xmlns:a16="http://schemas.microsoft.com/office/drawing/2014/main" id="{20AF288A-B182-C940-45FD-6F6772DB1C0B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3" name="Rechteck 452">
              <a:extLst>
                <a:ext uri="{FF2B5EF4-FFF2-40B4-BE49-F238E27FC236}">
                  <a16:creationId xmlns:a16="http://schemas.microsoft.com/office/drawing/2014/main" id="{96A3B0F1-13F1-D8EB-D3CB-20046F43EBDD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4" name="Rechteck 453">
              <a:extLst>
                <a:ext uri="{FF2B5EF4-FFF2-40B4-BE49-F238E27FC236}">
                  <a16:creationId xmlns:a16="http://schemas.microsoft.com/office/drawing/2014/main" id="{F5D69ADC-ED8F-EFED-AC1A-5FF54F6671D3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5" name="Rechteck 454">
              <a:extLst>
                <a:ext uri="{FF2B5EF4-FFF2-40B4-BE49-F238E27FC236}">
                  <a16:creationId xmlns:a16="http://schemas.microsoft.com/office/drawing/2014/main" id="{9AB7805D-078D-E8C0-21AF-3D2EE29A81AE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6" name="Rechteck 455">
              <a:extLst>
                <a:ext uri="{FF2B5EF4-FFF2-40B4-BE49-F238E27FC236}">
                  <a16:creationId xmlns:a16="http://schemas.microsoft.com/office/drawing/2014/main" id="{B3909E2E-4849-A1E2-C1AE-B13E7C8E9448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7" name="Rechteck 456">
              <a:extLst>
                <a:ext uri="{FF2B5EF4-FFF2-40B4-BE49-F238E27FC236}">
                  <a16:creationId xmlns:a16="http://schemas.microsoft.com/office/drawing/2014/main" id="{C80CE572-1EBB-445E-CAD9-ED8F454C5B85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8" name="Rechteck 457">
              <a:extLst>
                <a:ext uri="{FF2B5EF4-FFF2-40B4-BE49-F238E27FC236}">
                  <a16:creationId xmlns:a16="http://schemas.microsoft.com/office/drawing/2014/main" id="{41B2BDED-31F3-9FF4-11D8-2384A284A410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9" name="Rechteck 458">
              <a:extLst>
                <a:ext uri="{FF2B5EF4-FFF2-40B4-BE49-F238E27FC236}">
                  <a16:creationId xmlns:a16="http://schemas.microsoft.com/office/drawing/2014/main" id="{5098BE76-A245-EE01-1A73-D08BA5291F77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60" name="Rechteck 459">
              <a:extLst>
                <a:ext uri="{FF2B5EF4-FFF2-40B4-BE49-F238E27FC236}">
                  <a16:creationId xmlns:a16="http://schemas.microsoft.com/office/drawing/2014/main" id="{D0EFB9E7-772C-607C-BF9F-4A9EF2F9B29A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cxnSp>
        <p:nvCxnSpPr>
          <p:cNvPr id="254" name="Line">
            <a:extLst>
              <a:ext uri="{FF2B5EF4-FFF2-40B4-BE49-F238E27FC236}">
                <a16:creationId xmlns:a16="http://schemas.microsoft.com/office/drawing/2014/main" id="{3C362275-2F3D-4002-8641-A07536B78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11424" y="908720"/>
            <a:ext cx="2304256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Title">
            <a:extLst>
              <a:ext uri="{FF2B5EF4-FFF2-40B4-BE49-F238E27FC236}">
                <a16:creationId xmlns:a16="http://schemas.microsoft.com/office/drawing/2014/main" id="{9258FB6E-C910-44A9-A44D-172431214D3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695400" y="1355786"/>
            <a:ext cx="2808312" cy="1440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0" rIns="216000" bIns="396000" anchor="b">
            <a:noAutofit/>
          </a:bodyPr>
          <a:lstStyle>
            <a:lvl1pPr algn="l" rtl="0">
              <a:lnSpc>
                <a:spcPct val="90000"/>
              </a:lnSpc>
              <a:defRPr sz="3000" baseline="0"/>
            </a:lvl1pPr>
          </a:lstStyle>
          <a:p>
            <a:r>
              <a:rPr lang="en-US"/>
              <a:t>[Thank You]</a:t>
            </a:r>
            <a:endParaRPr lang="en-US" dirty="0"/>
          </a:p>
        </p:txBody>
      </p:sp>
      <p:sp>
        <p:nvSpPr>
          <p:cNvPr id="271" name="Subtitle">
            <a:extLst>
              <a:ext uri="{FF2B5EF4-FFF2-40B4-BE49-F238E27FC236}">
                <a16:creationId xmlns:a16="http://schemas.microsoft.com/office/drawing/2014/main" id="{9D8B1ACD-0D77-D763-CE04-A05AF5D42782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695400" y="5877304"/>
            <a:ext cx="2808312" cy="288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none" lIns="216000" tIns="0" rIns="216000" bIns="36000" anchor="b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pPr lvl="0"/>
            <a:r>
              <a:rPr lang="en-US"/>
              <a:t>gfk.com</a:t>
            </a:r>
            <a:endParaRPr lang="en-US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CC7BB515-6E5D-A92F-C208-751DF02C747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28448" y="335757"/>
            <a:ext cx="1357200" cy="575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08307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5A0E983A-45E0-786B-B347-9ED6F8B60A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41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0E983A-45E0-786B-B347-9ED6F8B60A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BA3D5077-9B7E-7724-D9D3-945B7856EF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FC8F0747-D2B9-9C69-7610-E2BD2EFC8B25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B0AA2A1E-23FE-92FE-C7C4-29929312C782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1847C1AF-7CA7-5A4D-0AF8-C4BFC0CF08A3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6D5360A6-957F-5917-F189-1C9F1011CEE3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E43B47E5-2148-A509-2746-0CF482C264C3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962D4F53-A18B-00D3-4670-21E6DFD18054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23A62B33-E5FC-8E76-5668-C55163DB5FF0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595BC0B5-5F66-B937-AEEC-323520D55CDB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9C1106C1-B34E-A692-10C1-4F00FEFC644E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9705481E-68D1-068D-B5F2-7F1FE6545F30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59285C40-B342-7821-6FAB-DB1D7B2352CF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4544A6DF-78A6-07C7-59CD-41D0FC1E883D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8E567715-24D2-262E-1A34-40CBB5D02310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1894A824-9907-6513-A8E8-1B14387A1874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80245634-1E65-633F-19D0-FAFF5EAFF13E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B3DC6ABE-2824-B073-56CB-CE22FBE2AEB5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25451F4C-B902-0706-9879-07B6EE90E134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30B63979-959C-8449-22FB-F23A5A24F161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00A7106E-3DF6-E40A-DA3C-67670B598B6F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B0FBFB94-C965-55E6-63D8-12556665668A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DD3D1E7D-CE82-9FBE-923C-734E7DCB3DDB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FCC158CB-9187-3038-C37A-E7CA8A5F266F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9C55774F-5D9E-9D9E-F618-3A7AC531E950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1" name="Rechteck 270">
              <a:extLst>
                <a:ext uri="{FF2B5EF4-FFF2-40B4-BE49-F238E27FC236}">
                  <a16:creationId xmlns:a16="http://schemas.microsoft.com/office/drawing/2014/main" id="{42358AE8-14F1-7A8D-88BE-29F98A821D74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0A759728-80FE-5B0D-C3A9-E6BF3767DB19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4D282FD7-AF74-0DBD-208F-1F85DC964A98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5316D914-E49E-41DA-478B-4670F30D8152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3F910A23-1D66-AC30-2341-F8C281D890A5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FE414133-D4B6-F3FE-FE68-9E9114EAC361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4CB83CA7-F9F2-D71F-E9A5-622F2349921F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9FE16A68-DC09-9857-2758-3F26BAADF38C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25240E12-3A07-F85F-996B-4E7E007FA930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BA7AC4A8-9289-896E-F3AB-690B66203797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047447A1-9AAD-802E-70AA-DC819CD9BF9D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D6166C1E-F14B-C238-F6DD-BDBC91736CCE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86769C67-46D4-3D7D-C274-51A2E51DAE0E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2590EB2F-6C23-E1E2-3EA1-CAA4079D6EF3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1A0660A1-8826-DD73-B0A2-EBE50E54323B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6D62FF2A-8899-DF96-E5D4-26C7591A265F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E0A6A6F7-B24F-0BC8-4F7A-291E226BB054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87BE13AC-7CC3-7DF1-B358-2155FBA3BD41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A15C4238-BA9C-79F0-EC53-1D55DBEF4A85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D984FD10-52FB-1339-196A-9C1073313056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CBD7BC47-5891-AA86-4907-6BF0BB1949F6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E154F46B-0BA3-5260-F7BE-99885D7E0C66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6B09909E-5B82-2459-A244-F0C58EDF44BF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9C253E74-C542-58E5-4721-4A2873BA7D49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42A8FC51-5D2C-419C-9520-DBBFB1A4E80E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4BDFB5B8-381A-D69B-CCC3-512E0D88FB4D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81590F6A-1B2E-227F-DA18-1FDD43819191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7CA7D60B-9F1F-FFD2-23DB-77F7936CC4AF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6D73F32B-F262-5900-ED15-0BC41A151548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67C70F0D-FBBF-3E3C-C019-2CE2E0073716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3C8BECFF-E490-52A2-FB23-6EC90532C8CD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2C9128F4-FEBD-275A-E98A-E72BEF9A619D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2E71DC1C-6AAA-9334-1E2A-E47BCEB42AB4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59B0A64E-527F-EA0D-E8FD-55D5FF53415D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A0898DFA-CE4E-83C3-6E53-03E927DB04BD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E9B2874E-8D89-CE1D-15EE-B6D85945D0BE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31FA3C88-34F5-45C0-37B7-4981B29133FC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B354F436-1DE7-171E-A759-86A3F69C706E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B339F93C-2CDC-7A82-E210-864B95AC1261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72529F09-18F5-EF39-90BF-15C18657B663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013FD637-C28D-62A3-2248-BE230DC55FF9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430F1B93-5417-DF24-FB3D-8E2D8997941B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E39AF9DC-E56C-E7A2-397C-224FE8F05743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4C112AAE-6F8B-D9D4-8667-A073D7736008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AAEE3EE4-9BAB-46D8-594B-AC3EAD6BA564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B0294A61-6714-D75A-DBB1-3999B38CFBE1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0486BBB5-619D-C832-596F-D02221C356A8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ECD2E5E7-01DF-25DF-322F-C6FDEE0BD854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569C8203-6CAD-C32A-23E4-4AE79492D324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9ECAB31D-53F2-045C-2F9B-E5FC2F90B66E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EEBA4ED0-5442-EA89-CE43-50696E43E676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AFF95A04-D85E-8E47-0B60-AAF9C52B8255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83BA628C-E254-A8AE-F5A3-83625E013402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25D8CAF8-D16C-DA5C-7554-586FFD819E3A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39B29F7F-8957-BD46-235E-DFC22A6EE911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ACA4501F-7FE1-6D9D-DE2E-4DF9E6F50D4F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E5DAF2ED-B13D-FE08-B127-EBABB6F7C76F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DB57D708-EC37-6BE8-0E5A-921318FFC26D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5FF445C3-01C9-E40D-D98C-7E2839A9389D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8E1C7914-250B-D446-2803-F29678050365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642F4276-661B-823D-19A9-01272BFBF804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EC3FD384-41F1-EDCE-381D-429D276F2FE7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6A41DF58-F91E-5493-9BE8-654228E8F5BF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BFE8D6FA-2509-114A-C470-CDBB331367DD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861E8CD7-DCF4-53D8-C49D-14FC93490138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587499ED-0024-90C6-8721-125AA23AFAC7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318A548B-6102-2C54-3F4E-8472C84E2239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109C93C8-E72D-9EC4-E6DF-C7D27998E516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B41741AE-6624-ED91-E2B7-828F4EE7513E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ADE529B1-5C5A-2795-05A7-31288DCB92A7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DF29DA3B-DBD8-E6AB-3ED1-072E28231797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F8D92DC5-F259-1548-0EAE-81F3153EEEBA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CE089345-6A95-CF5B-839B-73FA84B651A8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D7086AA2-BA69-C633-9C61-FB91BB7D5874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4AD1A7D0-C020-D51E-41AB-27569BBC60FA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4B039648-0108-945C-8D53-385A2EF16498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D6A806CA-D947-AFD5-B555-B104E51A8485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FFCDC0FE-A72B-18FC-13F9-AAB2F4676E91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2FCB8E76-DFFC-7F87-032D-1F8EB923C880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31195F61-ECA5-C05C-C3EF-8FE01D3C3279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503D6F12-4C4E-4CE4-53BA-6C9A31AD750F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0BB393E3-4F4A-391D-485E-0E212F294C7E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72BF92C2-0E22-BCC0-620E-CCED5EC89F34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52A35E6F-4455-DBE6-F454-993165828BDE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BBB1F32D-2F15-C25F-9611-EB9C38393167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718BC064-D6EA-0EBC-0429-53CB650BA188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C0ED62B2-5739-63E1-5DEC-491B27A4C5D5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9F9F173F-34C8-8DBE-671D-B88CF52B6D6D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46A3FFDE-C9C8-92BE-F3B7-A97B2287588C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85268304-F7BD-22ED-761D-3876CB8551AE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44FE5DF3-18F8-6E24-AA5B-3BD2AFDBFF37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6E7C09D4-FECD-B01C-302D-1016F8DE3269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8ADACFBA-63EE-E791-E554-DE1D1FF7451A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81DCE88F-162D-693E-F64B-9AB383BC70E7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3235150F-39AD-FB02-40D2-645E909F4CEE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0" name="Rechteck 389">
              <a:extLst>
                <a:ext uri="{FF2B5EF4-FFF2-40B4-BE49-F238E27FC236}">
                  <a16:creationId xmlns:a16="http://schemas.microsoft.com/office/drawing/2014/main" id="{57937080-9CE2-6BBE-68CF-97D05F110042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1" name="Rechteck 390">
              <a:extLst>
                <a:ext uri="{FF2B5EF4-FFF2-40B4-BE49-F238E27FC236}">
                  <a16:creationId xmlns:a16="http://schemas.microsoft.com/office/drawing/2014/main" id="{9D228213-E963-8FAD-4817-3ECD7EB59FB6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2" name="Rechteck 391">
              <a:extLst>
                <a:ext uri="{FF2B5EF4-FFF2-40B4-BE49-F238E27FC236}">
                  <a16:creationId xmlns:a16="http://schemas.microsoft.com/office/drawing/2014/main" id="{37488C3E-8894-9855-8865-BF3FCB7F53A1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3" name="Rechteck 392">
              <a:extLst>
                <a:ext uri="{FF2B5EF4-FFF2-40B4-BE49-F238E27FC236}">
                  <a16:creationId xmlns:a16="http://schemas.microsoft.com/office/drawing/2014/main" id="{846EF00B-54AE-DD8E-6147-65485E3DBDDC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4" name="Rechteck 393">
              <a:extLst>
                <a:ext uri="{FF2B5EF4-FFF2-40B4-BE49-F238E27FC236}">
                  <a16:creationId xmlns:a16="http://schemas.microsoft.com/office/drawing/2014/main" id="{1D6EEA66-4056-CDD4-151A-27ECC4C0AD5E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5" name="Rechteck 394">
              <a:extLst>
                <a:ext uri="{FF2B5EF4-FFF2-40B4-BE49-F238E27FC236}">
                  <a16:creationId xmlns:a16="http://schemas.microsoft.com/office/drawing/2014/main" id="{8FE40CC4-4D39-9F84-BF3D-BC22B905EC49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6" name="Rechteck 395">
              <a:extLst>
                <a:ext uri="{FF2B5EF4-FFF2-40B4-BE49-F238E27FC236}">
                  <a16:creationId xmlns:a16="http://schemas.microsoft.com/office/drawing/2014/main" id="{FAC6F4AC-F67C-3833-0085-62826E98548F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7" name="Rechteck 396">
              <a:extLst>
                <a:ext uri="{FF2B5EF4-FFF2-40B4-BE49-F238E27FC236}">
                  <a16:creationId xmlns:a16="http://schemas.microsoft.com/office/drawing/2014/main" id="{69BAC108-6A5C-355C-C4EE-2E12681C7C16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842B057F-BADB-97EC-630C-A3541B3A24BF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5F7097FD-3FA4-0CB4-21AD-15EB2CC1DBBA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FA8100F1-6FF7-4CE8-0890-8878A23C4804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4B77B7C2-1998-484A-935B-1DCDAB52FDF2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670399C8-16B1-D414-A107-75FB21BB3DE3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3" name="Rechteck 402">
              <a:extLst>
                <a:ext uri="{FF2B5EF4-FFF2-40B4-BE49-F238E27FC236}">
                  <a16:creationId xmlns:a16="http://schemas.microsoft.com/office/drawing/2014/main" id="{33EC8804-7998-A79A-48A7-9DC995D49A48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4C031839-72C9-1FF9-9644-70B99BEC3DCF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5" name="Rechteck 404">
              <a:extLst>
                <a:ext uri="{FF2B5EF4-FFF2-40B4-BE49-F238E27FC236}">
                  <a16:creationId xmlns:a16="http://schemas.microsoft.com/office/drawing/2014/main" id="{E767DF6B-38A1-CB8B-72E2-9B2328992B99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6" name="Rechteck 405">
              <a:extLst>
                <a:ext uri="{FF2B5EF4-FFF2-40B4-BE49-F238E27FC236}">
                  <a16:creationId xmlns:a16="http://schemas.microsoft.com/office/drawing/2014/main" id="{BEADDA1E-42A5-5481-0122-BCB2CE5C13A9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47D0A313-9B00-F4DD-4420-8E9AECEA673F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D43EFCFD-A271-7B49-659B-93AB1C9D534A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1829E42D-22A7-1E32-BFB9-B7877A660D81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0" name="Rechteck 409">
              <a:extLst>
                <a:ext uri="{FF2B5EF4-FFF2-40B4-BE49-F238E27FC236}">
                  <a16:creationId xmlns:a16="http://schemas.microsoft.com/office/drawing/2014/main" id="{8B645E84-B81B-1C4A-265F-76DB2195BDEE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76B3D571-C237-27E2-83DC-1EEA9DC99530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BD4660CC-452E-B7CC-03F3-E85576BBECEE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A82E1845-F6CF-E15F-8203-E0450F5D7FAA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74D3AAF8-6DB4-8E4B-C6DB-3DB3B64580AA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4DBACD04-0A56-335E-0F31-0CFC263BE8BF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6" name="Rechteck 415">
              <a:extLst>
                <a:ext uri="{FF2B5EF4-FFF2-40B4-BE49-F238E27FC236}">
                  <a16:creationId xmlns:a16="http://schemas.microsoft.com/office/drawing/2014/main" id="{B8FB6948-9DCC-8785-D8DA-49CBB305EFE6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4EF6F17D-B537-76E5-2491-A055D8E47B2D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8" name="Rechteck 417">
              <a:extLst>
                <a:ext uri="{FF2B5EF4-FFF2-40B4-BE49-F238E27FC236}">
                  <a16:creationId xmlns:a16="http://schemas.microsoft.com/office/drawing/2014/main" id="{57AA3B61-79A9-6660-B0B9-480DBD178B25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9" name="Rechteck 418">
              <a:extLst>
                <a:ext uri="{FF2B5EF4-FFF2-40B4-BE49-F238E27FC236}">
                  <a16:creationId xmlns:a16="http://schemas.microsoft.com/office/drawing/2014/main" id="{ECE33E73-D0F9-3EC9-5BCA-8FD481BBEDE2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0" name="Rechteck 419">
              <a:extLst>
                <a:ext uri="{FF2B5EF4-FFF2-40B4-BE49-F238E27FC236}">
                  <a16:creationId xmlns:a16="http://schemas.microsoft.com/office/drawing/2014/main" id="{DDEFA436-AF55-9425-03BF-0C5A0B56DAD0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1" name="Rechteck 420">
              <a:extLst>
                <a:ext uri="{FF2B5EF4-FFF2-40B4-BE49-F238E27FC236}">
                  <a16:creationId xmlns:a16="http://schemas.microsoft.com/office/drawing/2014/main" id="{63C60DD6-3B15-A3CC-63F6-BCC4543C0A03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2" name="Rechteck 421">
              <a:extLst>
                <a:ext uri="{FF2B5EF4-FFF2-40B4-BE49-F238E27FC236}">
                  <a16:creationId xmlns:a16="http://schemas.microsoft.com/office/drawing/2014/main" id="{872DC567-2399-A307-66CB-FDE90E37D16F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3" name="Rechteck 422">
              <a:extLst>
                <a:ext uri="{FF2B5EF4-FFF2-40B4-BE49-F238E27FC236}">
                  <a16:creationId xmlns:a16="http://schemas.microsoft.com/office/drawing/2014/main" id="{666240B3-67F8-1A19-2DA0-47F1A8870FFB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4" name="Rechteck 423">
              <a:extLst>
                <a:ext uri="{FF2B5EF4-FFF2-40B4-BE49-F238E27FC236}">
                  <a16:creationId xmlns:a16="http://schemas.microsoft.com/office/drawing/2014/main" id="{F8080C7A-555E-1556-192F-ED4CBFDC1B46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5" name="Rechteck 424">
              <a:extLst>
                <a:ext uri="{FF2B5EF4-FFF2-40B4-BE49-F238E27FC236}">
                  <a16:creationId xmlns:a16="http://schemas.microsoft.com/office/drawing/2014/main" id="{BFF435F6-1630-F507-5618-5556E4C6D297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6" name="Rechteck 425">
              <a:extLst>
                <a:ext uri="{FF2B5EF4-FFF2-40B4-BE49-F238E27FC236}">
                  <a16:creationId xmlns:a16="http://schemas.microsoft.com/office/drawing/2014/main" id="{C14E9C37-066A-82E2-34C1-9DCE35A79486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7" name="Rechteck 426">
              <a:extLst>
                <a:ext uri="{FF2B5EF4-FFF2-40B4-BE49-F238E27FC236}">
                  <a16:creationId xmlns:a16="http://schemas.microsoft.com/office/drawing/2014/main" id="{227F8298-23FF-6C55-F992-FB019084155F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8" name="Rechteck 427">
              <a:extLst>
                <a:ext uri="{FF2B5EF4-FFF2-40B4-BE49-F238E27FC236}">
                  <a16:creationId xmlns:a16="http://schemas.microsoft.com/office/drawing/2014/main" id="{7733A452-129C-0695-4E6E-66F886C29981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9" name="Rechteck 428">
              <a:extLst>
                <a:ext uri="{FF2B5EF4-FFF2-40B4-BE49-F238E27FC236}">
                  <a16:creationId xmlns:a16="http://schemas.microsoft.com/office/drawing/2014/main" id="{E16C8A4A-D03D-7135-A658-0C4A4CCE0D28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0" name="Rechteck 429">
              <a:extLst>
                <a:ext uri="{FF2B5EF4-FFF2-40B4-BE49-F238E27FC236}">
                  <a16:creationId xmlns:a16="http://schemas.microsoft.com/office/drawing/2014/main" id="{05BA0F73-AB60-ED81-A08B-3536E5957A9A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1" name="Rechteck 430">
              <a:extLst>
                <a:ext uri="{FF2B5EF4-FFF2-40B4-BE49-F238E27FC236}">
                  <a16:creationId xmlns:a16="http://schemas.microsoft.com/office/drawing/2014/main" id="{8908C174-94CA-CCD5-D7EA-947B6E6F335B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2" name="Rechteck 431">
              <a:extLst>
                <a:ext uri="{FF2B5EF4-FFF2-40B4-BE49-F238E27FC236}">
                  <a16:creationId xmlns:a16="http://schemas.microsoft.com/office/drawing/2014/main" id="{084B9745-05DA-0673-A866-19CA50B48F97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3" name="Rechteck 432">
              <a:extLst>
                <a:ext uri="{FF2B5EF4-FFF2-40B4-BE49-F238E27FC236}">
                  <a16:creationId xmlns:a16="http://schemas.microsoft.com/office/drawing/2014/main" id="{ADE21F54-526A-7DB6-2E06-A782D1426EBD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4" name="Rechteck 433">
              <a:extLst>
                <a:ext uri="{FF2B5EF4-FFF2-40B4-BE49-F238E27FC236}">
                  <a16:creationId xmlns:a16="http://schemas.microsoft.com/office/drawing/2014/main" id="{5FE53ED2-9C4B-B9EE-BC27-7388C183203B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5" name="Rechteck 434">
              <a:extLst>
                <a:ext uri="{FF2B5EF4-FFF2-40B4-BE49-F238E27FC236}">
                  <a16:creationId xmlns:a16="http://schemas.microsoft.com/office/drawing/2014/main" id="{FA028A4E-1E95-7517-3994-187DCF42CA53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6" name="Rechteck 435">
              <a:extLst>
                <a:ext uri="{FF2B5EF4-FFF2-40B4-BE49-F238E27FC236}">
                  <a16:creationId xmlns:a16="http://schemas.microsoft.com/office/drawing/2014/main" id="{3177DDE8-9180-38F3-0604-AC2F17AAF29E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7" name="Rechteck 436">
              <a:extLst>
                <a:ext uri="{FF2B5EF4-FFF2-40B4-BE49-F238E27FC236}">
                  <a16:creationId xmlns:a16="http://schemas.microsoft.com/office/drawing/2014/main" id="{D3229F96-ED67-422E-C4ED-C5178C4763AB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8" name="Rechteck 437">
              <a:extLst>
                <a:ext uri="{FF2B5EF4-FFF2-40B4-BE49-F238E27FC236}">
                  <a16:creationId xmlns:a16="http://schemas.microsoft.com/office/drawing/2014/main" id="{300AE594-11FE-B59E-9404-133A1B062799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9" name="Rechteck 438">
              <a:extLst>
                <a:ext uri="{FF2B5EF4-FFF2-40B4-BE49-F238E27FC236}">
                  <a16:creationId xmlns:a16="http://schemas.microsoft.com/office/drawing/2014/main" id="{FF35C556-83C2-7B88-EA33-4CD364815344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0" name="Rechteck 439">
              <a:extLst>
                <a:ext uri="{FF2B5EF4-FFF2-40B4-BE49-F238E27FC236}">
                  <a16:creationId xmlns:a16="http://schemas.microsoft.com/office/drawing/2014/main" id="{68F1D457-B543-20DD-A6CE-90F53EB31E55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1" name="Rechteck 440">
              <a:extLst>
                <a:ext uri="{FF2B5EF4-FFF2-40B4-BE49-F238E27FC236}">
                  <a16:creationId xmlns:a16="http://schemas.microsoft.com/office/drawing/2014/main" id="{C57B9369-3D57-9645-6E31-528F2CA3D6AD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2" name="Rechteck 441">
              <a:extLst>
                <a:ext uri="{FF2B5EF4-FFF2-40B4-BE49-F238E27FC236}">
                  <a16:creationId xmlns:a16="http://schemas.microsoft.com/office/drawing/2014/main" id="{7CD95588-C9CE-D212-C495-73968B8D0543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3" name="Rechteck 442">
              <a:extLst>
                <a:ext uri="{FF2B5EF4-FFF2-40B4-BE49-F238E27FC236}">
                  <a16:creationId xmlns:a16="http://schemas.microsoft.com/office/drawing/2014/main" id="{A3EAFE36-1896-1A79-F47D-576C40DBC064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4" name="Rechteck 443">
              <a:extLst>
                <a:ext uri="{FF2B5EF4-FFF2-40B4-BE49-F238E27FC236}">
                  <a16:creationId xmlns:a16="http://schemas.microsoft.com/office/drawing/2014/main" id="{8C4711C3-0D43-4309-1FAA-B2FEDCAF90A4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5" name="Rechteck 444">
              <a:extLst>
                <a:ext uri="{FF2B5EF4-FFF2-40B4-BE49-F238E27FC236}">
                  <a16:creationId xmlns:a16="http://schemas.microsoft.com/office/drawing/2014/main" id="{3FE8F66D-F324-494C-0677-0683B165C0E1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6" name="Rechteck 445">
              <a:extLst>
                <a:ext uri="{FF2B5EF4-FFF2-40B4-BE49-F238E27FC236}">
                  <a16:creationId xmlns:a16="http://schemas.microsoft.com/office/drawing/2014/main" id="{80FF9229-26ED-2391-CDF1-891696E01EE6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7" name="Rechteck 446">
              <a:extLst>
                <a:ext uri="{FF2B5EF4-FFF2-40B4-BE49-F238E27FC236}">
                  <a16:creationId xmlns:a16="http://schemas.microsoft.com/office/drawing/2014/main" id="{6317ACAE-FA99-AA67-B40A-D4D77E8FD875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8" name="Rechteck 447">
              <a:extLst>
                <a:ext uri="{FF2B5EF4-FFF2-40B4-BE49-F238E27FC236}">
                  <a16:creationId xmlns:a16="http://schemas.microsoft.com/office/drawing/2014/main" id="{622A7063-1D74-03D6-EF38-30660F676858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9" name="Rechteck 448">
              <a:extLst>
                <a:ext uri="{FF2B5EF4-FFF2-40B4-BE49-F238E27FC236}">
                  <a16:creationId xmlns:a16="http://schemas.microsoft.com/office/drawing/2014/main" id="{14A59C85-37FB-E396-D871-9CB18EBA2964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0" name="Rechteck 449">
              <a:extLst>
                <a:ext uri="{FF2B5EF4-FFF2-40B4-BE49-F238E27FC236}">
                  <a16:creationId xmlns:a16="http://schemas.microsoft.com/office/drawing/2014/main" id="{5F3377ED-0E9D-7149-7471-C6E736F1CC56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1" name="Rechteck 450">
              <a:extLst>
                <a:ext uri="{FF2B5EF4-FFF2-40B4-BE49-F238E27FC236}">
                  <a16:creationId xmlns:a16="http://schemas.microsoft.com/office/drawing/2014/main" id="{50ECEC52-C0BA-98B5-28CF-8A05F70755A6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2" name="Rechteck 451">
              <a:extLst>
                <a:ext uri="{FF2B5EF4-FFF2-40B4-BE49-F238E27FC236}">
                  <a16:creationId xmlns:a16="http://schemas.microsoft.com/office/drawing/2014/main" id="{972982EE-D079-A950-2CE9-8145FB560208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3" name="Rechteck 452">
              <a:extLst>
                <a:ext uri="{FF2B5EF4-FFF2-40B4-BE49-F238E27FC236}">
                  <a16:creationId xmlns:a16="http://schemas.microsoft.com/office/drawing/2014/main" id="{FC9A1FE0-F34E-195C-72B8-5D8328F37874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4" name="Rechteck 453">
              <a:extLst>
                <a:ext uri="{FF2B5EF4-FFF2-40B4-BE49-F238E27FC236}">
                  <a16:creationId xmlns:a16="http://schemas.microsoft.com/office/drawing/2014/main" id="{450737BA-77E0-F144-FB42-E2961358BF33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5" name="Rechteck 454">
              <a:extLst>
                <a:ext uri="{FF2B5EF4-FFF2-40B4-BE49-F238E27FC236}">
                  <a16:creationId xmlns:a16="http://schemas.microsoft.com/office/drawing/2014/main" id="{B53A59C7-7F09-D504-F816-FC7FCA34FB66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6" name="Rechteck 455">
              <a:extLst>
                <a:ext uri="{FF2B5EF4-FFF2-40B4-BE49-F238E27FC236}">
                  <a16:creationId xmlns:a16="http://schemas.microsoft.com/office/drawing/2014/main" id="{3799A264-B361-6685-6985-6BFD1C46376A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7" name="Rechteck 456">
              <a:extLst>
                <a:ext uri="{FF2B5EF4-FFF2-40B4-BE49-F238E27FC236}">
                  <a16:creationId xmlns:a16="http://schemas.microsoft.com/office/drawing/2014/main" id="{9CA62DC5-74F3-0722-462A-E8CF7ADFD85C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8" name="Rechteck 457">
              <a:extLst>
                <a:ext uri="{FF2B5EF4-FFF2-40B4-BE49-F238E27FC236}">
                  <a16:creationId xmlns:a16="http://schemas.microsoft.com/office/drawing/2014/main" id="{0EBDF8F3-82B8-59AF-B86D-F63C0135EAFF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9" name="Rechteck 458">
              <a:extLst>
                <a:ext uri="{FF2B5EF4-FFF2-40B4-BE49-F238E27FC236}">
                  <a16:creationId xmlns:a16="http://schemas.microsoft.com/office/drawing/2014/main" id="{51A74D5C-2434-250A-35DD-BAE618AA6BA9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60" name="Rechteck 459">
              <a:extLst>
                <a:ext uri="{FF2B5EF4-FFF2-40B4-BE49-F238E27FC236}">
                  <a16:creationId xmlns:a16="http://schemas.microsoft.com/office/drawing/2014/main" id="{33C9AE2C-AE30-0068-1C7E-3CDACB6A3905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cxnSp>
        <p:nvCxnSpPr>
          <p:cNvPr id="254" name="Line">
            <a:extLst>
              <a:ext uri="{FF2B5EF4-FFF2-40B4-BE49-F238E27FC236}">
                <a16:creationId xmlns:a16="http://schemas.microsoft.com/office/drawing/2014/main" id="{3C362275-2F3D-4002-8641-A07536B78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11424" y="908720"/>
            <a:ext cx="2304256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Title">
            <a:extLst>
              <a:ext uri="{FF2B5EF4-FFF2-40B4-BE49-F238E27FC236}">
                <a16:creationId xmlns:a16="http://schemas.microsoft.com/office/drawing/2014/main" id="{9258FB6E-C910-44A9-A44D-172431214D3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695400" y="1772816"/>
            <a:ext cx="5112568" cy="1440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36000" rIns="216000" bIns="396000" anchor="b">
            <a:noAutofit/>
          </a:bodyPr>
          <a:lstStyle>
            <a:lvl1pPr algn="l" rtl="0">
              <a:lnSpc>
                <a:spcPct val="90000"/>
              </a:lnSpc>
              <a:defRPr sz="3000" baseline="0"/>
            </a:lvl1pPr>
          </a:lstStyle>
          <a:p>
            <a:r>
              <a:rPr lang="en-US"/>
              <a:t>[Thank You and Call to action]</a:t>
            </a:r>
            <a:endParaRPr lang="en-US" dirty="0"/>
          </a:p>
        </p:txBody>
      </p:sp>
      <p:sp>
        <p:nvSpPr>
          <p:cNvPr id="270" name="Subtitle">
            <a:extLst>
              <a:ext uri="{FF2B5EF4-FFF2-40B4-BE49-F238E27FC236}">
                <a16:creationId xmlns:a16="http://schemas.microsoft.com/office/drawing/2014/main" id="{5DAA3EBD-B768-872B-90F6-2AC1D1A8C782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695400" y="2996952"/>
            <a:ext cx="5112568" cy="864096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none" lIns="216000" tIns="0" rIns="216000" bIns="36000" anchor="b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pPr lvl="0"/>
            <a:r>
              <a:rPr lang="en-US"/>
              <a:t>gfk.com</a:t>
            </a:r>
            <a:endParaRPr lang="en-US" dirty="0"/>
          </a:p>
        </p:txBody>
      </p:sp>
      <p:pic>
        <p:nvPicPr>
          <p:cNvPr id="461" name="Logo">
            <a:extLst>
              <a:ext uri="{FF2B5EF4-FFF2-40B4-BE49-F238E27FC236}">
                <a16:creationId xmlns:a16="http://schemas.microsoft.com/office/drawing/2014/main" id="{BC71DB4D-5230-9046-DE3C-00F4FEF000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9398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DAA198F2-7FF4-60D0-9F9E-098E45FA19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7227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A198F2-7FF4-60D0-9F9E-098E45FA19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685CB47E-0D87-FCC4-3820-6D644C18DC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099298DE-E06A-9FA2-7AEA-6A250F303CCF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8B381971-309E-2E9A-A96D-037EC4E5CF8D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16E1DD3E-4521-00D5-D380-BFC5AEBB5E46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87E48DE2-796D-FBC9-F0BC-86C5F27E7238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A8F85A94-767C-44A5-FED9-D9D206D1CB35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FC0F09F5-1AC0-40E5-A01E-3A80E3EB4363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1A1E0839-633B-50EE-B501-EFC4CB5105F2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E36BD96D-BDAC-B5BC-4BE4-8AC1FB0CC9B7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89F65E21-EC3E-C13A-286C-0054A5FDA021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4" name="Rechteck 253">
              <a:extLst>
                <a:ext uri="{FF2B5EF4-FFF2-40B4-BE49-F238E27FC236}">
                  <a16:creationId xmlns:a16="http://schemas.microsoft.com/office/drawing/2014/main" id="{D1A664F7-90BA-DD40-8607-58B72FE337FB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A159685F-534C-DB45-E57F-337AF14CD226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18C9DB83-871D-B859-F8A9-1A8ABEC0833E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1C8F521F-D69C-418D-9F7B-1FA9FB7FCBAD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2A3E32CC-8B53-9A78-4FA6-30DA1175BC76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3365733C-47F3-5C37-3767-DC5E98381805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2FAC8B6D-9D9D-A6A5-F486-0EA98EDBDD18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988442DE-9290-E29D-B143-6096AA1691C0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036F0499-5A4C-6AE7-3426-A0629E0451F4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9EDE2596-F826-912A-68B5-753B8D66C208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BBDE65CF-3FAC-186C-639A-471487ECA306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34DC858E-0602-4528-E8B1-BBF73092538A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A2944826-C2A4-C81A-9C08-43CBC5CD1461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38370F80-2004-4084-AE05-95087B34556F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E0EF814A-B7DB-D765-5742-4F206BB98E60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F64384CE-4E9F-20FD-15FC-A1185B0AC2D0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74CFA62C-9CA5-8D64-138D-6811DF5C73F3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2DEFA520-E3B8-9CC9-676B-8558D99F2F2E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52181960-F8DD-5DB1-D989-5B2604F54772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D0869A8A-D397-CBA6-2D68-8BA69318E079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8A8EC649-05B2-E1D6-4515-3539678647C7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4189D382-0910-ACB4-5C5D-1D6C1E662EEB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4FA594FC-C073-6A44-963E-F5727E43F223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B71A43A9-1591-7F46-5362-3E3EC4ABCF8D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2DC07CE8-9B82-E662-3424-6984B03D126A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E1F0D3C6-F900-2852-FCD9-6AE9CCCF7BB9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EC240967-5967-D338-5C5F-03719260AE24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2D6CDAEF-52F6-A940-5F11-185F2B948855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33C107FB-BA41-403D-2E52-90CC8ECE32CB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6EFAB287-CBBD-568B-2FCF-0E25AC73AD99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94749BE4-C8DD-12B8-9887-4ED663A9C86F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AC8A3420-AEB2-4444-8A82-8E67F7942E56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5F70EEE9-AD52-D124-458F-0F480AD9CBDE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76ABFFED-FD8E-EFEF-185D-F9791112F3BE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C6DF02EF-E239-9E57-BAA0-A3BA5A267936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6A93C050-C45B-655C-A8D5-81F45821F34F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DC127C89-E28B-FAFC-8EE6-8E51F10D3FC8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A18E2BA5-14CF-D4F1-331D-F17E88D9B0B9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5E2FE3C3-21CA-59CE-2C34-2622F9789687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F0C15979-FD42-25B2-9CFC-F1FD9AD46962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83D946BB-D316-222C-9688-31A7A0B36395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7EA09956-0411-3B44-0A6B-6E241AB12DDC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F5DC14F5-5FFD-8EB7-89C9-4BB5DC43F472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B1D5773B-6559-586A-37D8-F90F57CBE0D1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4F227C1D-F80A-E643-4F39-0E2806F65013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5565DB25-8540-FFE4-A0BF-A71133CCB316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E02D689C-4780-ACB7-D642-52262C76435C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08BBB852-C8FC-2974-23B1-A4703B376F84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60801002-4132-18D6-0CBD-EA3EE7FF77F6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D199CD04-F934-92F9-4FFC-F1F33884D9CE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B72DD046-0996-7D3F-2100-27478398B2CA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64D22EE3-6F98-BCC9-A392-80FC0EFA0DB8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A52A93B3-8FF4-167D-A9F4-B615F21F22D7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AFB9022E-CC5A-7D6E-0A43-880FCBD82793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4C1D5AC9-B747-BC0C-5038-004FD4D6E6E8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66BFDCB2-8771-8FCF-973C-2C38F3E8DDC3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964664A4-87DE-30F1-39CA-FBD1D9248CEF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107EF777-D452-5B27-AF58-CF67A945F5F2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5E0D9F7F-6B18-DF38-8F66-4D7586450301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8380F170-918F-8986-E7BD-1A80744248D5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8D1A9220-9D54-3DE9-1D1B-015A86E4798B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3876692B-C643-0442-1458-74C4446CA193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E1B79577-22BF-B4B2-64CA-4DA7492C2F33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B425E532-7DC5-3251-CC7D-BF4DCA4A63DD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D6F10C20-D90D-B010-F50D-97F1B36B4620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CD31FF1E-865A-1119-73F2-44AEB25F7E52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057378CC-5274-8417-6D56-E4DD72BC208D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DE01402A-1FE7-CD51-30B0-A7171C94EC49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EFE22E48-89D4-115F-2E01-750DF93ACA8F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C4BAD0D0-1DDE-D17F-A16E-FF43C7BA10CD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392781EE-9301-CD5C-07D3-923F7B683170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85DC5C1F-D7DB-6DCC-AEDA-8DFB4821F08D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0203E018-4C6C-A093-B794-7C63F27A7E77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D82CB250-6D11-A7C9-4A06-D1BB9D5D2BC9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85052836-228F-2F50-6403-A9DE748FD050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FD4C91E5-B971-38E4-D5D4-454B3B438361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B403208E-F3F0-4772-1E1D-BDC601AC2B44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76F1259A-219E-17D7-9F39-19C498FE59ED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0FF04C38-F9DD-B4E2-048C-B562C7EC03A1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6FE7AEEC-0F8F-8AFC-2076-D0AB39241B52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2F0819F7-FD0F-1965-142E-CED1666B2319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2B5CDF8A-F0B3-39B9-396F-2D55C9389CCF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15C4021A-98AF-2D21-149D-B27E0A20C8D3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C59BAF24-5E55-9B50-4C7D-83F4AD70BA4F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D450E0CD-0B6C-8C25-E487-CECA079C7E43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93121278-BD5F-C47C-48DC-297DCF113898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450092FF-0126-1FFB-372B-702ACD766B09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32AA5E24-B2E9-8F23-7A47-6FD8F24FE2B8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148FEAE9-5136-341D-2F61-1CE8B8E85789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4678B00D-CB83-F894-667F-AEE7D15D10F3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E4754A47-CFF1-16D2-E1F8-76A74E82C16F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ED4BB81D-9D49-F2FE-6EB2-41DBFF770B5D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911A7501-2C78-D74A-EE66-A4ADBA409FCD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2DAAEAFF-CA3B-4EF3-AC37-A33F389FDCCA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DBE24CA9-D7E8-128D-528E-27233F60FB9D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C80A07B7-7355-C947-953E-E9437F1197F8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33115933-5E0B-4810-3805-F6D8161F6A0A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8D6630F7-35BF-6009-FCED-CF3A7ECF60C8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28C7C701-0654-CAD4-53AC-BAAF68133B35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E09EF78C-2995-8026-B63F-12C6899F7753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27C62D65-3C42-2C1A-92B8-0A923E1CC81E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2117E66D-2EFF-1CB1-ADDE-21246D772E1B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F1B210AF-9AF3-EAB8-A497-FD845FE4AC9D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D0DB514A-09CB-EF03-F284-4C12282FB13B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28C74EE3-A63C-93F0-DA93-ACFACA9DAE4A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537D5C00-BF0F-0CA8-4596-750A1F5513B0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E997D750-8A32-0C54-46F2-70322B3CC145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B95D2E6D-5F62-7FD5-5323-45EA9AF3D419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0" name="Rechteck 389">
              <a:extLst>
                <a:ext uri="{FF2B5EF4-FFF2-40B4-BE49-F238E27FC236}">
                  <a16:creationId xmlns:a16="http://schemas.microsoft.com/office/drawing/2014/main" id="{372BF1A7-2D7F-D910-986F-5F490C0CAE5A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1" name="Rechteck 390">
              <a:extLst>
                <a:ext uri="{FF2B5EF4-FFF2-40B4-BE49-F238E27FC236}">
                  <a16:creationId xmlns:a16="http://schemas.microsoft.com/office/drawing/2014/main" id="{6153FC05-D790-68B9-E8AE-698A3257CEDA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2" name="Rechteck 391">
              <a:extLst>
                <a:ext uri="{FF2B5EF4-FFF2-40B4-BE49-F238E27FC236}">
                  <a16:creationId xmlns:a16="http://schemas.microsoft.com/office/drawing/2014/main" id="{EF1D21D2-F709-539D-DA9C-86780745C9ED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3" name="Rechteck 392">
              <a:extLst>
                <a:ext uri="{FF2B5EF4-FFF2-40B4-BE49-F238E27FC236}">
                  <a16:creationId xmlns:a16="http://schemas.microsoft.com/office/drawing/2014/main" id="{8F440F3F-9257-4024-170E-680474037D1C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4" name="Rechteck 393">
              <a:extLst>
                <a:ext uri="{FF2B5EF4-FFF2-40B4-BE49-F238E27FC236}">
                  <a16:creationId xmlns:a16="http://schemas.microsoft.com/office/drawing/2014/main" id="{6D339624-B7AE-1A58-6337-06597DD87CDA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5" name="Rechteck 394">
              <a:extLst>
                <a:ext uri="{FF2B5EF4-FFF2-40B4-BE49-F238E27FC236}">
                  <a16:creationId xmlns:a16="http://schemas.microsoft.com/office/drawing/2014/main" id="{6CB6E661-82D1-9965-2589-37F5DDFC9B7E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6" name="Rechteck 395">
              <a:extLst>
                <a:ext uri="{FF2B5EF4-FFF2-40B4-BE49-F238E27FC236}">
                  <a16:creationId xmlns:a16="http://schemas.microsoft.com/office/drawing/2014/main" id="{DAC38F8A-B4C4-4026-E353-E78C55225263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7" name="Rechteck 396">
              <a:extLst>
                <a:ext uri="{FF2B5EF4-FFF2-40B4-BE49-F238E27FC236}">
                  <a16:creationId xmlns:a16="http://schemas.microsoft.com/office/drawing/2014/main" id="{A340BA25-FAB6-834C-03FB-365D14D4252B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104BAA3F-85E1-4B0F-FE9E-59AAB946A9DE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DC6B7B5D-41A6-5226-8CFC-82705029BA98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426BCE23-BC42-FBED-00AF-57C9C65A03F6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B754AEF0-F4DB-E7BD-F6C4-B8C92D9D61BD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946DFB1C-70A9-31C5-DD51-7732DF3F3889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3" name="Rechteck 402">
              <a:extLst>
                <a:ext uri="{FF2B5EF4-FFF2-40B4-BE49-F238E27FC236}">
                  <a16:creationId xmlns:a16="http://schemas.microsoft.com/office/drawing/2014/main" id="{1C57CA21-A4A5-A06E-3553-16CA5DEB388B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5FECACD6-76A9-3953-BB43-714BA90932D8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5" name="Rechteck 404">
              <a:extLst>
                <a:ext uri="{FF2B5EF4-FFF2-40B4-BE49-F238E27FC236}">
                  <a16:creationId xmlns:a16="http://schemas.microsoft.com/office/drawing/2014/main" id="{948A9B39-BD7F-F3FD-61C3-040867624D78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6" name="Rechteck 405">
              <a:extLst>
                <a:ext uri="{FF2B5EF4-FFF2-40B4-BE49-F238E27FC236}">
                  <a16:creationId xmlns:a16="http://schemas.microsoft.com/office/drawing/2014/main" id="{6E6F791F-7BC6-9651-1B60-F72E0C784D0E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7980FF63-EFD0-56F9-97FA-3AD6E64BF8CD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07E145DD-7A3A-F22A-4BF7-0CEC1D029FDE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475178B4-7479-FA63-D991-0492C9E2C2F9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0" name="Rechteck 409">
              <a:extLst>
                <a:ext uri="{FF2B5EF4-FFF2-40B4-BE49-F238E27FC236}">
                  <a16:creationId xmlns:a16="http://schemas.microsoft.com/office/drawing/2014/main" id="{3D12DD6C-1E78-4D89-1F39-EBCFF0F939E7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A979C06A-567A-5BFF-831A-B7F899EFB9B8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4B9A181A-59D2-A741-F8A3-20DB7B2B7968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521CB164-C9A7-B6DA-14BF-03A994311B11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FBC73E5F-D3BB-45BC-5851-0BA3127DB570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1D49D96C-4FAF-F776-4D2D-F658D8D3FC91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6" name="Rechteck 415">
              <a:extLst>
                <a:ext uri="{FF2B5EF4-FFF2-40B4-BE49-F238E27FC236}">
                  <a16:creationId xmlns:a16="http://schemas.microsoft.com/office/drawing/2014/main" id="{74C0308F-506E-0C78-D2AE-80D122497785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3D6D0BA2-8FF9-1C7D-003D-96CAAA5B4899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8" name="Rechteck 417">
              <a:extLst>
                <a:ext uri="{FF2B5EF4-FFF2-40B4-BE49-F238E27FC236}">
                  <a16:creationId xmlns:a16="http://schemas.microsoft.com/office/drawing/2014/main" id="{DE998B6F-6977-A648-9588-4F72BC1800BB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9" name="Rechteck 418">
              <a:extLst>
                <a:ext uri="{FF2B5EF4-FFF2-40B4-BE49-F238E27FC236}">
                  <a16:creationId xmlns:a16="http://schemas.microsoft.com/office/drawing/2014/main" id="{4F0A0D47-E396-1710-F46C-EE812C03445F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0" name="Rechteck 419">
              <a:extLst>
                <a:ext uri="{FF2B5EF4-FFF2-40B4-BE49-F238E27FC236}">
                  <a16:creationId xmlns:a16="http://schemas.microsoft.com/office/drawing/2014/main" id="{269B6367-1EE3-5B7D-0C56-C4284833DF6F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1" name="Rechteck 420">
              <a:extLst>
                <a:ext uri="{FF2B5EF4-FFF2-40B4-BE49-F238E27FC236}">
                  <a16:creationId xmlns:a16="http://schemas.microsoft.com/office/drawing/2014/main" id="{FF2E12B5-3A72-5462-4BEB-39297C98FA76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2" name="Rechteck 421">
              <a:extLst>
                <a:ext uri="{FF2B5EF4-FFF2-40B4-BE49-F238E27FC236}">
                  <a16:creationId xmlns:a16="http://schemas.microsoft.com/office/drawing/2014/main" id="{C207C1EA-2BF4-555F-2192-60782FA4D05A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3" name="Rechteck 422">
              <a:extLst>
                <a:ext uri="{FF2B5EF4-FFF2-40B4-BE49-F238E27FC236}">
                  <a16:creationId xmlns:a16="http://schemas.microsoft.com/office/drawing/2014/main" id="{75E56738-90C9-5A16-DD6E-BD92AE91A322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4" name="Rechteck 423">
              <a:extLst>
                <a:ext uri="{FF2B5EF4-FFF2-40B4-BE49-F238E27FC236}">
                  <a16:creationId xmlns:a16="http://schemas.microsoft.com/office/drawing/2014/main" id="{21227CEA-AA7A-2FB8-158F-0CD4E052B2CA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5" name="Rechteck 424">
              <a:extLst>
                <a:ext uri="{FF2B5EF4-FFF2-40B4-BE49-F238E27FC236}">
                  <a16:creationId xmlns:a16="http://schemas.microsoft.com/office/drawing/2014/main" id="{488180DC-CCCD-EAFF-5CC6-7D9AC3A7E714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6" name="Rechteck 425">
              <a:extLst>
                <a:ext uri="{FF2B5EF4-FFF2-40B4-BE49-F238E27FC236}">
                  <a16:creationId xmlns:a16="http://schemas.microsoft.com/office/drawing/2014/main" id="{4E5C0D5F-2681-D06E-9003-3435750F580B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7" name="Rechteck 426">
              <a:extLst>
                <a:ext uri="{FF2B5EF4-FFF2-40B4-BE49-F238E27FC236}">
                  <a16:creationId xmlns:a16="http://schemas.microsoft.com/office/drawing/2014/main" id="{78068C1E-9DEE-07FC-4D70-76708CB1BB78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8" name="Rechteck 427">
              <a:extLst>
                <a:ext uri="{FF2B5EF4-FFF2-40B4-BE49-F238E27FC236}">
                  <a16:creationId xmlns:a16="http://schemas.microsoft.com/office/drawing/2014/main" id="{25580309-E091-5DEF-6198-F9B43BB5901A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9" name="Rechteck 428">
              <a:extLst>
                <a:ext uri="{FF2B5EF4-FFF2-40B4-BE49-F238E27FC236}">
                  <a16:creationId xmlns:a16="http://schemas.microsoft.com/office/drawing/2014/main" id="{771A18D3-D213-016F-7140-79767BDAB3CA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0" name="Rechteck 429">
              <a:extLst>
                <a:ext uri="{FF2B5EF4-FFF2-40B4-BE49-F238E27FC236}">
                  <a16:creationId xmlns:a16="http://schemas.microsoft.com/office/drawing/2014/main" id="{3B0C3EBE-50E3-4E0A-45F5-3F744AE224F7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1" name="Rechteck 430">
              <a:extLst>
                <a:ext uri="{FF2B5EF4-FFF2-40B4-BE49-F238E27FC236}">
                  <a16:creationId xmlns:a16="http://schemas.microsoft.com/office/drawing/2014/main" id="{3753699C-C521-B0F0-9AC4-511A81DA9E83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2" name="Rechteck 431">
              <a:extLst>
                <a:ext uri="{FF2B5EF4-FFF2-40B4-BE49-F238E27FC236}">
                  <a16:creationId xmlns:a16="http://schemas.microsoft.com/office/drawing/2014/main" id="{3735E678-D9A7-CAE0-5FE7-B6EDD7EA2513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3" name="Rechteck 432">
              <a:extLst>
                <a:ext uri="{FF2B5EF4-FFF2-40B4-BE49-F238E27FC236}">
                  <a16:creationId xmlns:a16="http://schemas.microsoft.com/office/drawing/2014/main" id="{A0935690-F6B6-77C9-4627-54DF11198AEB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4" name="Rechteck 433">
              <a:extLst>
                <a:ext uri="{FF2B5EF4-FFF2-40B4-BE49-F238E27FC236}">
                  <a16:creationId xmlns:a16="http://schemas.microsoft.com/office/drawing/2014/main" id="{8C56C90D-CF2E-F1DB-73A8-78FCE07E3FFF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5" name="Rechteck 434">
              <a:extLst>
                <a:ext uri="{FF2B5EF4-FFF2-40B4-BE49-F238E27FC236}">
                  <a16:creationId xmlns:a16="http://schemas.microsoft.com/office/drawing/2014/main" id="{7E55CCAA-E29B-9813-55E4-BFDE63F58B62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6" name="Rechteck 435">
              <a:extLst>
                <a:ext uri="{FF2B5EF4-FFF2-40B4-BE49-F238E27FC236}">
                  <a16:creationId xmlns:a16="http://schemas.microsoft.com/office/drawing/2014/main" id="{00F1A35D-CCD7-0C39-FF05-D218B35E9F38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7" name="Rechteck 436">
              <a:extLst>
                <a:ext uri="{FF2B5EF4-FFF2-40B4-BE49-F238E27FC236}">
                  <a16:creationId xmlns:a16="http://schemas.microsoft.com/office/drawing/2014/main" id="{0DD7BBAD-50DE-8F8D-BBD3-C852127B64A5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8" name="Rechteck 437">
              <a:extLst>
                <a:ext uri="{FF2B5EF4-FFF2-40B4-BE49-F238E27FC236}">
                  <a16:creationId xmlns:a16="http://schemas.microsoft.com/office/drawing/2014/main" id="{54061CAC-67B3-0D76-F67A-CC5D9E55EAD9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9" name="Rechteck 438">
              <a:extLst>
                <a:ext uri="{FF2B5EF4-FFF2-40B4-BE49-F238E27FC236}">
                  <a16:creationId xmlns:a16="http://schemas.microsoft.com/office/drawing/2014/main" id="{1052BFCA-58E7-9854-3F4A-41366E30712A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0" name="Rechteck 439">
              <a:extLst>
                <a:ext uri="{FF2B5EF4-FFF2-40B4-BE49-F238E27FC236}">
                  <a16:creationId xmlns:a16="http://schemas.microsoft.com/office/drawing/2014/main" id="{4F6F27FC-8C04-EAFC-28B4-7EF11A4592A0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1" name="Rechteck 440">
              <a:extLst>
                <a:ext uri="{FF2B5EF4-FFF2-40B4-BE49-F238E27FC236}">
                  <a16:creationId xmlns:a16="http://schemas.microsoft.com/office/drawing/2014/main" id="{F2FE5B29-2E9E-8C87-5E29-84ACEAF8A60B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2" name="Rechteck 441">
              <a:extLst>
                <a:ext uri="{FF2B5EF4-FFF2-40B4-BE49-F238E27FC236}">
                  <a16:creationId xmlns:a16="http://schemas.microsoft.com/office/drawing/2014/main" id="{82B273B4-2EB4-C6B5-26B2-592F02348F17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3" name="Rechteck 442">
              <a:extLst>
                <a:ext uri="{FF2B5EF4-FFF2-40B4-BE49-F238E27FC236}">
                  <a16:creationId xmlns:a16="http://schemas.microsoft.com/office/drawing/2014/main" id="{BEAB903B-B0B2-0842-8FDA-2CDE2574B796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4" name="Rechteck 443">
              <a:extLst>
                <a:ext uri="{FF2B5EF4-FFF2-40B4-BE49-F238E27FC236}">
                  <a16:creationId xmlns:a16="http://schemas.microsoft.com/office/drawing/2014/main" id="{5F31BAD2-55AC-1546-F9EE-311BCC0FF561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5" name="Rechteck 444">
              <a:extLst>
                <a:ext uri="{FF2B5EF4-FFF2-40B4-BE49-F238E27FC236}">
                  <a16:creationId xmlns:a16="http://schemas.microsoft.com/office/drawing/2014/main" id="{310D3E2B-0F7F-29D8-8A3D-2428CECCD084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6" name="Rechteck 445">
              <a:extLst>
                <a:ext uri="{FF2B5EF4-FFF2-40B4-BE49-F238E27FC236}">
                  <a16:creationId xmlns:a16="http://schemas.microsoft.com/office/drawing/2014/main" id="{6EBD042D-0ADD-C157-03E5-98982E0516A4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7" name="Rechteck 446">
              <a:extLst>
                <a:ext uri="{FF2B5EF4-FFF2-40B4-BE49-F238E27FC236}">
                  <a16:creationId xmlns:a16="http://schemas.microsoft.com/office/drawing/2014/main" id="{2010A626-BCF8-C159-80B5-68E849F01D16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8" name="Rechteck 447">
              <a:extLst>
                <a:ext uri="{FF2B5EF4-FFF2-40B4-BE49-F238E27FC236}">
                  <a16:creationId xmlns:a16="http://schemas.microsoft.com/office/drawing/2014/main" id="{4D5FD3D6-B8FA-516A-4F1D-2EA6D99DFF70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9" name="Rechteck 448">
              <a:extLst>
                <a:ext uri="{FF2B5EF4-FFF2-40B4-BE49-F238E27FC236}">
                  <a16:creationId xmlns:a16="http://schemas.microsoft.com/office/drawing/2014/main" id="{4D806E1A-63F3-9494-62B4-0958EFA17C86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0" name="Rechteck 449">
              <a:extLst>
                <a:ext uri="{FF2B5EF4-FFF2-40B4-BE49-F238E27FC236}">
                  <a16:creationId xmlns:a16="http://schemas.microsoft.com/office/drawing/2014/main" id="{1142A6DF-AB07-BCE1-83DC-DE56C9EF3EE0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1" name="Rechteck 450">
              <a:extLst>
                <a:ext uri="{FF2B5EF4-FFF2-40B4-BE49-F238E27FC236}">
                  <a16:creationId xmlns:a16="http://schemas.microsoft.com/office/drawing/2014/main" id="{552C3958-3A32-89A3-8190-0D723A7A8AB4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2" name="Rechteck 451">
              <a:extLst>
                <a:ext uri="{FF2B5EF4-FFF2-40B4-BE49-F238E27FC236}">
                  <a16:creationId xmlns:a16="http://schemas.microsoft.com/office/drawing/2014/main" id="{40A3CBAC-2625-2568-F3AF-9523DEC7A348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3" name="Rechteck 452">
              <a:extLst>
                <a:ext uri="{FF2B5EF4-FFF2-40B4-BE49-F238E27FC236}">
                  <a16:creationId xmlns:a16="http://schemas.microsoft.com/office/drawing/2014/main" id="{933B9B03-6FE6-F602-FB77-61E370821A6D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4" name="Rechteck 453">
              <a:extLst>
                <a:ext uri="{FF2B5EF4-FFF2-40B4-BE49-F238E27FC236}">
                  <a16:creationId xmlns:a16="http://schemas.microsoft.com/office/drawing/2014/main" id="{7BD01AD6-9503-9EDA-08B4-2469A090EF31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5" name="Rechteck 454">
              <a:extLst>
                <a:ext uri="{FF2B5EF4-FFF2-40B4-BE49-F238E27FC236}">
                  <a16:creationId xmlns:a16="http://schemas.microsoft.com/office/drawing/2014/main" id="{3627B657-15A6-F424-3E5E-DA213B3FB346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6" name="Rechteck 455">
              <a:extLst>
                <a:ext uri="{FF2B5EF4-FFF2-40B4-BE49-F238E27FC236}">
                  <a16:creationId xmlns:a16="http://schemas.microsoft.com/office/drawing/2014/main" id="{25A94974-A378-6CE9-0829-3646BB7521F3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7" name="Rechteck 456">
              <a:extLst>
                <a:ext uri="{FF2B5EF4-FFF2-40B4-BE49-F238E27FC236}">
                  <a16:creationId xmlns:a16="http://schemas.microsoft.com/office/drawing/2014/main" id="{FDE4239B-6AED-82DE-6BC0-377D4AA55262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8" name="Rechteck 457">
              <a:extLst>
                <a:ext uri="{FF2B5EF4-FFF2-40B4-BE49-F238E27FC236}">
                  <a16:creationId xmlns:a16="http://schemas.microsoft.com/office/drawing/2014/main" id="{66D6B586-C2ED-EA78-C3A7-D44949D57410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9" name="Rechteck 458">
              <a:extLst>
                <a:ext uri="{FF2B5EF4-FFF2-40B4-BE49-F238E27FC236}">
                  <a16:creationId xmlns:a16="http://schemas.microsoft.com/office/drawing/2014/main" id="{F21DD981-C90D-D10D-48EE-F39AA0315F9A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60" name="Rechteck 459">
              <a:extLst>
                <a:ext uri="{FF2B5EF4-FFF2-40B4-BE49-F238E27FC236}">
                  <a16:creationId xmlns:a16="http://schemas.microsoft.com/office/drawing/2014/main" id="{084F56CA-1232-A3EC-9DF0-A5A2E0F937CC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61" name="Rechteck 460">
              <a:extLst>
                <a:ext uri="{FF2B5EF4-FFF2-40B4-BE49-F238E27FC236}">
                  <a16:creationId xmlns:a16="http://schemas.microsoft.com/office/drawing/2014/main" id="{DCA994C7-F089-6336-D801-D5E32338D88E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sp>
        <p:nvSpPr>
          <p:cNvPr id="271" name="Shape">
            <a:extLst>
              <a:ext uri="{FF2B5EF4-FFF2-40B4-BE49-F238E27FC236}">
                <a16:creationId xmlns:a16="http://schemas.microsoft.com/office/drawing/2014/main" id="{EDC70E87-D333-4843-894B-F7329E01C1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839416" y="1988840"/>
            <a:ext cx="6480720" cy="4156745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7288205 w 8604028"/>
              <a:gd name="connsiteY2" fmla="*/ 427647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7288205 w 8604028"/>
              <a:gd name="connsiteY2" fmla="*/ 4306956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84708 w 8604028"/>
              <a:gd name="connsiteY2" fmla="*/ 4136122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984708" y="4136122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270" name="Shape">
            <a:extLst>
              <a:ext uri="{FF2B5EF4-FFF2-40B4-BE49-F238E27FC236}">
                <a16:creationId xmlns:a16="http://schemas.microsoft.com/office/drawing/2014/main" id="{CA04DA29-1BDE-4E17-8832-0715948621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911415" y="2060841"/>
            <a:ext cx="6336713" cy="4032000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7288205 w 8604028"/>
              <a:gd name="connsiteY2" fmla="*/ 427647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7288205 w 8604028"/>
              <a:gd name="connsiteY2" fmla="*/ 4306956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7003677 w 8604028"/>
              <a:gd name="connsiteY2" fmla="*/ 4117289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7003677" y="4117289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255" name="Title">
            <a:extLst>
              <a:ext uri="{FF2B5EF4-FFF2-40B4-BE49-F238E27FC236}">
                <a16:creationId xmlns:a16="http://schemas.microsoft.com/office/drawing/2014/main" id="{9258FB6E-C910-44A9-A44D-172431214D3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1199456" y="2349032"/>
            <a:ext cx="4823960" cy="1008000"/>
          </a:xfrm>
          <a:prstGeom prst="rect">
            <a:avLst/>
          </a:prstGeom>
          <a:noFill/>
          <a:ln w="127">
            <a:noFill/>
          </a:ln>
        </p:spPr>
        <p:txBody>
          <a:bodyPr vert="horz" lIns="0" tIns="0" rIns="0" bIns="0" anchor="t">
            <a:noAutofit/>
          </a:bodyPr>
          <a:lstStyle>
            <a:lvl1pPr algn="l" rtl="0">
              <a:lnSpc>
                <a:spcPct val="90000"/>
              </a:lnSpc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[Thank You and Call to action]</a:t>
            </a:r>
            <a:endParaRPr lang="en-US" dirty="0"/>
          </a:p>
        </p:txBody>
      </p:sp>
      <p:sp>
        <p:nvSpPr>
          <p:cNvPr id="274" name="Subtitle">
            <a:extLst>
              <a:ext uri="{FF2B5EF4-FFF2-40B4-BE49-F238E27FC236}">
                <a16:creationId xmlns:a16="http://schemas.microsoft.com/office/drawing/2014/main" id="{A8B8056C-BBE6-D8A0-F11F-1492BA40AB9A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1199456" y="3501040"/>
            <a:ext cx="4823968" cy="288000"/>
          </a:xfrm>
          <a:prstGeom prst="rect">
            <a:avLst/>
          </a:prstGeom>
          <a:noFill/>
          <a:ln w="127">
            <a:noFill/>
          </a:ln>
        </p:spPr>
        <p:txBody>
          <a:bodyPr wrap="none" lIns="0" tIns="0" rIns="0" anchor="t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pPr lvl="0"/>
            <a:r>
              <a:rPr lang="en-US"/>
              <a:t>gfk.com</a:t>
            </a:r>
            <a:endParaRPr lang="en-US" dirty="0"/>
          </a:p>
        </p:txBody>
      </p:sp>
      <p:pic>
        <p:nvPicPr>
          <p:cNvPr id="462" name="Logo">
            <a:extLst>
              <a:ext uri="{FF2B5EF4-FFF2-40B4-BE49-F238E27FC236}">
                <a16:creationId xmlns:a16="http://schemas.microsoft.com/office/drawing/2014/main" id="{1299D722-9302-8F05-AD61-D26D0C59BF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3493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6C422580-C08D-C6FF-4771-DF178C4190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2883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422580-C08D-C6FF-4771-DF178C4190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13467F1-BE30-FD72-7DD6-AE7ADF5042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E7423DED-F77B-5587-E0A4-6BBED86BC8C9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2060B532-D43E-D5D3-C445-1E3E67C3EC0D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66472FC1-A984-A4DA-CE20-6C4052E59D5F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C0C2DBEA-D492-21F2-6EB6-AD2A2993D1F3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D48B2931-B59E-D74A-0382-4A9635427A80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91BB8759-DD0A-A19F-5DE5-E15934772F2E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C49D43D0-A61D-E89C-96B4-1CC3B797BF14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901E8FFB-AC2E-21BE-52C4-7D3A86D69A75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D2146B3C-D9F9-E241-02E4-CB108C5EB781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4" name="Rechteck 253">
              <a:extLst>
                <a:ext uri="{FF2B5EF4-FFF2-40B4-BE49-F238E27FC236}">
                  <a16:creationId xmlns:a16="http://schemas.microsoft.com/office/drawing/2014/main" id="{DF6ACB3C-E092-63F5-0B2D-A0F7CEB0DD41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4963E757-6917-CDCE-3E3C-6FFC0D9AE149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3A47800C-5742-1DAF-0B8A-F3F72701AB96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A6BB1644-8BC2-875D-C041-E73FE1E6124A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95BE4E2E-6A98-C6E8-6B8A-BF5056DE6ACC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701FAB0E-1D91-6B3F-DCDB-DAD89DC30318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1BBA7413-7067-D9CB-5209-637E7652EB31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73E03A6E-0C53-9CBA-E72A-4D323DDD3E83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04D474B5-CC6E-9B25-C93D-76668D8989BE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91A4C33F-5DF6-C1D0-BEDF-DFFBDE1A2FA3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E3CA1DC6-3090-9CE7-9FAB-FD07F6F6AE49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48848D33-41C0-18C4-0129-FAED00CDDB9F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FA30762F-350F-E567-CDF0-683E6801635F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926DA330-1A53-78F8-BD99-B3EC8BEAE4C7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451DF817-1010-DAAF-40CC-E000D40EA314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0" name="Rechteck 269">
              <a:extLst>
                <a:ext uri="{FF2B5EF4-FFF2-40B4-BE49-F238E27FC236}">
                  <a16:creationId xmlns:a16="http://schemas.microsoft.com/office/drawing/2014/main" id="{ED3448D2-075D-A1A5-0CC2-FAE9C0B3B847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88FBD3D2-2A91-C554-0C94-7FF8DF2C8366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41004D7A-5BF2-4178-0CB7-B0462D26F4C7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1573AC0F-2DAB-9495-2842-A8E91151CE8E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C3647F7F-E68F-E878-6BC0-211E3441FE0B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1C1BB745-15C6-9EF8-398F-2083404681DB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6E516459-E671-7385-A7B8-E69DDDE36591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0772D9AC-42AF-23DC-7672-096FE5FBD020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32448726-04AE-D527-D4BA-DE7C1678B972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DED17F50-D917-EE19-E81A-F6246EAEBC3B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93DB758B-A89C-82E8-148A-9AEC4332158F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F743F08D-81E2-E824-1D29-23AC898B280B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242065BD-14E1-08AD-7D0E-0BCEC4CF7E57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A5B137C1-EF0C-8A28-DD4C-267116AC4EF0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135DA7A6-5E86-A86F-606E-7DDDF9A65287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99982506-A775-2599-57EF-9578179D2F1E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7F6B88A1-E3D5-1D6A-834C-FAF6D78BA99D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5D84D400-269D-ADFA-4041-0901C08EFC68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75DC0CD8-1D7E-FE10-9FF5-60F4FE01E04C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294EBB81-5C48-B480-8259-13AD2410AD56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2C9ABC6D-FC4E-1EE9-2460-A4572083B651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22940873-566B-2B28-BDD0-3036E8B1F4AA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A166E38C-C20D-525C-2533-A6DAD530C073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18E67A5E-842D-1789-AEA7-6BA4D2BB6FB3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AA5CF0B4-42AE-D1B4-652F-9130A901EBAB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1920040C-F7BE-34EC-D136-88E87298EC37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16983F46-985D-77AC-64DC-C94DC800A7D7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C9C8E4F4-3530-5062-BA11-A7AD23C40E88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B0466958-9B10-80A4-EA88-CC9A13607532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3A60FDFB-DD66-2FE9-4D6F-A98026EEBA85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E61045B2-A0FC-B5DF-60EE-C998E25E5F0D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51741F11-AD4F-E759-76AF-4E06010DAF6F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99DE6A5A-0063-D00F-5F4F-FF7F6CD13812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93173961-9777-73DE-50AA-981E4B67F4DB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65D090A3-5F80-4184-6127-30B7DC979F6E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3EEEFC00-B4C1-50C2-0E91-A282E5EA6778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CB5946F5-540C-7D70-2FE9-F4EDF6056F6A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0789032A-B87A-9D6D-A8F1-A8488F627E1A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A2068A85-FDA3-156F-F8AF-63DCFD4808E5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1CBD2FA3-0587-9BB3-E48A-2B164F8497E9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8310D755-7204-5835-281C-37DCB5942A29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B11A1E2F-BD65-4541-D39A-972904518742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A5BD8D93-559F-D802-7647-D53B820F1675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966ABFF6-70B6-6E4A-E667-47EC1A32812D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54E57B5A-3956-4785-FC91-7D473D94DE67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F428F29E-3FF5-FE09-44AB-F594C87679BB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1DC23505-A3B9-C928-3E37-05F5D045EBE0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375303D8-D737-7526-5BE2-D615495B96CA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702745FC-D77E-1A28-3083-026ECAEB441D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70CDF4BA-F613-E431-3CD8-D235929E1D35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270E4007-780E-DEA4-BC46-0A5AD0541B97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83FD5ADC-954B-B5D9-EEBE-C08A802D8598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5FD77969-F7B4-2748-B2AE-8311EE6EF2CD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9A6F7713-E774-E331-E646-95E0C41DEA06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2AF238E8-AED8-5B9F-0E9D-32A5744D34DB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FB815BA1-0829-6BF7-23C0-1F75701C5350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9F273434-48FF-328C-54E1-AAC8ABFB91A9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BFA83060-D893-68FF-740B-2CACDC0AC04B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10F185B2-AE63-D92A-95DC-97757789F10F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48F2640F-E09C-4EEA-26E9-530C3BAAD24E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C772412B-1524-ACF8-CC3E-7421D87DF787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37F8D13B-CD16-CD37-D0B9-300C31268589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DD2CFC35-4052-7B0D-A409-A607FFB1D41E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504B2F9F-8720-0FA2-4D5A-17632B6BDBA3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5F120347-3EA9-74C6-B7EC-F47FB116576D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D5803117-F54E-6D04-8986-3AE82A99839E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E2F73A8B-24BE-C14F-4CBF-E7E97F983245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AE2BCCDE-DC41-2832-15FA-ED90FCC89289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F0FCDFD5-8C02-472A-6C59-2D3FA1D02DF2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21849AE7-5CA6-5732-436C-6FBC47369A51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3E93462A-0E30-3F29-62CA-141BBE14ACCE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B787E128-6E91-FCD9-065B-8217A8DA70BF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4941A868-7D1C-FFD9-5A19-BF20DD312402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EADBEDB9-849A-6949-24AC-3537733FDD63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67205EDB-0C75-77C5-4234-F9A3F88DD602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4792A158-8530-C9D8-CAAF-A6495AE0CF62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5B0E8EC8-C1D0-07A9-7156-B10389ECDF83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88B0034C-535E-A243-8C6B-33A43560B578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4454193D-737A-3A15-C7CE-1B6AF6E396D8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967FA7F2-5207-1DDB-E6C9-54105B4C50AF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58B342C3-BD5D-F5BD-C55F-06AF437B9503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E8A1B713-2C8C-A75F-53EF-D6908AA04F50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E0BD645E-2114-0AA9-182C-9B2B1B12EFDA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D3288DA2-929C-0E13-9576-20BBD1FFA4F1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CB06518C-A092-7935-5BF4-44673BFF57F5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6ED7F1EA-F493-EFB9-E708-63403564F167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7650424E-808F-CE28-D08C-0C053905EB48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8DA2DF58-05DA-DE11-ABB2-7C7157779DBB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C23FC7C7-14B5-0393-6C83-A9CB957E94DF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9C1C0ED2-923A-5132-A1DA-1EE28FC335E8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1E07D847-CB35-44D7-DA99-2005167CBF44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AE83271C-0DB8-F19F-6649-0A6F52F70985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2D8BAF9E-E87C-04B4-0CED-1168F3B14878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0" name="Rechteck 389">
              <a:extLst>
                <a:ext uri="{FF2B5EF4-FFF2-40B4-BE49-F238E27FC236}">
                  <a16:creationId xmlns:a16="http://schemas.microsoft.com/office/drawing/2014/main" id="{717DF1DC-EABB-CD2B-8DC3-E77B5F4B8746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1" name="Rechteck 390">
              <a:extLst>
                <a:ext uri="{FF2B5EF4-FFF2-40B4-BE49-F238E27FC236}">
                  <a16:creationId xmlns:a16="http://schemas.microsoft.com/office/drawing/2014/main" id="{FEB9697A-A2DD-EB7C-4820-F11EF7AEDBAF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2" name="Rechteck 391">
              <a:extLst>
                <a:ext uri="{FF2B5EF4-FFF2-40B4-BE49-F238E27FC236}">
                  <a16:creationId xmlns:a16="http://schemas.microsoft.com/office/drawing/2014/main" id="{6C77E67F-71A3-2778-99C5-782E779B86C3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3" name="Rechteck 392">
              <a:extLst>
                <a:ext uri="{FF2B5EF4-FFF2-40B4-BE49-F238E27FC236}">
                  <a16:creationId xmlns:a16="http://schemas.microsoft.com/office/drawing/2014/main" id="{2CFA2DE6-FC0C-86C2-4AF5-18A53BBD5D56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4" name="Rechteck 393">
              <a:extLst>
                <a:ext uri="{FF2B5EF4-FFF2-40B4-BE49-F238E27FC236}">
                  <a16:creationId xmlns:a16="http://schemas.microsoft.com/office/drawing/2014/main" id="{3054A794-A875-F1A7-B441-F930DCFAD3B4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5" name="Rechteck 394">
              <a:extLst>
                <a:ext uri="{FF2B5EF4-FFF2-40B4-BE49-F238E27FC236}">
                  <a16:creationId xmlns:a16="http://schemas.microsoft.com/office/drawing/2014/main" id="{3A0B63BD-B348-FFF4-0E71-7A55ED8FABBC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6" name="Rechteck 395">
              <a:extLst>
                <a:ext uri="{FF2B5EF4-FFF2-40B4-BE49-F238E27FC236}">
                  <a16:creationId xmlns:a16="http://schemas.microsoft.com/office/drawing/2014/main" id="{6CD12FB2-1FCB-6F86-9468-20E803B999C9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7" name="Rechteck 396">
              <a:extLst>
                <a:ext uri="{FF2B5EF4-FFF2-40B4-BE49-F238E27FC236}">
                  <a16:creationId xmlns:a16="http://schemas.microsoft.com/office/drawing/2014/main" id="{8EE1D0B4-034D-8DF7-86B7-4DEA4C774770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5622053B-17A7-F1EC-7C82-D454F6FE337F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5284C8C2-1823-C1AF-91B9-9DEF66F175AE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2A309D02-91C1-344B-1943-1122020E404C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37C9A05F-AD5B-9FE7-FE9C-8955CDED97B8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6AFBC0FE-2C80-DCC6-7390-007E4C804F31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3" name="Rechteck 402">
              <a:extLst>
                <a:ext uri="{FF2B5EF4-FFF2-40B4-BE49-F238E27FC236}">
                  <a16:creationId xmlns:a16="http://schemas.microsoft.com/office/drawing/2014/main" id="{77684F37-FA49-1915-46A3-87526FA554E4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D24C95A2-ABDD-8193-93BC-BE1FAE13A80D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5" name="Rechteck 404">
              <a:extLst>
                <a:ext uri="{FF2B5EF4-FFF2-40B4-BE49-F238E27FC236}">
                  <a16:creationId xmlns:a16="http://schemas.microsoft.com/office/drawing/2014/main" id="{753BD046-3765-801D-0454-E2430E8A4C9D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6" name="Rechteck 405">
              <a:extLst>
                <a:ext uri="{FF2B5EF4-FFF2-40B4-BE49-F238E27FC236}">
                  <a16:creationId xmlns:a16="http://schemas.microsoft.com/office/drawing/2014/main" id="{AAD3E089-5A59-F388-05A2-B2DCADE795C3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3025646E-9355-E0D7-E52B-11B02E0B453A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9E66D3BC-3D05-1C9F-0176-51E9CB1D81FD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8FD4FD3C-56DB-9458-CA49-8EE6B89D3F9F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0" name="Rechteck 409">
              <a:extLst>
                <a:ext uri="{FF2B5EF4-FFF2-40B4-BE49-F238E27FC236}">
                  <a16:creationId xmlns:a16="http://schemas.microsoft.com/office/drawing/2014/main" id="{A5463FF5-BB97-749D-952A-4D4CCD9348C7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40D07749-038B-0D51-CD6F-03A6111B36FC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ACBD5972-7FD1-850A-0838-BE3378B2956B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12603CB2-4EE1-DC54-E279-F7D74447DE95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23E4A52C-A98F-B108-046E-FFC950B2EAFD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939C80ED-3B6E-5C02-9691-77910AF97143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6" name="Rechteck 415">
              <a:extLst>
                <a:ext uri="{FF2B5EF4-FFF2-40B4-BE49-F238E27FC236}">
                  <a16:creationId xmlns:a16="http://schemas.microsoft.com/office/drawing/2014/main" id="{49A1C6E8-DEDB-D184-F8AF-3B31B70CDDCF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D32A219D-8F4A-EA98-0954-EE826A95F539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8" name="Rechteck 417">
              <a:extLst>
                <a:ext uri="{FF2B5EF4-FFF2-40B4-BE49-F238E27FC236}">
                  <a16:creationId xmlns:a16="http://schemas.microsoft.com/office/drawing/2014/main" id="{E6A96948-DE53-C251-D167-1F2B73D174C1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19" name="Rechteck 418">
              <a:extLst>
                <a:ext uri="{FF2B5EF4-FFF2-40B4-BE49-F238E27FC236}">
                  <a16:creationId xmlns:a16="http://schemas.microsoft.com/office/drawing/2014/main" id="{BD745677-2FD0-DEF3-280A-4E793189982D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0" name="Rechteck 419">
              <a:extLst>
                <a:ext uri="{FF2B5EF4-FFF2-40B4-BE49-F238E27FC236}">
                  <a16:creationId xmlns:a16="http://schemas.microsoft.com/office/drawing/2014/main" id="{491A5F00-45A6-7488-5392-16348DC40A22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1" name="Rechteck 420">
              <a:extLst>
                <a:ext uri="{FF2B5EF4-FFF2-40B4-BE49-F238E27FC236}">
                  <a16:creationId xmlns:a16="http://schemas.microsoft.com/office/drawing/2014/main" id="{A1AE0E94-619A-F192-98EF-EDF9F505495D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2" name="Rechteck 421">
              <a:extLst>
                <a:ext uri="{FF2B5EF4-FFF2-40B4-BE49-F238E27FC236}">
                  <a16:creationId xmlns:a16="http://schemas.microsoft.com/office/drawing/2014/main" id="{59062921-96A7-EFDA-82FA-A6DF4D1D4F8D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3" name="Rechteck 422">
              <a:extLst>
                <a:ext uri="{FF2B5EF4-FFF2-40B4-BE49-F238E27FC236}">
                  <a16:creationId xmlns:a16="http://schemas.microsoft.com/office/drawing/2014/main" id="{665D7D14-049B-C526-BEB9-B6B36B42A8E0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4" name="Rechteck 423">
              <a:extLst>
                <a:ext uri="{FF2B5EF4-FFF2-40B4-BE49-F238E27FC236}">
                  <a16:creationId xmlns:a16="http://schemas.microsoft.com/office/drawing/2014/main" id="{8E8A048A-6697-C616-49CA-26AA164D1EB0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5" name="Rechteck 424">
              <a:extLst>
                <a:ext uri="{FF2B5EF4-FFF2-40B4-BE49-F238E27FC236}">
                  <a16:creationId xmlns:a16="http://schemas.microsoft.com/office/drawing/2014/main" id="{8000DCA7-04ED-9592-2999-13ECCAA5D05F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6" name="Rechteck 425">
              <a:extLst>
                <a:ext uri="{FF2B5EF4-FFF2-40B4-BE49-F238E27FC236}">
                  <a16:creationId xmlns:a16="http://schemas.microsoft.com/office/drawing/2014/main" id="{D3C6F6C5-9A1D-B210-9D3D-4275EFD94DEA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7" name="Rechteck 426">
              <a:extLst>
                <a:ext uri="{FF2B5EF4-FFF2-40B4-BE49-F238E27FC236}">
                  <a16:creationId xmlns:a16="http://schemas.microsoft.com/office/drawing/2014/main" id="{0906C8A7-2C31-F684-B82B-47E312B4D5F3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8" name="Rechteck 427">
              <a:extLst>
                <a:ext uri="{FF2B5EF4-FFF2-40B4-BE49-F238E27FC236}">
                  <a16:creationId xmlns:a16="http://schemas.microsoft.com/office/drawing/2014/main" id="{109CED36-448B-FD83-92BE-C67F9E4E83C1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29" name="Rechteck 428">
              <a:extLst>
                <a:ext uri="{FF2B5EF4-FFF2-40B4-BE49-F238E27FC236}">
                  <a16:creationId xmlns:a16="http://schemas.microsoft.com/office/drawing/2014/main" id="{5740C2A5-C601-6FB3-9BBD-E955CF72A898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0" name="Rechteck 429">
              <a:extLst>
                <a:ext uri="{FF2B5EF4-FFF2-40B4-BE49-F238E27FC236}">
                  <a16:creationId xmlns:a16="http://schemas.microsoft.com/office/drawing/2014/main" id="{7DA783E9-7B5A-581A-B883-D6A945AE59CA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1" name="Rechteck 430">
              <a:extLst>
                <a:ext uri="{FF2B5EF4-FFF2-40B4-BE49-F238E27FC236}">
                  <a16:creationId xmlns:a16="http://schemas.microsoft.com/office/drawing/2014/main" id="{A9E6376B-B750-82E4-B230-730BBA14CF36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2" name="Rechteck 431">
              <a:extLst>
                <a:ext uri="{FF2B5EF4-FFF2-40B4-BE49-F238E27FC236}">
                  <a16:creationId xmlns:a16="http://schemas.microsoft.com/office/drawing/2014/main" id="{4DCAB17B-692E-002D-68D8-ED50B2CDC83F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3" name="Rechteck 432">
              <a:extLst>
                <a:ext uri="{FF2B5EF4-FFF2-40B4-BE49-F238E27FC236}">
                  <a16:creationId xmlns:a16="http://schemas.microsoft.com/office/drawing/2014/main" id="{0445DFA1-EB1D-9845-74A4-CA6F42A01372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4" name="Rechteck 433">
              <a:extLst>
                <a:ext uri="{FF2B5EF4-FFF2-40B4-BE49-F238E27FC236}">
                  <a16:creationId xmlns:a16="http://schemas.microsoft.com/office/drawing/2014/main" id="{54256315-C447-9FF7-D6D1-7D04F989DDEE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5" name="Rechteck 434">
              <a:extLst>
                <a:ext uri="{FF2B5EF4-FFF2-40B4-BE49-F238E27FC236}">
                  <a16:creationId xmlns:a16="http://schemas.microsoft.com/office/drawing/2014/main" id="{DD5A3098-8BD9-BB54-3FDA-6818AE5629DB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6" name="Rechteck 435">
              <a:extLst>
                <a:ext uri="{FF2B5EF4-FFF2-40B4-BE49-F238E27FC236}">
                  <a16:creationId xmlns:a16="http://schemas.microsoft.com/office/drawing/2014/main" id="{F3388114-849B-7105-CEB6-63E0C63E4039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7" name="Rechteck 436">
              <a:extLst>
                <a:ext uri="{FF2B5EF4-FFF2-40B4-BE49-F238E27FC236}">
                  <a16:creationId xmlns:a16="http://schemas.microsoft.com/office/drawing/2014/main" id="{0773F36D-4DD7-F453-8C9E-06D9DCB8444B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8" name="Rechteck 437">
              <a:extLst>
                <a:ext uri="{FF2B5EF4-FFF2-40B4-BE49-F238E27FC236}">
                  <a16:creationId xmlns:a16="http://schemas.microsoft.com/office/drawing/2014/main" id="{5CC7F65E-0F73-4C4F-7E30-D45B46C80D28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39" name="Rechteck 438">
              <a:extLst>
                <a:ext uri="{FF2B5EF4-FFF2-40B4-BE49-F238E27FC236}">
                  <a16:creationId xmlns:a16="http://schemas.microsoft.com/office/drawing/2014/main" id="{A7DDA776-1E0C-3223-5641-5A65E87C81E4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0" name="Rechteck 439">
              <a:extLst>
                <a:ext uri="{FF2B5EF4-FFF2-40B4-BE49-F238E27FC236}">
                  <a16:creationId xmlns:a16="http://schemas.microsoft.com/office/drawing/2014/main" id="{FD025CEA-A2A9-7F19-091E-DAAAE9639D80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1" name="Rechteck 440">
              <a:extLst>
                <a:ext uri="{FF2B5EF4-FFF2-40B4-BE49-F238E27FC236}">
                  <a16:creationId xmlns:a16="http://schemas.microsoft.com/office/drawing/2014/main" id="{78CE09F1-191C-56CE-E067-B3DE32A7E726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2" name="Rechteck 441">
              <a:extLst>
                <a:ext uri="{FF2B5EF4-FFF2-40B4-BE49-F238E27FC236}">
                  <a16:creationId xmlns:a16="http://schemas.microsoft.com/office/drawing/2014/main" id="{DC78922B-50F8-FAFF-6590-35F60BA2F9B0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3" name="Rechteck 442">
              <a:extLst>
                <a:ext uri="{FF2B5EF4-FFF2-40B4-BE49-F238E27FC236}">
                  <a16:creationId xmlns:a16="http://schemas.microsoft.com/office/drawing/2014/main" id="{0F02CEAD-27F9-76E6-65F1-F5C28941D2E2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4" name="Rechteck 443">
              <a:extLst>
                <a:ext uri="{FF2B5EF4-FFF2-40B4-BE49-F238E27FC236}">
                  <a16:creationId xmlns:a16="http://schemas.microsoft.com/office/drawing/2014/main" id="{2C27E6F0-2835-0935-1AB2-981297EF32E3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5" name="Rechteck 444">
              <a:extLst>
                <a:ext uri="{FF2B5EF4-FFF2-40B4-BE49-F238E27FC236}">
                  <a16:creationId xmlns:a16="http://schemas.microsoft.com/office/drawing/2014/main" id="{92553365-5D46-8BD5-3542-3C406EBB16B9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6" name="Rechteck 445">
              <a:extLst>
                <a:ext uri="{FF2B5EF4-FFF2-40B4-BE49-F238E27FC236}">
                  <a16:creationId xmlns:a16="http://schemas.microsoft.com/office/drawing/2014/main" id="{B46DE53C-EBC9-500D-F566-42A642A3994C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7" name="Rechteck 446">
              <a:extLst>
                <a:ext uri="{FF2B5EF4-FFF2-40B4-BE49-F238E27FC236}">
                  <a16:creationId xmlns:a16="http://schemas.microsoft.com/office/drawing/2014/main" id="{73AE972C-B0D1-E1EF-9231-F75A714B4963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8" name="Rechteck 447">
              <a:extLst>
                <a:ext uri="{FF2B5EF4-FFF2-40B4-BE49-F238E27FC236}">
                  <a16:creationId xmlns:a16="http://schemas.microsoft.com/office/drawing/2014/main" id="{77C561AA-DE93-AB88-62EC-F091B1675AB7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49" name="Rechteck 448">
              <a:extLst>
                <a:ext uri="{FF2B5EF4-FFF2-40B4-BE49-F238E27FC236}">
                  <a16:creationId xmlns:a16="http://schemas.microsoft.com/office/drawing/2014/main" id="{1FEA5B8E-4718-E53C-DC33-71206A4B5733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0" name="Rechteck 449">
              <a:extLst>
                <a:ext uri="{FF2B5EF4-FFF2-40B4-BE49-F238E27FC236}">
                  <a16:creationId xmlns:a16="http://schemas.microsoft.com/office/drawing/2014/main" id="{F810EA55-028E-A191-5051-AAD6BD2916A8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1" name="Rechteck 450">
              <a:extLst>
                <a:ext uri="{FF2B5EF4-FFF2-40B4-BE49-F238E27FC236}">
                  <a16:creationId xmlns:a16="http://schemas.microsoft.com/office/drawing/2014/main" id="{8C6D6F39-9FB2-AD4B-FFB4-C73EBAC0E6B9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2" name="Rechteck 451">
              <a:extLst>
                <a:ext uri="{FF2B5EF4-FFF2-40B4-BE49-F238E27FC236}">
                  <a16:creationId xmlns:a16="http://schemas.microsoft.com/office/drawing/2014/main" id="{F7A70FFA-EE19-2A3E-B40F-46107B95D633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3" name="Rechteck 452">
              <a:extLst>
                <a:ext uri="{FF2B5EF4-FFF2-40B4-BE49-F238E27FC236}">
                  <a16:creationId xmlns:a16="http://schemas.microsoft.com/office/drawing/2014/main" id="{FAF5E6AE-4C2E-C254-0526-099EE8498D45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4" name="Rechteck 453">
              <a:extLst>
                <a:ext uri="{FF2B5EF4-FFF2-40B4-BE49-F238E27FC236}">
                  <a16:creationId xmlns:a16="http://schemas.microsoft.com/office/drawing/2014/main" id="{4636C050-94CF-3DEA-DC37-7BFC71F3ECCC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5" name="Rechteck 454">
              <a:extLst>
                <a:ext uri="{FF2B5EF4-FFF2-40B4-BE49-F238E27FC236}">
                  <a16:creationId xmlns:a16="http://schemas.microsoft.com/office/drawing/2014/main" id="{FE3CFBAC-AE76-9731-CBF2-9F892F210DBC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6" name="Rechteck 455">
              <a:extLst>
                <a:ext uri="{FF2B5EF4-FFF2-40B4-BE49-F238E27FC236}">
                  <a16:creationId xmlns:a16="http://schemas.microsoft.com/office/drawing/2014/main" id="{8E8D8792-562E-B2F0-FAF3-132D00689DAB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7" name="Rechteck 456">
              <a:extLst>
                <a:ext uri="{FF2B5EF4-FFF2-40B4-BE49-F238E27FC236}">
                  <a16:creationId xmlns:a16="http://schemas.microsoft.com/office/drawing/2014/main" id="{46418CED-FD4C-B9FE-F95D-175F44D1080D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8" name="Rechteck 457">
              <a:extLst>
                <a:ext uri="{FF2B5EF4-FFF2-40B4-BE49-F238E27FC236}">
                  <a16:creationId xmlns:a16="http://schemas.microsoft.com/office/drawing/2014/main" id="{15755616-948D-9B30-4DB2-0590086C7F8E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59" name="Rechteck 458">
              <a:extLst>
                <a:ext uri="{FF2B5EF4-FFF2-40B4-BE49-F238E27FC236}">
                  <a16:creationId xmlns:a16="http://schemas.microsoft.com/office/drawing/2014/main" id="{7D096609-7436-972B-AFC7-EDB1A658882E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60" name="Rechteck 459">
              <a:extLst>
                <a:ext uri="{FF2B5EF4-FFF2-40B4-BE49-F238E27FC236}">
                  <a16:creationId xmlns:a16="http://schemas.microsoft.com/office/drawing/2014/main" id="{4C21D753-C1A0-557F-5434-695B4B801F6C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  <p:sp>
          <p:nvSpPr>
            <p:cNvPr id="461" name="Rechteck 460">
              <a:extLst>
                <a:ext uri="{FF2B5EF4-FFF2-40B4-BE49-F238E27FC236}">
                  <a16:creationId xmlns:a16="http://schemas.microsoft.com/office/drawing/2014/main" id="{AC33DA15-B0CA-2461-11FB-671B20EBB9EA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>
                <a:lnSpc>
                  <a:spcPct val="125000"/>
                </a:lnSpc>
              </a:pPr>
              <a:endParaRPr lang="en-US" sz="1600" dirty="0"/>
            </a:p>
          </p:txBody>
        </p:sp>
      </p:grpSp>
      <p:sp>
        <p:nvSpPr>
          <p:cNvPr id="275" name="Shape">
            <a:extLst>
              <a:ext uri="{FF2B5EF4-FFF2-40B4-BE49-F238E27FC236}">
                <a16:creationId xmlns:a16="http://schemas.microsoft.com/office/drawing/2014/main" id="{C0816E57-F737-4DE9-B1EF-B6C527A347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839417" y="1988840"/>
            <a:ext cx="3024336" cy="3096344"/>
          </a:xfrm>
          <a:custGeom>
            <a:avLst/>
            <a:gdLst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517775 w 3022600"/>
              <a:gd name="connsiteY2" fmla="*/ 2520950 h 3024187"/>
              <a:gd name="connsiteX3" fmla="*/ 0 w 3022600"/>
              <a:gd name="connsiteY3" fmla="*/ 3024187 h 302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22600" h="3024187">
                <a:moveTo>
                  <a:pt x="0" y="0"/>
                </a:moveTo>
                <a:lnTo>
                  <a:pt x="3022600" y="0"/>
                </a:lnTo>
                <a:lnTo>
                  <a:pt x="2517775" y="2520950"/>
                </a:lnTo>
                <a:lnTo>
                  <a:pt x="0" y="3024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sp>
        <p:nvSpPr>
          <p:cNvPr id="274" name="Shape">
            <a:extLst>
              <a:ext uri="{FF2B5EF4-FFF2-40B4-BE49-F238E27FC236}">
                <a16:creationId xmlns:a16="http://schemas.microsoft.com/office/drawing/2014/main" id="{2EF2035B-25E2-4574-8A4A-D1A83A6485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909753" y="2059253"/>
            <a:ext cx="2881991" cy="2953923"/>
          </a:xfrm>
          <a:custGeom>
            <a:avLst/>
            <a:gdLst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517775 w 3022600"/>
              <a:gd name="connsiteY2" fmla="*/ 2520950 h 3024187"/>
              <a:gd name="connsiteX3" fmla="*/ 0 w 3022600"/>
              <a:gd name="connsiteY3" fmla="*/ 3024187 h 302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22600" h="3024187">
                <a:moveTo>
                  <a:pt x="0" y="0"/>
                </a:moveTo>
                <a:lnTo>
                  <a:pt x="3022600" y="0"/>
                </a:lnTo>
                <a:lnTo>
                  <a:pt x="2517775" y="2520950"/>
                </a:lnTo>
                <a:lnTo>
                  <a:pt x="0" y="302418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 rtl="0">
              <a:lnSpc>
                <a:spcPct val="125000"/>
              </a:lnSpc>
            </a:pPr>
            <a:endParaRPr lang="en-US" sz="1600" dirty="0"/>
          </a:p>
        </p:txBody>
      </p:sp>
      <p:sp>
        <p:nvSpPr>
          <p:cNvPr id="255" name="Title">
            <a:extLst>
              <a:ext uri="{FF2B5EF4-FFF2-40B4-BE49-F238E27FC236}">
                <a16:creationId xmlns:a16="http://schemas.microsoft.com/office/drawing/2014/main" id="{9258FB6E-C910-44A9-A44D-172431214D3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1204143" y="2349032"/>
            <a:ext cx="2297610" cy="1296000"/>
          </a:xfrm>
          <a:prstGeom prst="rect">
            <a:avLst/>
          </a:prstGeom>
          <a:noFill/>
          <a:ln w="127">
            <a:noFill/>
          </a:ln>
        </p:spPr>
        <p:txBody>
          <a:bodyPr vert="horz" lIns="0" tIns="0" rIns="0" bIns="0" anchor="t">
            <a:noAutofit/>
          </a:bodyPr>
          <a:lstStyle>
            <a:lvl1pPr algn="l" rtl="0">
              <a:lnSpc>
                <a:spcPct val="90000"/>
              </a:lnSpc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[Thank You]</a:t>
            </a:r>
            <a:endParaRPr lang="en-US" dirty="0"/>
          </a:p>
        </p:txBody>
      </p:sp>
      <p:sp>
        <p:nvSpPr>
          <p:cNvPr id="271" name="Subtitle">
            <a:extLst>
              <a:ext uri="{FF2B5EF4-FFF2-40B4-BE49-F238E27FC236}">
                <a16:creationId xmlns:a16="http://schemas.microsoft.com/office/drawing/2014/main" id="{266E9096-0006-85D5-E288-890B63E2FBD3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1199456" y="3789040"/>
            <a:ext cx="2160240" cy="288000"/>
          </a:xfrm>
          <a:prstGeom prst="rect">
            <a:avLst/>
          </a:prstGeom>
          <a:noFill/>
          <a:ln w="127">
            <a:noFill/>
          </a:ln>
        </p:spPr>
        <p:txBody>
          <a:bodyPr wrap="none" lIns="0" tIns="0" rIns="0" anchor="t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pPr lvl="0"/>
            <a:r>
              <a:rPr lang="en-US"/>
              <a:t>gfk.com</a:t>
            </a:r>
            <a:endParaRPr lang="en-US" dirty="0"/>
          </a:p>
        </p:txBody>
      </p:sp>
      <p:pic>
        <p:nvPicPr>
          <p:cNvPr id="462" name="Logo">
            <a:extLst>
              <a:ext uri="{FF2B5EF4-FFF2-40B4-BE49-F238E27FC236}">
                <a16:creationId xmlns:a16="http://schemas.microsoft.com/office/drawing/2014/main" id="{1BF0593D-C8C0-AA78-4C3F-6AC2DE3C87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24326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05DF49E-7D3B-C98F-C01D-B518AF795C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5068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5DF49E-7D3B-C98F-C01D-B518AF795C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11"/>
          <p:cNvSpPr>
            <a:spLocks noGrp="1"/>
          </p:cNvSpPr>
          <p:nvPr>
            <p:ph type="pic" sz="quarter" idx="17" hasCustomPrompt="1"/>
          </p:nvPr>
        </p:nvSpPr>
        <p:spPr>
          <a:xfrm>
            <a:off x="-1" y="0"/>
            <a:ext cx="8822478" cy="6858000"/>
          </a:xfrm>
          <a:custGeom>
            <a:avLst/>
            <a:gdLst>
              <a:gd name="connsiteX0" fmla="*/ 0 w 8822478"/>
              <a:gd name="connsiteY0" fmla="*/ 0 h 6858000"/>
              <a:gd name="connsiteX1" fmla="*/ 8477306 w 8822478"/>
              <a:gd name="connsiteY1" fmla="*/ 0 h 6858000"/>
              <a:gd name="connsiteX2" fmla="*/ 6998505 w 8822478"/>
              <a:gd name="connsiteY2" fmla="*/ 3834029 h 6858000"/>
              <a:gd name="connsiteX3" fmla="*/ 8822478 w 8822478"/>
              <a:gd name="connsiteY3" fmla="*/ 6858000 h 6858000"/>
              <a:gd name="connsiteX4" fmla="*/ 0 w 8822478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22478" h="6858000">
                <a:moveTo>
                  <a:pt x="0" y="0"/>
                </a:moveTo>
                <a:lnTo>
                  <a:pt x="8477306" y="0"/>
                </a:lnTo>
                <a:lnTo>
                  <a:pt x="6998505" y="3834029"/>
                </a:lnTo>
                <a:lnTo>
                  <a:pt x="8822478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9DADB"/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37533" y="2908628"/>
            <a:ext cx="4082992" cy="2103640"/>
          </a:xfrm>
          <a:prstGeom prst="rect">
            <a:avLst/>
          </a:prstGeo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7" name="Date Placeholder 27">
            <a:extLst>
              <a:ext uri="{FF2B5EF4-FFF2-40B4-BE49-F238E27FC236}">
                <a16:creationId xmlns:a16="http://schemas.microsoft.com/office/drawing/2014/main" id="{ADE1E9F9-FBAF-394E-A314-0EABD1CFEB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2088" y="6461671"/>
            <a:ext cx="761512" cy="13379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 rtl="0">
              <a:defRPr sz="800">
                <a:solidFill>
                  <a:schemeClr val="bg1"/>
                </a:solidFill>
              </a:defRPr>
            </a:lvl1pPr>
          </a:lstStyle>
          <a:p>
            <a:fld id="{D87C0D1C-2E9F-4BFE-8158-6FC503AE3131}" type="datetime7">
              <a:rPr lang="en-US" smtClean="0"/>
              <a:pPr/>
              <a:t>Feb-26</a:t>
            </a:fld>
            <a:endParaRPr lang="en-US" dirty="0"/>
          </a:p>
        </p:txBody>
      </p:sp>
      <p:sp>
        <p:nvSpPr>
          <p:cNvPr id="8" name="Footer Placeholder 28">
            <a:extLst>
              <a:ext uri="{FF2B5EF4-FFF2-40B4-BE49-F238E27FC236}">
                <a16:creationId xmlns:a16="http://schemas.microsoft.com/office/drawing/2014/main" id="{63BA1789-D1C8-C747-8641-ABF6E53348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76400" y="6461671"/>
            <a:ext cx="8162717" cy="13379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144000" indent="-144000" algn="l" rtl="0">
              <a:buClr>
                <a:schemeClr val="tx2"/>
              </a:buClr>
              <a:buFont typeface="Wingdings" panose="05000000000000000000" pitchFamily="2" charset="2"/>
              <a:buChar char="§"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Black Friday Dynamics 2022</a:t>
            </a:r>
            <a:endParaRPr lang="en-US" dirty="0"/>
          </a:p>
        </p:txBody>
      </p:sp>
      <p:sp>
        <p:nvSpPr>
          <p:cNvPr id="9" name="Slide Number Placeholder 29">
            <a:extLst>
              <a:ext uri="{FF2B5EF4-FFF2-40B4-BE49-F238E27FC236}">
                <a16:creationId xmlns:a16="http://schemas.microsoft.com/office/drawing/2014/main" id="{885D08F5-B56A-0544-BEE5-2FA1615F66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6669" y="6461671"/>
            <a:ext cx="648000" cy="13379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fld id="{5F3E29E4-0979-4FCA-B4C5-5FC6044C98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DBD7890-AED9-4944-BFE1-FABFDC77A9B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75063" y="6307665"/>
            <a:ext cx="8162717" cy="1332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sz="800" baseline="0">
                <a:solidFill>
                  <a:schemeClr val="bg1"/>
                </a:solidFill>
              </a:defRPr>
            </a:lvl1pPr>
            <a:lvl2pPr marL="0" indent="0" algn="l" rt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2pPr>
            <a:lvl3pPr marL="0" indent="0" algn="l" rt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3pPr>
            <a:lvl4pPr marL="0" algn="l" rt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4pPr>
            <a:lvl5pPr marL="0" indent="0" algn="l" rt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ource 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3872238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4726702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 bwMode="gray">
          <a:xfrm>
            <a:off x="431213" y="1700760"/>
            <a:ext cx="11328987" cy="460902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add headlin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214" y="1220695"/>
            <a:ext cx="11329573" cy="384053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4" y="6404736"/>
            <a:ext cx="11328557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2519101559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9056656"/>
      </p:ext>
    </p:extLst>
  </p:cSld>
  <p:clrMapOvr>
    <a:masterClrMapping/>
  </p:clrMapOvr>
  <p:transition/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B53D850-F92F-579F-F179-F8170E785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6713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6" progId="TCLayout.ActiveDocument.1">
                  <p:embed/>
                </p:oleObj>
              </mc:Choice>
              <mc:Fallback>
                <p:oleObj name="think-cell Slide" r:id="rId3" imgW="400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53D850-F92F-579F-F179-F8170E785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80A15201-F299-04EA-E6CE-E722641959C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11495577" y="6495100"/>
            <a:ext cx="40432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8C02E2E7-130F-8E98-F5E2-0E052FB5C9B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3251197" y="6495102"/>
            <a:ext cx="3716341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688318DD-F239-9F43-D086-9EBEC3E5402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2265363" y="6495102"/>
            <a:ext cx="757238" cy="28295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sp>
        <p:nvSpPr>
          <p:cNvPr id="9" name="Source Placeholder">
            <a:extLst>
              <a:ext uri="{FF2B5EF4-FFF2-40B4-BE49-F238E27FC236}">
                <a16:creationId xmlns:a16="http://schemas.microsoft.com/office/drawing/2014/main" id="{C6CEF957-D49F-C931-2F5D-3BEC205BBE4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92100" y="6108700"/>
            <a:ext cx="11607800" cy="194127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buNone/>
              <a:defRPr lang="en-GB" sz="800" dirty="0">
                <a:solidFill>
                  <a:srgbClr val="B3B3B3"/>
                </a:solidFill>
              </a:defRPr>
            </a:lvl1pPr>
          </a:lstStyle>
          <a:p>
            <a:pPr marL="171450" lvl="0" indent="-171450">
              <a:spcBef>
                <a:spcPts val="0"/>
              </a:spcBef>
              <a:spcAft>
                <a:spcPts val="0"/>
              </a:spcAft>
            </a:pPr>
            <a:r>
              <a:rPr lang="en-US"/>
              <a:t>Source, footnote</a:t>
            </a:r>
            <a:endParaRPr lang="en-US" dirty="0"/>
          </a:p>
        </p:txBody>
      </p:sp>
      <p:sp>
        <p:nvSpPr>
          <p:cNvPr id="10" name="Subtitle Placeholder">
            <a:extLst>
              <a:ext uri="{FF2B5EF4-FFF2-40B4-BE49-F238E27FC236}">
                <a16:creationId xmlns:a16="http://schemas.microsoft.com/office/drawing/2014/main" id="{6C1C9672-42DD-57E9-416C-57C076682C6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292100" y="579495"/>
            <a:ext cx="11607800" cy="436562"/>
          </a:xfrm>
        </p:spPr>
        <p:txBody>
          <a:bodyPr vert="horz" lIns="0" tIns="45720" rIns="0" bIns="45720" rtlCol="0">
            <a:noAutofit/>
          </a:bodyPr>
          <a:lstStyle>
            <a:lvl1pPr marL="0" indent="0" rtl="0">
              <a:buNone/>
              <a:defRPr kumimoji="0" lang="en-GB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171450" marR="0" lvl="0" indent="-1714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your subtitle in Arial 16pt</a:t>
            </a:r>
            <a:endParaRPr lang="en-US" dirty="0"/>
          </a:p>
        </p:txBody>
      </p:sp>
      <p:sp>
        <p:nvSpPr>
          <p:cNvPr id="11" name="Title Placeholder">
            <a:extLst>
              <a:ext uri="{FF2B5EF4-FFF2-40B4-BE49-F238E27FC236}">
                <a16:creationId xmlns:a16="http://schemas.microsoft.com/office/drawing/2014/main" id="{85B153CC-4B6C-85AB-FFEB-0F2CD0DA990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292100" y="304800"/>
            <a:ext cx="11613314" cy="265590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059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904">
          <p15:clr>
            <a:srgbClr val="5ACBF0"/>
          </p15:clr>
        </p15:guide>
        <p15:guide id="9" pos="2048">
          <p15:clr>
            <a:srgbClr val="5ACBF0"/>
          </p15:clr>
        </p15:guide>
        <p15:guide id="10" pos="2525">
          <p15:clr>
            <a:srgbClr val="FDE53C"/>
          </p15:clr>
        </p15:guide>
        <p15:guide id="11" pos="2669">
          <p15:clr>
            <a:srgbClr val="FDE53C"/>
          </p15:clr>
        </p15:guide>
        <p15:guide id="14" pos="3768">
          <p15:clr>
            <a:srgbClr val="A4A3A4"/>
          </p15:clr>
        </p15:guide>
        <p15:guide id="15" pos="3912">
          <p15:clr>
            <a:srgbClr val="A4A3A4"/>
          </p15:clr>
        </p15:guide>
        <p15:guide id="18" pos="5010">
          <p15:clr>
            <a:srgbClr val="FDE53C"/>
          </p15:clr>
        </p15:guide>
        <p15:guide id="19" pos="5154">
          <p15:clr>
            <a:srgbClr val="FDE53C"/>
          </p15:clr>
        </p15:guide>
        <p15:guide id="20" pos="5631">
          <p15:clr>
            <a:srgbClr val="5ACBF0"/>
          </p15:clr>
        </p15:guide>
        <p15:guide id="21" pos="5775">
          <p15:clr>
            <a:srgbClr val="5ACBF0"/>
          </p15:clr>
        </p15:guide>
        <p15:guide id="22" orient="horz" pos="2304">
          <p15:clr>
            <a:srgbClr val="A4A3A4"/>
          </p15:clr>
        </p15:guide>
        <p15:guide id="23" orient="horz" pos="2232">
          <p15:clr>
            <a:srgbClr val="A4A3A4"/>
          </p15:clr>
        </p15:guide>
        <p15:guide id="24" orient="horz" pos="2376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9C3F806D-AD62-4FAF-ACF7-4E654593A0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71ECE885-C792-1197-23E7-87F3EA82962F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5360" y="2061045"/>
            <a:ext cx="2304000" cy="4032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 hasCustomPrompt="1"/>
          </p:nvPr>
        </p:nvSpPr>
        <p:spPr bwMode="gray">
          <a:xfrm>
            <a:off x="3215680" y="2061046"/>
            <a:ext cx="2304000" cy="4032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096000" y="2061046"/>
            <a:ext cx="2304000" cy="403224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76576" y="2061046"/>
            <a:ext cx="2304000" cy="4032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12" name="Source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E393A0D-4EED-300B-CF2D-381E4CDFC0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E2F356CC-303E-4164-987B-62DF40238C52}" type="datetime1">
              <a:rPr lang="en-GB" smtClean="0"/>
              <a:t>12/02/2026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D2C5886-1FC3-743A-7B19-09B60A2E70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9455AF0-9100-7C20-4C99-B5582D5834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27092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2" pos="211">
          <p15:clr>
            <a:srgbClr val="FBAE40"/>
          </p15:clr>
        </p15:guide>
        <p15:guide id="3" pos="7106">
          <p15:clr>
            <a:srgbClr val="FBAE40"/>
          </p15:clr>
        </p15:guide>
        <p15:guide id="4" orient="horz" pos="3838">
          <p15:clr>
            <a:srgbClr val="FBAE40"/>
          </p15:clr>
        </p15:guide>
        <p15:guide id="5" pos="5654">
          <p15:clr>
            <a:srgbClr val="FBAE40"/>
          </p15:clr>
        </p15:guide>
        <p15:guide id="6" pos="5292">
          <p15:clr>
            <a:srgbClr val="FBAE40"/>
          </p15:clr>
        </p15:guide>
        <p15:guide id="7" pos="3840">
          <p15:clr>
            <a:srgbClr val="FBAE40"/>
          </p15:clr>
        </p15:guide>
        <p15:guide id="8" pos="3477">
          <p15:clr>
            <a:srgbClr val="FBAE40"/>
          </p15:clr>
        </p15:guide>
        <p15:guide id="9" pos="2026">
          <p15:clr>
            <a:srgbClr val="FBAE40"/>
          </p15:clr>
        </p15:guide>
        <p15:guide id="10" pos="166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| Magent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60DB273-1443-C87E-6ECB-C46978ECDF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5CC16F00-6528-8EAA-C139-CA052A3E93FA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8D83927C-5315-B180-40F1-83E826D96BF6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10F2E264-B922-54F3-A813-553712FE03D4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95C38408-DC64-7220-A739-6654AEBD5891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21A15D5A-67C0-EAA5-F74F-2AB46222D2B9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C19F6166-606C-A92C-38FE-B1CC09620704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7C52F65A-A572-9991-B81F-0DE90B117D19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4B6A37A7-A6A3-C0D1-0797-3DF25E32A413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E3289997-CC28-D613-1D4E-9BA33F73FF63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877A7EE5-A9E2-D515-E4D9-25205F5ED3DA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5D592E9E-2394-A24E-5D70-F2EFEE992812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5A2B1A9A-45AA-A1F9-E683-6E495F350E44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8CE452AF-394D-3FD9-9C6A-74A1DF70FB00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171535FD-CB5B-A75E-43D2-3786CFC120A2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2A137DBC-EE41-44B9-C656-2E6DA8A9A101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5C2F2854-C55B-F647-345D-BC7FF8383E1D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6D9F972A-3228-6302-0A17-E091612EDEBF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D6CEE0E8-DB1C-3050-6465-29453BF8B44E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97B4FDEE-9C0F-89AA-BB61-DD875FA6B1EC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98A27B12-5736-E271-A511-FE484DA6828B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2CFE2BEE-BD32-C8E8-F0DF-A2E65AFF62E5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4F12498D-D37B-7F68-0DF6-23A507C2A945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F2018278-B82A-7E9C-1E65-46DD654CAA31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FE1C3555-F4B5-3D09-845F-47FC14120CB5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3115BAA0-9EAE-1F36-E76D-F9B0D1857DF0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426857AD-7C23-0164-1519-357B08E33B1A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D97628DA-3EB7-E5C0-8938-B9B75A12EC78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B7F5E1E3-5F50-D61F-45E7-E3985B815FDD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A8F8BFB0-2534-1CD9-D8DA-F3B022DD0515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0F24951A-F64C-F7D4-A160-121956594FC4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7CC8365C-1058-E2D1-DE1B-84E6734F3CF0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74901AE1-E677-37BF-F22D-1C1553CA43E5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2DCE434A-7D89-54A7-B6AE-DB461E19D222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A0F49A47-AAF2-5273-530F-DB04AD68781D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5FA22F4B-AB4C-42B7-1A19-16E31A333529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A5E12442-87D1-E5F7-DC6D-ACBE1E3C51C1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5AE01D16-432C-8009-D125-54A9546A128D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BCCA83D5-C940-3407-D1F7-E4C7C1822D77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C6E9AB5B-4AB2-E1E1-84DD-467C80321B08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F2CB3800-90DE-6DCD-4F35-9C8FBB43F3B0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B9D34772-E347-6CEF-D41A-BA4B2CFFD849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F289CDC1-4682-1B8D-6506-396D42B9BFE1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500CC7FA-9968-F933-AF2B-F94DFFCAB789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F5BDCC74-B674-C5BA-FBED-1CF0D1DDFA24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B567000B-42BC-3A62-2F79-C969CA67CCC0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21BF3CF3-59E2-9EDC-95A5-C5C0E82AF375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E3444C66-C71E-7121-5245-D3F55480D9C5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BECC3122-7C06-A4C5-4AEE-BCB1123A8EC5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916E950D-544F-954A-25FA-965041078355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3F3689A9-ECC6-BEA9-8C56-3F4AE5641B06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1F261E37-6CFD-B379-FE0F-9DE5E6A32507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9DF4F7D4-46C2-3AAC-84AC-B4A2B8BC07E4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62E4D224-C427-594B-3C41-8ADEB1B79C4B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ABC0A353-7B52-65A7-487B-197F4DDF4D66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4" name="Rechteck 563">
              <a:extLst>
                <a:ext uri="{FF2B5EF4-FFF2-40B4-BE49-F238E27FC236}">
                  <a16:creationId xmlns:a16="http://schemas.microsoft.com/office/drawing/2014/main" id="{0B33098C-74AA-6669-1095-93A0692ECA3A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5" name="Rechteck 564">
              <a:extLst>
                <a:ext uri="{FF2B5EF4-FFF2-40B4-BE49-F238E27FC236}">
                  <a16:creationId xmlns:a16="http://schemas.microsoft.com/office/drawing/2014/main" id="{C1C177BE-A912-7646-295F-BC20B542549A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6" name="Rechteck 565">
              <a:extLst>
                <a:ext uri="{FF2B5EF4-FFF2-40B4-BE49-F238E27FC236}">
                  <a16:creationId xmlns:a16="http://schemas.microsoft.com/office/drawing/2014/main" id="{567A6D81-B4B5-307C-6046-83D82779AF0B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7" name="Rechteck 566">
              <a:extLst>
                <a:ext uri="{FF2B5EF4-FFF2-40B4-BE49-F238E27FC236}">
                  <a16:creationId xmlns:a16="http://schemas.microsoft.com/office/drawing/2014/main" id="{E93460D0-1385-899A-997D-A1D9889E536A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8" name="Rechteck 567">
              <a:extLst>
                <a:ext uri="{FF2B5EF4-FFF2-40B4-BE49-F238E27FC236}">
                  <a16:creationId xmlns:a16="http://schemas.microsoft.com/office/drawing/2014/main" id="{3EB096D2-0882-3AEE-3811-89AA83E466D4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9" name="Rechteck 568">
              <a:extLst>
                <a:ext uri="{FF2B5EF4-FFF2-40B4-BE49-F238E27FC236}">
                  <a16:creationId xmlns:a16="http://schemas.microsoft.com/office/drawing/2014/main" id="{868B00AD-CD99-F226-CE6D-45CC97254F45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0" name="Rechteck 569">
              <a:extLst>
                <a:ext uri="{FF2B5EF4-FFF2-40B4-BE49-F238E27FC236}">
                  <a16:creationId xmlns:a16="http://schemas.microsoft.com/office/drawing/2014/main" id="{7ECF9835-7D04-183F-7C02-66AB0C866546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1" name="Rechteck 570">
              <a:extLst>
                <a:ext uri="{FF2B5EF4-FFF2-40B4-BE49-F238E27FC236}">
                  <a16:creationId xmlns:a16="http://schemas.microsoft.com/office/drawing/2014/main" id="{3A291C9A-F4FA-48F1-0017-781A47BCDBC7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2" name="Rechteck 571">
              <a:extLst>
                <a:ext uri="{FF2B5EF4-FFF2-40B4-BE49-F238E27FC236}">
                  <a16:creationId xmlns:a16="http://schemas.microsoft.com/office/drawing/2014/main" id="{D5CF69DC-5684-3702-EDB9-9A099E84303A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3" name="Rechteck 572">
              <a:extLst>
                <a:ext uri="{FF2B5EF4-FFF2-40B4-BE49-F238E27FC236}">
                  <a16:creationId xmlns:a16="http://schemas.microsoft.com/office/drawing/2014/main" id="{4CF986C5-26C5-90C9-8AC8-04FEAF7422D6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4" name="Rechteck 573">
              <a:extLst>
                <a:ext uri="{FF2B5EF4-FFF2-40B4-BE49-F238E27FC236}">
                  <a16:creationId xmlns:a16="http://schemas.microsoft.com/office/drawing/2014/main" id="{995410C9-2FD3-6D9E-0655-421D77D9106F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5" name="Rechteck 574">
              <a:extLst>
                <a:ext uri="{FF2B5EF4-FFF2-40B4-BE49-F238E27FC236}">
                  <a16:creationId xmlns:a16="http://schemas.microsoft.com/office/drawing/2014/main" id="{E3B63BF4-E386-B4D1-11F0-4460A6DBD313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92B5BB44-599E-1820-0874-FD849B4765C3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77C7F63E-06AC-3561-A846-15FAEF98ED4D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B92B0075-8E06-A854-698C-87CC16850743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AEAD1CCF-6F81-9394-F077-DCA9529FA574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3EC03D2B-2E4F-EAC5-28FE-051A7D33BF1C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718FD3E8-734D-A6DE-6358-2631F6D96F61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D81CD1ED-8A80-E07D-CB56-AE8D986CEDEC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183E1B49-E02B-450A-E82D-67A3FF9A4CAF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CD75869B-E82A-FBA0-2A35-7476E7391696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FDD68E21-8B38-7DC3-5E88-CA0921A1174B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E8A84E0C-5F8B-5968-23B9-59BF78A40D3E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225E36F0-B6DB-54C0-FFC5-339A86823B79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454BA5A7-FEE8-B04B-9023-F444D4F41001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28B9FB3F-ECF4-4B48-72F0-3644C5A15E2F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B2D76E5D-379E-C839-4560-B699025FA0D9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CD8105AC-B8E9-E083-251D-4E238A76F7EF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276EF862-32FC-8D39-8FD3-5575FF58B902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00DA3A0D-C9A5-9353-ACC4-F8A04AC64E4D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D0F78C27-1E77-E665-214A-EA6CA2318112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318E87FC-361A-00FD-660A-F2E6E93FF733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5632040A-1966-9778-1382-96CCB69CF9FE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137BB74D-E27C-67FB-89C7-7FF6D4A8009C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2D49A1B5-5AA1-626F-8BC6-D67227B9F176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848E1D30-EAE0-4A75-18A1-C020AD8AD4B7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3008FE3B-D4CD-0C69-499C-F80EA4B4C02A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5F5FCD09-F6C2-F815-06EC-988A7EF99660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2682A351-FD73-4578-B1FF-845E812FBFEC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DCCB3332-62D6-4AF5-C3B8-5EB6F7C407E4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9F18DB17-1AAA-A664-53E7-F547361B2B58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83F0E65E-135B-381D-F36F-FFEF7FD36C95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DBF80D94-82BF-24FB-7304-8DF9971EC833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69B8BAA7-1026-0A56-1BD8-4F4FA1503512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104853B4-4FFC-F133-A77F-2B86250FAA84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000B022B-67F5-5E88-5777-6AD66044BAEB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759D8017-D47B-F1EB-EA4D-35EAD0139CEC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E432E94E-C6F6-E61C-0C73-2144AD046CB5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E4654125-CF94-EC44-4EB4-98B16344447C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652993AA-BE27-C0B4-BC7C-3AE67E380F36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5DF0347C-8352-E63A-C1C6-41324B334F80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35D7F798-2F80-19B5-0995-8C5339152311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8C5A98D1-6CC2-3D2F-3364-682D0145FA5B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BEC11D28-C77B-B87C-CBBC-38C961A1CCB3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1529F4D0-FCC5-DF53-0214-53F8CF784A72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D0FD3094-3DD9-E0F6-97E9-52EA2464D7B0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9437DE43-D8EE-F886-6007-B01200A1BA85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ECD4BBED-6F46-D8C4-F7AE-B85CE499E05D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07A048A6-A01A-DF1E-8CCB-C75A81EB5D30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B1D4612B-91F9-EC08-1C29-2A0C8386E101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8D69A45C-982D-3A9A-DC89-4F575DAC93EB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B2AD10BC-D3BF-C58E-84E5-C9FC52B8692D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5543ADAB-0429-239E-8432-E4C5DAF49BD1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CC92CF27-C0C9-6538-F135-48160A8C9E9D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9BCF10C7-98B2-784B-9AB8-498EB12716BF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7BE98BE7-A067-1FFC-07CC-A4C2A606157C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297682BB-7694-0E7A-CB88-635590A947A6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270330D3-20D6-9991-526A-2CD0AE18E685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A5AD067D-FF85-6BC4-ABA3-A8F5661D2507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9DE3537C-312C-1479-BF39-22CD8630DA1F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6716AFD5-0E30-4769-DAF8-EFB793B2B9D7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DB4CE5DC-2BA1-B4F0-BFA9-647FC8615F0A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64FF3417-C9A5-17E5-E142-DA5B3BDA63A6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03F37F32-D8A4-3B54-9BE6-EEE43F50269A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A3ADFECB-92F7-08F5-5415-93A621ECDD7D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6" name="Rechteck 575">
              <a:extLst>
                <a:ext uri="{FF2B5EF4-FFF2-40B4-BE49-F238E27FC236}">
                  <a16:creationId xmlns:a16="http://schemas.microsoft.com/office/drawing/2014/main" id="{0493EED7-80C2-EE0A-797A-9D80652767C9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7" name="Rechteck 576">
              <a:extLst>
                <a:ext uri="{FF2B5EF4-FFF2-40B4-BE49-F238E27FC236}">
                  <a16:creationId xmlns:a16="http://schemas.microsoft.com/office/drawing/2014/main" id="{270E6328-6583-3642-10F4-9037F4EB9C26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8" name="Rechteck 577">
              <a:extLst>
                <a:ext uri="{FF2B5EF4-FFF2-40B4-BE49-F238E27FC236}">
                  <a16:creationId xmlns:a16="http://schemas.microsoft.com/office/drawing/2014/main" id="{09E9DD56-C302-2224-7D8E-A79E9DCD4A88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9" name="Rechteck 578">
              <a:extLst>
                <a:ext uri="{FF2B5EF4-FFF2-40B4-BE49-F238E27FC236}">
                  <a16:creationId xmlns:a16="http://schemas.microsoft.com/office/drawing/2014/main" id="{5FC60BBA-84AB-EF8A-EF6D-CA5B3C3C03F0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0" name="Rechteck 579">
              <a:extLst>
                <a:ext uri="{FF2B5EF4-FFF2-40B4-BE49-F238E27FC236}">
                  <a16:creationId xmlns:a16="http://schemas.microsoft.com/office/drawing/2014/main" id="{547276C4-F5E7-D492-A942-B82E0660CAC6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1" name="Rechteck 580">
              <a:extLst>
                <a:ext uri="{FF2B5EF4-FFF2-40B4-BE49-F238E27FC236}">
                  <a16:creationId xmlns:a16="http://schemas.microsoft.com/office/drawing/2014/main" id="{8FF1897C-739B-54FE-5A5C-CE0E884014E4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2" name="Rechteck 581">
              <a:extLst>
                <a:ext uri="{FF2B5EF4-FFF2-40B4-BE49-F238E27FC236}">
                  <a16:creationId xmlns:a16="http://schemas.microsoft.com/office/drawing/2014/main" id="{0748AC45-011A-CC4E-06DC-7CB21A7518D3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3" name="Rechteck 582">
              <a:extLst>
                <a:ext uri="{FF2B5EF4-FFF2-40B4-BE49-F238E27FC236}">
                  <a16:creationId xmlns:a16="http://schemas.microsoft.com/office/drawing/2014/main" id="{9A5E4375-45D2-54EB-7093-2E51B2C0C1E4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4" name="Rechteck 583">
              <a:extLst>
                <a:ext uri="{FF2B5EF4-FFF2-40B4-BE49-F238E27FC236}">
                  <a16:creationId xmlns:a16="http://schemas.microsoft.com/office/drawing/2014/main" id="{AC7F1EC2-76AA-82A3-8C9F-9EAF309BE341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5" name="Rechteck 584">
              <a:extLst>
                <a:ext uri="{FF2B5EF4-FFF2-40B4-BE49-F238E27FC236}">
                  <a16:creationId xmlns:a16="http://schemas.microsoft.com/office/drawing/2014/main" id="{1DB1FABC-4F63-7E4D-DF3C-0E4BE39D8C02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6" name="Rechteck 585">
              <a:extLst>
                <a:ext uri="{FF2B5EF4-FFF2-40B4-BE49-F238E27FC236}">
                  <a16:creationId xmlns:a16="http://schemas.microsoft.com/office/drawing/2014/main" id="{7F1FABDA-AE68-94FB-1D58-D8426BEC6990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7" name="Rechteck 586">
              <a:extLst>
                <a:ext uri="{FF2B5EF4-FFF2-40B4-BE49-F238E27FC236}">
                  <a16:creationId xmlns:a16="http://schemas.microsoft.com/office/drawing/2014/main" id="{961CC3A3-1F36-497D-DB34-5327103C7A6A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8" name="Rechteck 587">
              <a:extLst>
                <a:ext uri="{FF2B5EF4-FFF2-40B4-BE49-F238E27FC236}">
                  <a16:creationId xmlns:a16="http://schemas.microsoft.com/office/drawing/2014/main" id="{FE87B857-C6E6-D221-C54E-B4B59DAC5AF4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9" name="Rechteck 588">
              <a:extLst>
                <a:ext uri="{FF2B5EF4-FFF2-40B4-BE49-F238E27FC236}">
                  <a16:creationId xmlns:a16="http://schemas.microsoft.com/office/drawing/2014/main" id="{F722B687-24CF-FE17-883F-C06ADCDAB789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0" name="Rechteck 589">
              <a:extLst>
                <a:ext uri="{FF2B5EF4-FFF2-40B4-BE49-F238E27FC236}">
                  <a16:creationId xmlns:a16="http://schemas.microsoft.com/office/drawing/2014/main" id="{B7A53A8A-9BF6-8693-41C5-80DE25302F66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1" name="Rechteck 590">
              <a:extLst>
                <a:ext uri="{FF2B5EF4-FFF2-40B4-BE49-F238E27FC236}">
                  <a16:creationId xmlns:a16="http://schemas.microsoft.com/office/drawing/2014/main" id="{2D4523F9-5A5A-8066-CCE8-87444C675937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2" name="Rechteck 591">
              <a:extLst>
                <a:ext uri="{FF2B5EF4-FFF2-40B4-BE49-F238E27FC236}">
                  <a16:creationId xmlns:a16="http://schemas.microsoft.com/office/drawing/2014/main" id="{76BD2D76-E2A4-0564-2E17-3B9DF312CFD1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3" name="Rechteck 592">
              <a:extLst>
                <a:ext uri="{FF2B5EF4-FFF2-40B4-BE49-F238E27FC236}">
                  <a16:creationId xmlns:a16="http://schemas.microsoft.com/office/drawing/2014/main" id="{3A9BE26E-F497-106D-5679-AE73FFDCFD9B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4" name="Rechteck 593">
              <a:extLst>
                <a:ext uri="{FF2B5EF4-FFF2-40B4-BE49-F238E27FC236}">
                  <a16:creationId xmlns:a16="http://schemas.microsoft.com/office/drawing/2014/main" id="{4D123C55-E060-419A-ED35-DA7F3B58F070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5" name="Rechteck 594">
              <a:extLst>
                <a:ext uri="{FF2B5EF4-FFF2-40B4-BE49-F238E27FC236}">
                  <a16:creationId xmlns:a16="http://schemas.microsoft.com/office/drawing/2014/main" id="{3165E23D-A53D-9670-72A4-89EADAEB10E1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6" name="Rechteck 595">
              <a:extLst>
                <a:ext uri="{FF2B5EF4-FFF2-40B4-BE49-F238E27FC236}">
                  <a16:creationId xmlns:a16="http://schemas.microsoft.com/office/drawing/2014/main" id="{B740C2F1-B965-EE14-CE0D-DC2F3FE79C5E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7" name="Rechteck 596">
              <a:extLst>
                <a:ext uri="{FF2B5EF4-FFF2-40B4-BE49-F238E27FC236}">
                  <a16:creationId xmlns:a16="http://schemas.microsoft.com/office/drawing/2014/main" id="{31AEB0D3-F1EE-4F7A-D5B2-347B4B896CDA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8" name="Rechteck 597">
              <a:extLst>
                <a:ext uri="{FF2B5EF4-FFF2-40B4-BE49-F238E27FC236}">
                  <a16:creationId xmlns:a16="http://schemas.microsoft.com/office/drawing/2014/main" id="{BF634597-85C1-65AB-B15C-9DACC720BA97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9" name="Rechteck 598">
              <a:extLst>
                <a:ext uri="{FF2B5EF4-FFF2-40B4-BE49-F238E27FC236}">
                  <a16:creationId xmlns:a16="http://schemas.microsoft.com/office/drawing/2014/main" id="{789CDCCC-6A53-E3DD-B3A0-236E57267013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0" name="Rechteck 599">
              <a:extLst>
                <a:ext uri="{FF2B5EF4-FFF2-40B4-BE49-F238E27FC236}">
                  <a16:creationId xmlns:a16="http://schemas.microsoft.com/office/drawing/2014/main" id="{92CC0FD3-CFE2-DC37-0106-89B4A97AD4EF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1" name="Rechteck 600">
              <a:extLst>
                <a:ext uri="{FF2B5EF4-FFF2-40B4-BE49-F238E27FC236}">
                  <a16:creationId xmlns:a16="http://schemas.microsoft.com/office/drawing/2014/main" id="{A30C9A27-698E-5778-2B6C-58EBC64C12A7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2" name="Rechteck 601">
              <a:extLst>
                <a:ext uri="{FF2B5EF4-FFF2-40B4-BE49-F238E27FC236}">
                  <a16:creationId xmlns:a16="http://schemas.microsoft.com/office/drawing/2014/main" id="{C186F3A5-99C6-5008-C827-64C43A4E2609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3" name="Rechteck 602">
              <a:extLst>
                <a:ext uri="{FF2B5EF4-FFF2-40B4-BE49-F238E27FC236}">
                  <a16:creationId xmlns:a16="http://schemas.microsoft.com/office/drawing/2014/main" id="{B18F487E-1689-E0BE-824C-921E56959B63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4" name="Rechteck 603">
              <a:extLst>
                <a:ext uri="{FF2B5EF4-FFF2-40B4-BE49-F238E27FC236}">
                  <a16:creationId xmlns:a16="http://schemas.microsoft.com/office/drawing/2014/main" id="{742529C8-EC56-DC01-1108-368703EA2E76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5" name="Rechteck 604">
              <a:extLst>
                <a:ext uri="{FF2B5EF4-FFF2-40B4-BE49-F238E27FC236}">
                  <a16:creationId xmlns:a16="http://schemas.microsoft.com/office/drawing/2014/main" id="{0D9200F6-18C5-D570-AEF8-DB7F1963B5AB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6" name="Rechteck 605">
              <a:extLst>
                <a:ext uri="{FF2B5EF4-FFF2-40B4-BE49-F238E27FC236}">
                  <a16:creationId xmlns:a16="http://schemas.microsoft.com/office/drawing/2014/main" id="{B55AA2F9-AA6F-5033-F391-2B3D28B0CF55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7" name="Rechteck 606">
              <a:extLst>
                <a:ext uri="{FF2B5EF4-FFF2-40B4-BE49-F238E27FC236}">
                  <a16:creationId xmlns:a16="http://schemas.microsoft.com/office/drawing/2014/main" id="{363B0E16-9173-9034-246B-DE80889557FF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8" name="Rechteck 607">
              <a:extLst>
                <a:ext uri="{FF2B5EF4-FFF2-40B4-BE49-F238E27FC236}">
                  <a16:creationId xmlns:a16="http://schemas.microsoft.com/office/drawing/2014/main" id="{0FEFF884-4C20-94CE-7893-DBC49AA4BC81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9" name="Rechteck 608">
              <a:extLst>
                <a:ext uri="{FF2B5EF4-FFF2-40B4-BE49-F238E27FC236}">
                  <a16:creationId xmlns:a16="http://schemas.microsoft.com/office/drawing/2014/main" id="{58265B26-5F54-C32E-E363-57EA9D5310D6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0" name="Rechteck 609">
              <a:extLst>
                <a:ext uri="{FF2B5EF4-FFF2-40B4-BE49-F238E27FC236}">
                  <a16:creationId xmlns:a16="http://schemas.microsoft.com/office/drawing/2014/main" id="{4C4F373B-758B-8725-0EA2-DC447717D967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1" name="Rechteck 610">
              <a:extLst>
                <a:ext uri="{FF2B5EF4-FFF2-40B4-BE49-F238E27FC236}">
                  <a16:creationId xmlns:a16="http://schemas.microsoft.com/office/drawing/2014/main" id="{FC20E50B-5A01-077E-917C-F1485352AE70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2" name="Rechteck 611">
              <a:extLst>
                <a:ext uri="{FF2B5EF4-FFF2-40B4-BE49-F238E27FC236}">
                  <a16:creationId xmlns:a16="http://schemas.microsoft.com/office/drawing/2014/main" id="{1D1C9FF4-DB2F-7139-C0C5-99CD15BD7330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3" name="Rechteck 612">
              <a:extLst>
                <a:ext uri="{FF2B5EF4-FFF2-40B4-BE49-F238E27FC236}">
                  <a16:creationId xmlns:a16="http://schemas.microsoft.com/office/drawing/2014/main" id="{34678FDC-423E-5F8C-AAA3-C8616E0CA332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4" name="Rechteck 613">
              <a:extLst>
                <a:ext uri="{FF2B5EF4-FFF2-40B4-BE49-F238E27FC236}">
                  <a16:creationId xmlns:a16="http://schemas.microsoft.com/office/drawing/2014/main" id="{F2777E8A-EC2D-6BB9-A19E-BB007E20D338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5" name="Rechteck 614">
              <a:extLst>
                <a:ext uri="{FF2B5EF4-FFF2-40B4-BE49-F238E27FC236}">
                  <a16:creationId xmlns:a16="http://schemas.microsoft.com/office/drawing/2014/main" id="{859929B4-C150-568E-F53E-2096D4C0DC1E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6" name="Rechteck 615">
              <a:extLst>
                <a:ext uri="{FF2B5EF4-FFF2-40B4-BE49-F238E27FC236}">
                  <a16:creationId xmlns:a16="http://schemas.microsoft.com/office/drawing/2014/main" id="{F27D17A5-24EF-EC2E-D97B-80A4101A1625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7" name="Rechteck 616">
              <a:extLst>
                <a:ext uri="{FF2B5EF4-FFF2-40B4-BE49-F238E27FC236}">
                  <a16:creationId xmlns:a16="http://schemas.microsoft.com/office/drawing/2014/main" id="{696813D4-C685-E45F-7A10-BDE8FB745BC1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8" name="Rechteck 617">
              <a:extLst>
                <a:ext uri="{FF2B5EF4-FFF2-40B4-BE49-F238E27FC236}">
                  <a16:creationId xmlns:a16="http://schemas.microsoft.com/office/drawing/2014/main" id="{4D3D74D8-763E-4923-6583-57AD43823E20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9" name="Rechteck 618">
              <a:extLst>
                <a:ext uri="{FF2B5EF4-FFF2-40B4-BE49-F238E27FC236}">
                  <a16:creationId xmlns:a16="http://schemas.microsoft.com/office/drawing/2014/main" id="{FFC53670-AE1E-518F-06EF-2093F8032F38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0" name="Rechteck 619">
              <a:extLst>
                <a:ext uri="{FF2B5EF4-FFF2-40B4-BE49-F238E27FC236}">
                  <a16:creationId xmlns:a16="http://schemas.microsoft.com/office/drawing/2014/main" id="{74BDA6A8-FE96-DC07-71E1-CFC4B1EE4E8F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1" name="Rechteck 620">
              <a:extLst>
                <a:ext uri="{FF2B5EF4-FFF2-40B4-BE49-F238E27FC236}">
                  <a16:creationId xmlns:a16="http://schemas.microsoft.com/office/drawing/2014/main" id="{B1F23152-E75D-9183-ABD9-8B2442C6BF8E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2" name="Rechteck 621">
              <a:extLst>
                <a:ext uri="{FF2B5EF4-FFF2-40B4-BE49-F238E27FC236}">
                  <a16:creationId xmlns:a16="http://schemas.microsoft.com/office/drawing/2014/main" id="{EF07A7A0-BF14-7E38-DF82-FA07C6A90320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3" name="Rechteck 622">
              <a:extLst>
                <a:ext uri="{FF2B5EF4-FFF2-40B4-BE49-F238E27FC236}">
                  <a16:creationId xmlns:a16="http://schemas.microsoft.com/office/drawing/2014/main" id="{33699468-7885-9876-CC8D-B459BEE66388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4" name="Rechteck 623">
              <a:extLst>
                <a:ext uri="{FF2B5EF4-FFF2-40B4-BE49-F238E27FC236}">
                  <a16:creationId xmlns:a16="http://schemas.microsoft.com/office/drawing/2014/main" id="{49351347-DF55-ACC4-2C5B-004964FF1C92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5" name="Rechteck 624">
              <a:extLst>
                <a:ext uri="{FF2B5EF4-FFF2-40B4-BE49-F238E27FC236}">
                  <a16:creationId xmlns:a16="http://schemas.microsoft.com/office/drawing/2014/main" id="{39586287-211B-56F4-244E-6E819802A70D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6" name="Rechteck 625">
              <a:extLst>
                <a:ext uri="{FF2B5EF4-FFF2-40B4-BE49-F238E27FC236}">
                  <a16:creationId xmlns:a16="http://schemas.microsoft.com/office/drawing/2014/main" id="{3289D04D-760C-90B2-8041-52152CF3FA0C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7" name="Rechteck 626">
              <a:extLst>
                <a:ext uri="{FF2B5EF4-FFF2-40B4-BE49-F238E27FC236}">
                  <a16:creationId xmlns:a16="http://schemas.microsoft.com/office/drawing/2014/main" id="{38D2222F-40F6-9EF6-ED08-1C6FECC8FB62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8" name="Rechteck 627">
              <a:extLst>
                <a:ext uri="{FF2B5EF4-FFF2-40B4-BE49-F238E27FC236}">
                  <a16:creationId xmlns:a16="http://schemas.microsoft.com/office/drawing/2014/main" id="{E5F5E681-45CF-6BDD-3672-E15D762A74C7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9" name="Rechteck 628">
              <a:extLst>
                <a:ext uri="{FF2B5EF4-FFF2-40B4-BE49-F238E27FC236}">
                  <a16:creationId xmlns:a16="http://schemas.microsoft.com/office/drawing/2014/main" id="{7159C3C7-4C63-7089-0793-510DE17FDF5D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0" name="Rechteck 629">
              <a:extLst>
                <a:ext uri="{FF2B5EF4-FFF2-40B4-BE49-F238E27FC236}">
                  <a16:creationId xmlns:a16="http://schemas.microsoft.com/office/drawing/2014/main" id="{B4C11A94-8451-522A-557B-9044D40B4CB7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1" name="Rechteck 630">
              <a:extLst>
                <a:ext uri="{FF2B5EF4-FFF2-40B4-BE49-F238E27FC236}">
                  <a16:creationId xmlns:a16="http://schemas.microsoft.com/office/drawing/2014/main" id="{40CE59E4-0BB1-BB0B-F175-809C087F311C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2" name="Rechteck 631">
              <a:extLst>
                <a:ext uri="{FF2B5EF4-FFF2-40B4-BE49-F238E27FC236}">
                  <a16:creationId xmlns:a16="http://schemas.microsoft.com/office/drawing/2014/main" id="{FA9A8946-07D9-3FB3-5941-F2157150C0F1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3" name="Rechteck 632">
              <a:extLst>
                <a:ext uri="{FF2B5EF4-FFF2-40B4-BE49-F238E27FC236}">
                  <a16:creationId xmlns:a16="http://schemas.microsoft.com/office/drawing/2014/main" id="{F440D5DF-921D-37B5-330D-9FF5D532CA27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4" name="Rechteck 633">
              <a:extLst>
                <a:ext uri="{FF2B5EF4-FFF2-40B4-BE49-F238E27FC236}">
                  <a16:creationId xmlns:a16="http://schemas.microsoft.com/office/drawing/2014/main" id="{663BECD6-845B-1EC0-CFEA-4B3903CD4CA7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5" name="Rechteck 634">
              <a:extLst>
                <a:ext uri="{FF2B5EF4-FFF2-40B4-BE49-F238E27FC236}">
                  <a16:creationId xmlns:a16="http://schemas.microsoft.com/office/drawing/2014/main" id="{D985EF9B-10C8-4A6D-4871-B4FB38A075FB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grpSp>
        <p:nvGrpSpPr>
          <p:cNvPr id="639" name="Gruppieren 638">
            <a:extLst>
              <a:ext uri="{FF2B5EF4-FFF2-40B4-BE49-F238E27FC236}">
                <a16:creationId xmlns:a16="http://schemas.microsoft.com/office/drawing/2014/main" id="{448883B4-6EB9-6153-C347-5FF842423D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1" y="2082829"/>
            <a:ext cx="2448000" cy="0"/>
            <a:chOff x="983432" y="2082829"/>
            <a:chExt cx="2448000" cy="0"/>
          </a:xfrm>
        </p:grpSpPr>
        <p:cxnSp>
          <p:nvCxnSpPr>
            <p:cNvPr id="640" name="Line">
              <a:extLst>
                <a:ext uri="{FF2B5EF4-FFF2-40B4-BE49-F238E27FC236}">
                  <a16:creationId xmlns:a16="http://schemas.microsoft.com/office/drawing/2014/main" id="{80C47B7A-9FFF-E484-BA99-E7C608702F7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1" name="Line">
              <a:extLst>
                <a:ext uri="{FF2B5EF4-FFF2-40B4-BE49-F238E27FC236}">
                  <a16:creationId xmlns:a16="http://schemas.microsoft.com/office/drawing/2014/main" id="{BB3BE27D-D82E-3806-B744-D01744CDEB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2" name="Shape">
            <a:extLst>
              <a:ext uri="{FF2B5EF4-FFF2-40B4-BE49-F238E27FC236}">
                <a16:creationId xmlns:a16="http://schemas.microsoft.com/office/drawing/2014/main" id="{CC7B5139-AB22-C493-BB7D-14AA8E63BE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0848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43" name="Shape">
            <a:extLst>
              <a:ext uri="{FF2B5EF4-FFF2-40B4-BE49-F238E27FC236}">
                <a16:creationId xmlns:a16="http://schemas.microsoft.com/office/drawing/2014/main" id="{509C269E-7894-2AF2-2038-AEB785627C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9" y="2061400"/>
            <a:ext cx="5760640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44" name="Title">
            <a:extLst>
              <a:ext uri="{FF2B5EF4-FFF2-40B4-BE49-F238E27FC236}">
                <a16:creationId xmlns:a16="http://schemas.microsoft.com/office/drawing/2014/main" id="{9BE76A87-4866-1634-EDB4-D7ED75A7B7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656384" y="2205159"/>
            <a:ext cx="4896000" cy="1368000"/>
          </a:xfrm>
          <a:prstGeom prst="rect">
            <a:avLst/>
          </a:prstGeom>
        </p:spPr>
        <p:txBody>
          <a:bodyPr tIns="54000" anchor="t">
            <a:noAutofit/>
          </a:bodyPr>
          <a:lstStyle>
            <a:lvl1pPr algn="l">
              <a:lnSpc>
                <a:spcPct val="90000"/>
              </a:lnSpc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Insert your long title of presentation here in maximal three lines</a:t>
            </a:r>
          </a:p>
        </p:txBody>
      </p:sp>
      <p:sp>
        <p:nvSpPr>
          <p:cNvPr id="645" name="Subtitle 2">
            <a:extLst>
              <a:ext uri="{FF2B5EF4-FFF2-40B4-BE49-F238E27FC236}">
                <a16:creationId xmlns:a16="http://schemas.microsoft.com/office/drawing/2014/main" id="{60639D1C-28F1-9D1E-9631-2D2D7AB8677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656384" y="3789160"/>
            <a:ext cx="432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637" name="Author">
            <a:extLst>
              <a:ext uri="{FF2B5EF4-FFF2-40B4-BE49-F238E27FC236}">
                <a16:creationId xmlns:a16="http://schemas.microsoft.com/office/drawing/2014/main" id="{3FC225AA-14A0-62CC-D76E-FE9D4A7A85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400" y="2348992"/>
            <a:ext cx="2520280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GB"/>
              <a:t>First name Last name</a:t>
            </a:r>
          </a:p>
        </p:txBody>
      </p:sp>
      <p:sp>
        <p:nvSpPr>
          <p:cNvPr id="638" name="Department, Date">
            <a:extLst>
              <a:ext uri="{FF2B5EF4-FFF2-40B4-BE49-F238E27FC236}">
                <a16:creationId xmlns:a16="http://schemas.microsoft.com/office/drawing/2014/main" id="{293DA392-91D8-BFDD-FA7D-72EA5EAE1C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2564992"/>
            <a:ext cx="2520280" cy="792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GB"/>
              <a:t>Department</a:t>
            </a:r>
            <a:br>
              <a:rPr lang="en-GB"/>
            </a:br>
            <a:r>
              <a:rPr lang="en-GB"/>
              <a:t>DD/MM/YYYY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E3FD2C9E-ACE7-0F4C-831A-FCF8A9325A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28448" y="335757"/>
            <a:ext cx="1365736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96708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456C613C-8B12-41CF-B6EE-ED0A598357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C39EBC16-06C0-C9BF-3775-6257BE716204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5360" y="1484784"/>
            <a:ext cx="5184378" cy="2016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 hasCustomPrompt="1"/>
          </p:nvPr>
        </p:nvSpPr>
        <p:spPr bwMode="gray">
          <a:xfrm>
            <a:off x="6095999" y="1484785"/>
            <a:ext cx="5184775" cy="2016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335360" y="4077073"/>
            <a:ext cx="5184378" cy="2016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095999" y="4077072"/>
            <a:ext cx="5184775" cy="2016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Source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487488" y="6525000"/>
            <a:ext cx="9144512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9662A98-E78E-B372-BD2D-55903C8F02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4D7FC280-0221-437B-99A8-8CFF95B8BFF9}" type="datetime1">
              <a:rPr lang="en-GB" smtClean="0"/>
              <a:t>12/02/2026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20C0625-3AC3-CF81-145A-854DCB935E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82B4419-65DF-2B9C-E379-BD3D2DA807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8173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2" pos="211">
          <p15:clr>
            <a:srgbClr val="FBAE40"/>
          </p15:clr>
        </p15:guide>
        <p15:guide id="3" pos="3840">
          <p15:clr>
            <a:srgbClr val="FBAE40"/>
          </p15:clr>
        </p15:guide>
        <p15:guide id="4" pos="3477">
          <p15:clr>
            <a:srgbClr val="FBAE40"/>
          </p15:clr>
        </p15:guide>
        <p15:guide id="5" pos="7106">
          <p15:clr>
            <a:srgbClr val="FBAE40"/>
          </p15:clr>
        </p15:guide>
        <p15:guide id="6" orient="horz" pos="3838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harts and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F814CA5C-4F72-4D7A-9378-F25AAE1E19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446639C3-1ED9-85F5-C8DE-074963D1BDE1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3" name="Diagram"/>
          <p:cNvSpPr>
            <a:spLocks noGrp="1"/>
          </p:cNvSpPr>
          <p:nvPr>
            <p:ph idx="1" hasCustomPrompt="1"/>
          </p:nvPr>
        </p:nvSpPr>
        <p:spPr bwMode="gray">
          <a:xfrm>
            <a:off x="335360" y="2060848"/>
            <a:ext cx="11521678" cy="4032251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1000"/>
              </a:spcBef>
              <a:buNone/>
              <a:defRPr sz="1600" baseline="0"/>
            </a:lvl1pPr>
            <a:lvl2pPr marL="0" indent="0">
              <a:spcBef>
                <a:spcPts val="1000"/>
              </a:spcBef>
              <a:buNone/>
              <a:defRPr sz="2800"/>
            </a:lvl2pPr>
            <a:lvl3pPr marL="0" indent="0">
              <a:spcBef>
                <a:spcPts val="1000"/>
              </a:spcBef>
              <a:buNone/>
              <a:defRPr sz="2800"/>
            </a:lvl3pPr>
            <a:lvl4pPr>
              <a:spcBef>
                <a:spcPts val="1000"/>
              </a:spcBef>
              <a:buNone/>
              <a:defRPr sz="2800"/>
            </a:lvl4pPr>
            <a:lvl5pPr marL="0" indent="0">
              <a:spcBef>
                <a:spcPts val="1000"/>
              </a:spcBef>
              <a:buNone/>
              <a:defRPr sz="2800"/>
            </a:lvl5pPr>
          </a:lstStyle>
          <a:p>
            <a:pPr lvl="0"/>
            <a:r>
              <a:rPr lang="en-GB"/>
              <a:t>Use this layout for large charts and tables only. Please, do not use with text.</a:t>
            </a:r>
          </a:p>
        </p:txBody>
      </p:sp>
      <p:sp>
        <p:nvSpPr>
          <p:cNvPr id="9" name="Source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479BDE-F217-1606-121A-A2C6BD914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785109E2-4176-435D-855D-05853604F2BB}" type="datetime1">
              <a:rPr lang="en-GB" smtClean="0"/>
              <a:t>12/02/2026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189551-0F6F-E8BD-F9C9-6A15D13C0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42622DE-33D2-2BA8-3111-512A69FAFF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9876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69">
          <p15:clr>
            <a:srgbClr val="FBAE40"/>
          </p15:clr>
        </p15:guide>
        <p15:guide id="4" orient="horz" pos="1298">
          <p15:clr>
            <a:srgbClr val="FBAE40"/>
          </p15:clr>
        </p15:guide>
        <p15:guide id="5" orient="horz" pos="3838">
          <p15:clr>
            <a:srgbClr val="FBAE40"/>
          </p15:clr>
        </p15:guide>
        <p15:guide id="6" pos="21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2EA34D9C-A1E3-4B38-B976-FAFB7D8CCE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0A62B5BA-2EEF-E0A9-4BC5-30A5B752A08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4" name="Diagram"/>
          <p:cNvSpPr>
            <a:spLocks noGrp="1"/>
          </p:cNvSpPr>
          <p:nvPr>
            <p:ph type="chart" sz="quarter" idx="17" hasCustomPrompt="1"/>
          </p:nvPr>
        </p:nvSpPr>
        <p:spPr bwMode="gray">
          <a:xfrm>
            <a:off x="334963" y="2060574"/>
            <a:ext cx="8066087" cy="40327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Click to add chart</a:t>
            </a:r>
          </a:p>
        </p:txBody>
      </p:sp>
      <p:sp>
        <p:nvSpPr>
          <p:cNvPr id="16" name="Content">
            <a:extLst>
              <a:ext uri="{FF2B5EF4-FFF2-40B4-BE49-F238E27FC236}">
                <a16:creationId xmlns:a16="http://schemas.microsoft.com/office/drawing/2014/main" id="{70876C6A-FD31-474D-BB56-8DECA6A84BA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76320" y="2060848"/>
            <a:ext cx="2880320" cy="4032250"/>
          </a:xfrm>
        </p:spPr>
        <p:txBody>
          <a:bodyPr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6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9" y="6525000"/>
            <a:ext cx="9144000" cy="144000"/>
          </a:xfrm>
          <a:prstGeom prst="rect">
            <a:avLst/>
          </a:prstGeom>
          <a:noFill/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None/>
              <a:defRPr sz="900" b="0"/>
            </a:lvl1pPr>
            <a:lvl2pPr marL="0" indent="0">
              <a:spcBef>
                <a:spcPts val="0"/>
              </a:spcBef>
              <a:buNone/>
              <a:defRPr sz="900" b="0"/>
            </a:lvl2pPr>
            <a:lvl3pPr marL="0" indent="0">
              <a:spcBef>
                <a:spcPts val="0"/>
              </a:spcBef>
              <a:buNone/>
              <a:defRPr sz="900" b="0"/>
            </a:lvl3pPr>
            <a:lvl4pPr marL="0" indent="0">
              <a:spcBef>
                <a:spcPts val="0"/>
              </a:spcBef>
              <a:buNone/>
              <a:defRPr sz="900" b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7D307C5-EE03-0779-BFEF-56A6B769D8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4C31651-1DC7-44AA-9EC4-027FFB8360F6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4A7B9E-E8C1-359E-C3A0-1C8E8BA065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BDC71E9-3DB5-FCE0-6BD3-1C4C4AAF0E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78919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92">
          <p15:clr>
            <a:srgbClr val="FBAE40"/>
          </p15:clr>
        </p15:guide>
        <p15:guide id="2" pos="7469">
          <p15:clr>
            <a:srgbClr val="FBAE40"/>
          </p15:clr>
        </p15:guide>
        <p15:guide id="3" orient="horz" pos="1298">
          <p15:clr>
            <a:srgbClr val="FBAE40"/>
          </p15:clr>
        </p15:guide>
        <p15:guide id="4" orient="horz" pos="3838">
          <p15:clr>
            <a:srgbClr val="FBAE40"/>
          </p15:clr>
        </p15:guide>
        <p15:guide id="5" pos="4929">
          <p15:clr>
            <a:srgbClr val="FBAE40"/>
          </p15:clr>
        </p15:guide>
        <p15:guide id="6" pos="21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teboo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688D30AF-522D-4245-9284-58DA1A6605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CAE8C20D-BB63-92BE-C96C-53725E5FB955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18" name="Shape">
            <a:extLst>
              <a:ext uri="{FF2B5EF4-FFF2-40B4-BE49-F238E27FC236}">
                <a16:creationId xmlns:a16="http://schemas.microsoft.com/office/drawing/2014/main" id="{BD5F0027-250B-42F2-867F-9FED18931B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5088000" y="1916750"/>
            <a:ext cx="5976000" cy="3888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pic>
        <p:nvPicPr>
          <p:cNvPr id="10" name="Shape">
            <a:extLst>
              <a:ext uri="{FF2B5EF4-FFF2-40B4-BE49-F238E27FC236}">
                <a16:creationId xmlns:a16="http://schemas.microsoft.com/office/drawing/2014/main" id="{5A4FDBA1-5706-4639-9AF6-B0075997EF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936001" y="1844674"/>
            <a:ext cx="8256000" cy="43279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5360" y="2060848"/>
            <a:ext cx="3456384" cy="4032448"/>
          </a:xfrm>
          <a:prstGeom prst="rect">
            <a:avLst/>
          </a:prstGeom>
        </p:spPr>
        <p:txBody>
          <a:bodyPr anchor="t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200"/>
            </a:lvl5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75B90C02-6FB2-69C6-D072-E90145B78B6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143500" y="1955800"/>
            <a:ext cx="5842000" cy="3771900"/>
          </a:xfrm>
          <a:prstGeom prst="roundRect">
            <a:avLst>
              <a:gd name="adj" fmla="val 2189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1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122615C-9513-149B-3B45-34427170F1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DB88513F-2594-4F6F-BB8B-FBA2DB10F265}" type="datetime1">
              <a:rPr lang="en-GB" smtClean="0"/>
              <a:t>12/02/2026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BB78F0-6262-A1CD-04B6-57A492E5C3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34E15A0-F9D0-075D-A080-D8EED1F791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49360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F65E210A-EEA7-42E8-8FF8-1EF5E4DDE9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A9FFCAD9-833D-6C62-123D-358843C82731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5360" y="2060847"/>
            <a:ext cx="3456384" cy="4032449"/>
          </a:xfrm>
          <a:prstGeom prst="rect">
            <a:avLst/>
          </a:prstGeom>
        </p:spPr>
        <p:txBody>
          <a:bodyPr anchor="t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200"/>
            </a:lvl5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9C3A763B-E2E0-485C-B3D0-6D8C1B4FC2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5040664" y="1927860"/>
            <a:ext cx="6033780" cy="4008120"/>
          </a:xfrm>
          <a:prstGeom prst="roundRect">
            <a:avLst>
              <a:gd name="adj" fmla="val 512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pic>
        <p:nvPicPr>
          <p:cNvPr id="10" name="Shape">
            <a:extLst>
              <a:ext uri="{FF2B5EF4-FFF2-40B4-BE49-F238E27FC236}">
                <a16:creationId xmlns:a16="http://schemas.microsoft.com/office/drawing/2014/main" id="{A69542B0-BEFE-488C-BB9A-7FA4648D38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672664" y="1806037"/>
            <a:ext cx="8400000" cy="4575713"/>
          </a:xfrm>
          <a:prstGeom prst="rect">
            <a:avLst/>
          </a:prstGeom>
        </p:spPr>
      </p:pic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2DBAB34E-942D-A270-5D81-6FDC0D52802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081315" y="1962150"/>
            <a:ext cx="5935662" cy="3914774"/>
          </a:xfrm>
          <a:prstGeom prst="roundRect">
            <a:avLst>
              <a:gd name="adj" fmla="val 5313"/>
            </a:avLst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1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8" y="6525000"/>
            <a:ext cx="9144512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40CC73F-5665-9700-FCAF-843AFAF1FA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04F870-72DA-49EE-8D2A-A381787FE00E}" type="datetime1">
              <a:rPr lang="en-GB" smtClean="0"/>
              <a:t>12/02/2026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5803CE6-440C-770B-50B9-876CA14B74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D429126-2340-1DA9-9148-3A025A5EDE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54109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AA7BA5C5-D7C9-4AD6-8D12-B312C46B26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548A329-08DC-1A62-ED68-B168E6AFF67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93C2BED1-C288-4362-A0E0-C779978ACA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7863840" y="1379220"/>
            <a:ext cx="2164080" cy="4549140"/>
          </a:xfrm>
          <a:prstGeom prst="roundRect">
            <a:avLst>
              <a:gd name="adj" fmla="val 1314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5360" y="2060847"/>
            <a:ext cx="6336704" cy="4032449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pic>
        <p:nvPicPr>
          <p:cNvPr id="18" name="Shape">
            <a:extLst>
              <a:ext uri="{FF2B5EF4-FFF2-40B4-BE49-F238E27FC236}">
                <a16:creationId xmlns:a16="http://schemas.microsoft.com/office/drawing/2014/main" id="{7F09AB9E-D3D1-4BF0-9135-508497D860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392000" y="1341438"/>
            <a:ext cx="3096000" cy="4787820"/>
          </a:xfrm>
          <a:prstGeom prst="rect">
            <a:avLst/>
          </a:prstGeom>
        </p:spPr>
      </p:pic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E73C628E-8916-9F81-2393-DF6AF23BC89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7909560" y="1432560"/>
            <a:ext cx="2057400" cy="4450080"/>
          </a:xfrm>
          <a:prstGeom prst="roundRect">
            <a:avLst>
              <a:gd name="adj" fmla="val 12964"/>
            </a:avLst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2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F342084-8763-7CB2-C48E-577922A572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2FCE7B17-05A9-47B3-BA19-F6A32604F500}" type="datetime1">
              <a:rPr lang="en-GB" smtClean="0"/>
              <a:t>12/02/2026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30B3054-B34F-16AA-2CB1-C1061087E1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C1B9A6-3977-5939-01A3-CD2D975D24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1914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mart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AA7BA5C5-D7C9-4AD6-8D12-B312C46B26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3377423B-DA7A-9098-27EA-EFAEFF393980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93C2BED1-C288-4362-A0E0-C779978ACA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3327824" y="1379220"/>
            <a:ext cx="2164080" cy="4549140"/>
          </a:xfrm>
          <a:prstGeom prst="roundRect">
            <a:avLst>
              <a:gd name="adj" fmla="val 1314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pic>
        <p:nvPicPr>
          <p:cNvPr id="18" name="Shape">
            <a:extLst>
              <a:ext uri="{FF2B5EF4-FFF2-40B4-BE49-F238E27FC236}">
                <a16:creationId xmlns:a16="http://schemas.microsoft.com/office/drawing/2014/main" id="{7F09AB9E-D3D1-4BF0-9135-508497D860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855984" y="1341438"/>
            <a:ext cx="3096000" cy="4787820"/>
          </a:xfrm>
          <a:prstGeom prst="rect">
            <a:avLst/>
          </a:prstGeom>
        </p:spPr>
      </p:pic>
      <p:sp>
        <p:nvSpPr>
          <p:cNvPr id="13" name="Rechteck: abgerundete Ecken 19">
            <a:extLst>
              <a:ext uri="{FF2B5EF4-FFF2-40B4-BE49-F238E27FC236}">
                <a16:creationId xmlns:a16="http://schemas.microsoft.com/office/drawing/2014/main" id="{E9916D98-3C6E-F067-BDD5-1A4A849EF1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6711856" y="1379220"/>
            <a:ext cx="2164080" cy="4549140"/>
          </a:xfrm>
          <a:prstGeom prst="roundRect">
            <a:avLst>
              <a:gd name="adj" fmla="val 1314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pic>
        <p:nvPicPr>
          <p:cNvPr id="14" name="Shape">
            <a:extLst>
              <a:ext uri="{FF2B5EF4-FFF2-40B4-BE49-F238E27FC236}">
                <a16:creationId xmlns:a16="http://schemas.microsoft.com/office/drawing/2014/main" id="{7A9D731A-95B3-E07F-A903-A04AB7A419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240016" y="1341438"/>
            <a:ext cx="3096000" cy="4787820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EE61EFE-7948-B7E3-1B6D-06F4012902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0137A13D-C590-4B2B-8C73-51526376B91E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47F0D6-A5F3-F828-35B0-984A88ACE7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4A3E4BF-588B-BB9F-90D3-4527536C1C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181E81A8-4080-A097-4083-7DF221E5BAE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373544" y="1432560"/>
            <a:ext cx="2057400" cy="4450080"/>
          </a:xfrm>
          <a:prstGeom prst="roundRect">
            <a:avLst>
              <a:gd name="adj" fmla="val 12964"/>
            </a:avLst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364DE43C-8BE5-169D-9F07-4787DA11F2D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757576" y="1432560"/>
            <a:ext cx="2057400" cy="4450080"/>
          </a:xfrm>
          <a:prstGeom prst="roundRect">
            <a:avLst>
              <a:gd name="adj" fmla="val 12964"/>
            </a:avLst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2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</p:spTree>
    <p:extLst>
      <p:ext uri="{BB962C8B-B14F-4D97-AF65-F5344CB8AC3E}">
        <p14:creationId xmlns:p14="http://schemas.microsoft.com/office/powerpoint/2010/main" val="5380637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mart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AA7BA5C5-D7C9-4AD6-8D12-B312C46B26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8730BF4F-4A62-6DBC-1C82-32EE9A88D0D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93C2BED1-C288-4362-A0E0-C779978ACA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7936336" y="1379220"/>
            <a:ext cx="2164080" cy="4549140"/>
          </a:xfrm>
          <a:prstGeom prst="roundRect">
            <a:avLst>
              <a:gd name="adj" fmla="val 1314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pic>
        <p:nvPicPr>
          <p:cNvPr id="18" name="Shape">
            <a:extLst>
              <a:ext uri="{FF2B5EF4-FFF2-40B4-BE49-F238E27FC236}">
                <a16:creationId xmlns:a16="http://schemas.microsoft.com/office/drawing/2014/main" id="{7F09AB9E-D3D1-4BF0-9135-508497D860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464496" y="1341438"/>
            <a:ext cx="3096000" cy="4787820"/>
          </a:xfrm>
          <a:prstGeom prst="rect">
            <a:avLst/>
          </a:prstGeom>
        </p:spPr>
      </p:pic>
      <p:sp>
        <p:nvSpPr>
          <p:cNvPr id="13" name="Rechteck: abgerundete Ecken 19">
            <a:extLst>
              <a:ext uri="{FF2B5EF4-FFF2-40B4-BE49-F238E27FC236}">
                <a16:creationId xmlns:a16="http://schemas.microsoft.com/office/drawing/2014/main" id="{83B6B1DD-3BB2-05F1-F33D-74DC95727A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2103688" y="1379220"/>
            <a:ext cx="2164080" cy="4549140"/>
          </a:xfrm>
          <a:prstGeom prst="roundRect">
            <a:avLst>
              <a:gd name="adj" fmla="val 1314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pic>
        <p:nvPicPr>
          <p:cNvPr id="14" name="Shape">
            <a:extLst>
              <a:ext uri="{FF2B5EF4-FFF2-40B4-BE49-F238E27FC236}">
                <a16:creationId xmlns:a16="http://schemas.microsoft.com/office/drawing/2014/main" id="{880E8645-6288-AE19-6DBF-172F4C2CDE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631848" y="1341438"/>
            <a:ext cx="3096000" cy="4787820"/>
          </a:xfrm>
          <a:prstGeom prst="rect">
            <a:avLst/>
          </a:prstGeom>
        </p:spPr>
      </p:pic>
      <p:sp>
        <p:nvSpPr>
          <p:cNvPr id="16" name="Rechteck: abgerundete Ecken 19">
            <a:extLst>
              <a:ext uri="{FF2B5EF4-FFF2-40B4-BE49-F238E27FC236}">
                <a16:creationId xmlns:a16="http://schemas.microsoft.com/office/drawing/2014/main" id="{DB994C57-CEE0-8540-5583-CD8BBFB852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4983664" y="1379220"/>
            <a:ext cx="2164080" cy="4549140"/>
          </a:xfrm>
          <a:prstGeom prst="roundRect">
            <a:avLst>
              <a:gd name="adj" fmla="val 1314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pic>
        <p:nvPicPr>
          <p:cNvPr id="17" name="Shape">
            <a:extLst>
              <a:ext uri="{FF2B5EF4-FFF2-40B4-BE49-F238E27FC236}">
                <a16:creationId xmlns:a16="http://schemas.microsoft.com/office/drawing/2014/main" id="{29B3C5F7-8DA9-D126-B8E6-0E97A57FDE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511824" y="1341438"/>
            <a:ext cx="3096000" cy="4787820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93171A0-A001-0E72-7460-81AC7DA532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19F1B4E3-86CD-4BF8-B25C-4522CFDDD666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9269E69-786B-15A2-0535-F84F8D4E8C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20B9A9-7858-A59F-E2EA-0BB3E873F6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D230F225-9077-C298-1939-2EEB21FE0C3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7982056" y="1432560"/>
            <a:ext cx="2057400" cy="4450080"/>
          </a:xfrm>
          <a:prstGeom prst="roundRect">
            <a:avLst>
              <a:gd name="adj" fmla="val 12964"/>
            </a:avLst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1457C9D4-0CF0-AA7E-E1DE-54A91AD7F96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2149408" y="1432560"/>
            <a:ext cx="2057400" cy="4450080"/>
          </a:xfrm>
          <a:prstGeom prst="roundRect">
            <a:avLst>
              <a:gd name="adj" fmla="val 12964"/>
            </a:avLst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026E3E96-B285-EEA0-BFF4-016AADCB4F25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5029384" y="1432560"/>
            <a:ext cx="2057400" cy="4450080"/>
          </a:xfrm>
          <a:prstGeom prst="roundRect">
            <a:avLst>
              <a:gd name="adj" fmla="val 12964"/>
            </a:avLst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2" name="Source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487488" y="6525000"/>
            <a:ext cx="9144000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</p:spTree>
    <p:extLst>
      <p:ext uri="{BB962C8B-B14F-4D97-AF65-F5344CB8AC3E}">
        <p14:creationId xmlns:p14="http://schemas.microsoft.com/office/powerpoint/2010/main" val="35786913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ED4DEA22-86AB-4055-9D31-EB6A5698AB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0F820368-8441-E4B1-BF67-81B1020CD7D1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6" name="Shape">
            <a:extLst>
              <a:ext uri="{FF2B5EF4-FFF2-40B4-BE49-F238E27FC236}">
                <a16:creationId xmlns:a16="http://schemas.microsoft.com/office/drawing/2014/main" id="{9DA19E0A-630E-4703-A2E3-311F8429CE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335360" y="1484785"/>
            <a:ext cx="5184576" cy="20162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BD8E93B3-990F-934D-BD7B-A37DC1324EE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51672" y="1700784"/>
            <a:ext cx="1368000" cy="1584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GB"/>
              <a:t> 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BB3E6D75-1EC4-1B44-B491-E581CC62B05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35673" y="1700784"/>
            <a:ext cx="316824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Country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9C0EC6CE-70D2-D940-9547-3F776BCF57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135672" y="206078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D3260424-7049-BF4D-AA75-2D68FBC04D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135672" y="2276784"/>
            <a:ext cx="316824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Job Position</a:t>
            </a:r>
          </a:p>
        </p:txBody>
      </p:sp>
      <p:sp>
        <p:nvSpPr>
          <p:cNvPr id="39" name="Text Placeholder 5">
            <a:extLst>
              <a:ext uri="{FF2B5EF4-FFF2-40B4-BE49-F238E27FC236}">
                <a16:creationId xmlns:a16="http://schemas.microsoft.com/office/drawing/2014/main" id="{F3664B3A-842D-8146-B7A8-6EE203E6050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135672" y="2708920"/>
            <a:ext cx="3168242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Phone number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B42C9151-00E7-8F44-BDA2-330D9B9791A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2135672" y="2924920"/>
            <a:ext cx="3168242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Email address</a:t>
            </a:r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096000" y="1484783"/>
            <a:ext cx="5184576" cy="4608513"/>
          </a:xfrm>
          <a:prstGeom prst="rect">
            <a:avLst/>
          </a:prstGeom>
        </p:spPr>
        <p:txBody>
          <a:bodyPr/>
          <a:lstStyle>
            <a:lvl1pPr>
              <a:defRPr sz="1600" baseline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200"/>
            </a:lvl5pPr>
          </a:lstStyle>
          <a:p>
            <a:pPr lvl="0"/>
            <a:r>
              <a:rPr lang="en-GB"/>
              <a:t>Additional information (if needed)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13FDAA3-A0DC-2E64-1196-8FF01BE1E6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B150F22B-FA14-4E6D-A64D-0FBE87DCB65B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87AACA9-762A-05ED-5AE4-5EE72266D4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6AD0D2C-3C1F-3238-BF55-233D0EDF2F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58632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Shape">
            <a:extLst>
              <a:ext uri="{FF2B5EF4-FFF2-40B4-BE49-F238E27FC236}">
                <a16:creationId xmlns:a16="http://schemas.microsoft.com/office/drawing/2014/main" id="{A308B59F-C74A-41A0-8B1E-7A5EFCC4D0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335360" y="1484785"/>
            <a:ext cx="5184576" cy="20162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sp>
        <p:nvSpPr>
          <p:cNvPr id="110" name="Shape">
            <a:extLst>
              <a:ext uri="{FF2B5EF4-FFF2-40B4-BE49-F238E27FC236}">
                <a16:creationId xmlns:a16="http://schemas.microsoft.com/office/drawing/2014/main" id="{4BF4C20B-694A-46F7-9866-549844DD6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6096000" y="1484785"/>
            <a:ext cx="5184576" cy="20162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7C9F81EF-6E6B-4C6B-8728-D3ABC0E420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C4BCC443-AB9F-B213-EE37-942C86A0AD63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88" name="Picture Placeholder 3">
            <a:extLst>
              <a:ext uri="{FF2B5EF4-FFF2-40B4-BE49-F238E27FC236}">
                <a16:creationId xmlns:a16="http://schemas.microsoft.com/office/drawing/2014/main" id="{FE641735-A1C5-43D0-BD73-1778301964C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51672" y="1700784"/>
            <a:ext cx="1368000" cy="158400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GB"/>
              <a:t> </a:t>
            </a:r>
          </a:p>
        </p:txBody>
      </p:sp>
      <p:sp>
        <p:nvSpPr>
          <p:cNvPr id="89" name="Text Placeholder 5">
            <a:extLst>
              <a:ext uri="{FF2B5EF4-FFF2-40B4-BE49-F238E27FC236}">
                <a16:creationId xmlns:a16="http://schemas.microsoft.com/office/drawing/2014/main" id="{35F3426A-8179-413F-A089-EDC85F7AE52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35672" y="1700784"/>
            <a:ext cx="316824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Country</a:t>
            </a:r>
          </a:p>
        </p:txBody>
      </p:sp>
      <p:sp>
        <p:nvSpPr>
          <p:cNvPr id="90" name="Text Placeholder 5">
            <a:extLst>
              <a:ext uri="{FF2B5EF4-FFF2-40B4-BE49-F238E27FC236}">
                <a16:creationId xmlns:a16="http://schemas.microsoft.com/office/drawing/2014/main" id="{77DE9175-08EB-4DE9-AF2A-082DE24F91B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135672" y="206078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91" name="Text Placeholder 5">
            <a:extLst>
              <a:ext uri="{FF2B5EF4-FFF2-40B4-BE49-F238E27FC236}">
                <a16:creationId xmlns:a16="http://schemas.microsoft.com/office/drawing/2014/main" id="{D5EF4277-ADF9-4E2E-B2BE-1A7E9852139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135672" y="2276784"/>
            <a:ext cx="316824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Job Position</a:t>
            </a:r>
          </a:p>
        </p:txBody>
      </p:sp>
      <p:sp>
        <p:nvSpPr>
          <p:cNvPr id="92" name="Text Placeholder 5">
            <a:extLst>
              <a:ext uri="{FF2B5EF4-FFF2-40B4-BE49-F238E27FC236}">
                <a16:creationId xmlns:a16="http://schemas.microsoft.com/office/drawing/2014/main" id="{7BDBE224-C61A-4B63-ACB4-6021E55B9D3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135671" y="2708920"/>
            <a:ext cx="3168241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Phone number</a:t>
            </a:r>
          </a:p>
        </p:txBody>
      </p:sp>
      <p:sp>
        <p:nvSpPr>
          <p:cNvPr id="93" name="Text Placeholder 5">
            <a:extLst>
              <a:ext uri="{FF2B5EF4-FFF2-40B4-BE49-F238E27FC236}">
                <a16:creationId xmlns:a16="http://schemas.microsoft.com/office/drawing/2014/main" id="{12C39AE6-6E95-408F-AB43-27C17926E0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2135671" y="2924920"/>
            <a:ext cx="3168241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Email address</a:t>
            </a:r>
          </a:p>
        </p:txBody>
      </p:sp>
      <p:sp>
        <p:nvSpPr>
          <p:cNvPr id="107" name="Text Placeholder 34">
            <a:extLst>
              <a:ext uri="{FF2B5EF4-FFF2-40B4-BE49-F238E27FC236}">
                <a16:creationId xmlns:a16="http://schemas.microsoft.com/office/drawing/2014/main" id="{7A67B2C7-A9D1-420E-A686-D67FE2D6C26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2135560" y="3789040"/>
            <a:ext cx="3384376" cy="2304255"/>
          </a:xfrm>
          <a:prstGeom prst="rect">
            <a:avLst/>
          </a:prstGeom>
        </p:spPr>
        <p:txBody>
          <a:bodyPr/>
          <a:lstStyle>
            <a:lvl1pPr>
              <a:defRPr sz="1600" baseline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200"/>
            </a:lvl5pPr>
          </a:lstStyle>
          <a:p>
            <a:pPr lvl="0"/>
            <a:r>
              <a:rPr lang="en-GB"/>
              <a:t>Additional information (if needed)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1" name="Picture Placeholder 3">
            <a:extLst>
              <a:ext uri="{FF2B5EF4-FFF2-40B4-BE49-F238E27FC236}">
                <a16:creationId xmlns:a16="http://schemas.microsoft.com/office/drawing/2014/main" id="{2F3F9AB8-A6A9-4914-B176-D5301D8AD889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6312762" y="1700784"/>
            <a:ext cx="1368000" cy="158400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GB"/>
              <a:t> </a:t>
            </a:r>
          </a:p>
        </p:txBody>
      </p:sp>
      <p:sp>
        <p:nvSpPr>
          <p:cNvPr id="102" name="Text Placeholder 5">
            <a:extLst>
              <a:ext uri="{FF2B5EF4-FFF2-40B4-BE49-F238E27FC236}">
                <a16:creationId xmlns:a16="http://schemas.microsoft.com/office/drawing/2014/main" id="{60D53D97-2F4B-4FF3-BB08-6DE88C7D08D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7896762" y="1700784"/>
            <a:ext cx="316824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Country</a:t>
            </a:r>
          </a:p>
        </p:txBody>
      </p:sp>
      <p:sp>
        <p:nvSpPr>
          <p:cNvPr id="103" name="Text Placeholder 5">
            <a:extLst>
              <a:ext uri="{FF2B5EF4-FFF2-40B4-BE49-F238E27FC236}">
                <a16:creationId xmlns:a16="http://schemas.microsoft.com/office/drawing/2014/main" id="{912FAF1E-DB1C-42D7-9953-A4E2639C864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7899821" y="206078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104" name="Text Placeholder 5">
            <a:extLst>
              <a:ext uri="{FF2B5EF4-FFF2-40B4-BE49-F238E27FC236}">
                <a16:creationId xmlns:a16="http://schemas.microsoft.com/office/drawing/2014/main" id="{4BEAEA15-5204-41C5-AEFB-5901E9232BC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7896762" y="2276784"/>
            <a:ext cx="316824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Job Position</a:t>
            </a:r>
          </a:p>
        </p:txBody>
      </p:sp>
      <p:sp>
        <p:nvSpPr>
          <p:cNvPr id="105" name="Text Placeholder 5">
            <a:extLst>
              <a:ext uri="{FF2B5EF4-FFF2-40B4-BE49-F238E27FC236}">
                <a16:creationId xmlns:a16="http://schemas.microsoft.com/office/drawing/2014/main" id="{268C1B9F-921F-461C-A9B2-8860F57E26D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7896762" y="2708920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Phone number</a:t>
            </a:r>
          </a:p>
        </p:txBody>
      </p:sp>
      <p:sp>
        <p:nvSpPr>
          <p:cNvPr id="106" name="Text Placeholder 5">
            <a:extLst>
              <a:ext uri="{FF2B5EF4-FFF2-40B4-BE49-F238E27FC236}">
                <a16:creationId xmlns:a16="http://schemas.microsoft.com/office/drawing/2014/main" id="{DF6DB13D-A16B-44FD-BBA4-181841B2C8E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7896762" y="2924920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Email address</a:t>
            </a:r>
          </a:p>
        </p:txBody>
      </p:sp>
      <p:sp>
        <p:nvSpPr>
          <p:cNvPr id="108" name="Text Placeholder 34">
            <a:extLst>
              <a:ext uri="{FF2B5EF4-FFF2-40B4-BE49-F238E27FC236}">
                <a16:creationId xmlns:a16="http://schemas.microsoft.com/office/drawing/2014/main" id="{0739D20A-6CD2-4EFD-BFD8-AC097164997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7897018" y="3789040"/>
            <a:ext cx="3383558" cy="2304256"/>
          </a:xfrm>
          <a:prstGeom prst="rect">
            <a:avLst/>
          </a:prstGeom>
        </p:spPr>
        <p:txBody>
          <a:bodyPr/>
          <a:lstStyle>
            <a:lvl1pPr>
              <a:defRPr sz="1600" baseline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200"/>
            </a:lvl5pPr>
          </a:lstStyle>
          <a:p>
            <a:pPr lvl="0"/>
            <a:r>
              <a:rPr lang="en-GB"/>
              <a:t>Additional information (if needed)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FF5EA01-F4CC-F707-3384-355C3A7832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43"/>
          </p:nvPr>
        </p:nvSpPr>
        <p:spPr/>
        <p:txBody>
          <a:bodyPr/>
          <a:lstStyle/>
          <a:p>
            <a:fld id="{A8E3A413-7249-4713-BDD6-F3A5F9E4FAD0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ECFB7EC-1DDD-4793-F0F9-FB8F64B7BB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005237-160E-5576-1349-4E58BEABCB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50469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|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44A2AEDA-3360-DA88-73A0-6948FFEB4E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304D0E64-4DCD-867F-9D11-49582927DBE6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07FF804E-C722-9A38-9D85-93879A2D9E77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855F8E61-5229-6CD0-FB57-BD93F44A85E5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CCF5D2D4-9238-00C2-13DC-D402CAED2C5C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FA71A6FC-17E8-523E-A48D-2A91C034729F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A5D4A5A3-088D-BDBB-3942-24ADDF754E54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1452132-A660-076A-476D-6DD002D2A3A1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38BBB115-496D-9FA3-2B2A-35204B04D764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FB28E83B-2EE4-49E4-DDC5-3E14FB3D2F0B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E2AFF4F2-A4C1-BD3F-B0D2-7E63DC4B025A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27134373-D85B-F87D-8E5F-A7F466DE9E32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B0C0A82B-E9D3-C0D1-82A9-D7E54C34609D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3CCA97FA-9C2D-69F7-3B4C-7BD232FBCE37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D01CCBE1-6BC9-392A-3745-6F37F3D17B2E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44E684C0-7619-8B16-97DD-A1A6DD7E091D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A5C20F07-63D6-DA44-512B-F77FFA18F6C4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8D12C8D6-8AB3-552D-78F8-1098DEE839C3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EF8304AA-C077-BDB8-04CF-3B8D607E3E6B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04314DE0-3F74-1794-BE69-637F4B2A3251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36FD0254-0D97-9A65-58D5-5BE7E34864D2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FCFDEA69-3AD3-FF09-EE83-2BC6DF575097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C9AE37EB-C7F7-D170-4535-6752FC9675AC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0C926587-1D97-92B7-498B-138DC427EEC6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68957079-909D-DC82-AA9F-8088ACA23EC1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CD4F3487-BFE4-4712-AF6B-54B1A9FD4596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2C8280E5-AAF8-2E65-EAB8-D906E45E3C8F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F1FFCF4F-E609-5B08-2FD5-C19A81433657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987D1844-4469-1324-386B-BD6BD2ACEA58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67638A4B-DD38-1D14-DB3A-F1171CD8C83F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2BC47CFF-F36C-8711-4288-037696F8E159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817F9552-AF46-8FB9-0AF6-13AAD9B07D3C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CAEC5FE8-8599-6CA4-A9FE-E116ED2F9E51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70244D8A-C4EE-2B82-8D22-BEFA13655DA5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AF45CDEA-AED2-0FF6-0EAA-62F7263218D7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AD39B5F5-8CAD-8BAF-7FD5-7A3500567E1A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30F3FBAE-A33D-7464-AE1F-2423C8EF5407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29FCA3FE-AAF6-5879-274F-80515486FEE1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071F456F-8C1D-A01B-4D75-FAEFF8FD6EDA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33CD290C-9594-00EA-DD01-B094B700071F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AAA798CD-7E03-291E-2376-CF148C7CFABA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44EE9CC4-862F-1D68-0C68-34FC7AAEB8C3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F3489720-36CA-725A-AC0D-EFDA0A3201C8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2DF7C544-C709-684D-37E1-16D71DDCE952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C0E5E613-2E94-A37D-D85D-D03059E8A1DC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96C9DFDF-078A-7944-8516-61E52795A518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19E9A7D7-125F-A9E8-398B-A32EE9C8E091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ECDD3FBE-5944-12EE-9F3A-62801AF9708E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6AD7AEBD-F82B-79BE-D78C-F9B3AD61D934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4DEFA5D2-EB1F-1584-D333-2008A36E82A2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CA7CA765-5F8D-5106-B3FD-891A22F2E4FB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58C5424A-B07A-490E-B40A-B106DFDB1112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D54E110B-23F6-6A0B-59DB-72F9A1B1C690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3EABC5CF-90A9-EF30-74FA-0011034EEE03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118390EF-2701-B9AD-4D9D-6FCCE16BB7A1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4" name="Rechteck 563">
              <a:extLst>
                <a:ext uri="{FF2B5EF4-FFF2-40B4-BE49-F238E27FC236}">
                  <a16:creationId xmlns:a16="http://schemas.microsoft.com/office/drawing/2014/main" id="{74980F99-164F-9CFB-0BD2-B974F7FF8547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5" name="Rechteck 564">
              <a:extLst>
                <a:ext uri="{FF2B5EF4-FFF2-40B4-BE49-F238E27FC236}">
                  <a16:creationId xmlns:a16="http://schemas.microsoft.com/office/drawing/2014/main" id="{411BC522-AB18-489E-553B-647880917A13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6" name="Rechteck 565">
              <a:extLst>
                <a:ext uri="{FF2B5EF4-FFF2-40B4-BE49-F238E27FC236}">
                  <a16:creationId xmlns:a16="http://schemas.microsoft.com/office/drawing/2014/main" id="{E2F405AF-F79D-69DD-DACB-6B08A8BA5FAF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7" name="Rechteck 566">
              <a:extLst>
                <a:ext uri="{FF2B5EF4-FFF2-40B4-BE49-F238E27FC236}">
                  <a16:creationId xmlns:a16="http://schemas.microsoft.com/office/drawing/2014/main" id="{4571E967-DDAC-A18E-9902-3F2F8B9B556D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8" name="Rechteck 567">
              <a:extLst>
                <a:ext uri="{FF2B5EF4-FFF2-40B4-BE49-F238E27FC236}">
                  <a16:creationId xmlns:a16="http://schemas.microsoft.com/office/drawing/2014/main" id="{488167FC-8A73-1082-A9CE-A2BF531950F4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9" name="Rechteck 568">
              <a:extLst>
                <a:ext uri="{FF2B5EF4-FFF2-40B4-BE49-F238E27FC236}">
                  <a16:creationId xmlns:a16="http://schemas.microsoft.com/office/drawing/2014/main" id="{CE22A77A-7B9F-60E3-3507-D5DB7E718E1A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0" name="Rechteck 569">
              <a:extLst>
                <a:ext uri="{FF2B5EF4-FFF2-40B4-BE49-F238E27FC236}">
                  <a16:creationId xmlns:a16="http://schemas.microsoft.com/office/drawing/2014/main" id="{30243BE6-F0B7-E1C4-4AD0-0DFFDF66F50A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1" name="Rechteck 570">
              <a:extLst>
                <a:ext uri="{FF2B5EF4-FFF2-40B4-BE49-F238E27FC236}">
                  <a16:creationId xmlns:a16="http://schemas.microsoft.com/office/drawing/2014/main" id="{C53DF050-EBA0-9503-8DB4-E797CF5581C1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2" name="Rechteck 571">
              <a:extLst>
                <a:ext uri="{FF2B5EF4-FFF2-40B4-BE49-F238E27FC236}">
                  <a16:creationId xmlns:a16="http://schemas.microsoft.com/office/drawing/2014/main" id="{F067FC77-3420-17D3-E86F-27EAB6C0C51C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3" name="Rechteck 572">
              <a:extLst>
                <a:ext uri="{FF2B5EF4-FFF2-40B4-BE49-F238E27FC236}">
                  <a16:creationId xmlns:a16="http://schemas.microsoft.com/office/drawing/2014/main" id="{6DB2E5C0-9ACB-82F8-11DA-EDCCB9E31DBC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4" name="Rechteck 573">
              <a:extLst>
                <a:ext uri="{FF2B5EF4-FFF2-40B4-BE49-F238E27FC236}">
                  <a16:creationId xmlns:a16="http://schemas.microsoft.com/office/drawing/2014/main" id="{8CF17FE2-A232-02C1-7C2C-00CD2451722C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5" name="Rechteck 574">
              <a:extLst>
                <a:ext uri="{FF2B5EF4-FFF2-40B4-BE49-F238E27FC236}">
                  <a16:creationId xmlns:a16="http://schemas.microsoft.com/office/drawing/2014/main" id="{5194EAB3-6621-EC6F-5533-E2AA379243D8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B190671A-81DC-9DEC-01FE-BB2868EF4F22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C2989F2B-E31F-7DAB-B14D-872459357240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23B73131-7CAF-F9B1-85C7-906F8F347769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AF407EB7-80E8-A99E-A884-D15A43B69B6D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3104A8FF-3A8F-2856-4664-F208429977E3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FF074905-103A-1654-3A5E-4F28E4751BB2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22DE4D9D-37B4-717B-E4C3-B7C0D055AFE8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9D407089-36A7-8DEE-8C1B-AAE755E4BC06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452A9F8F-7606-65F4-2EF6-82237031A465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13EED276-A2B5-E825-2EC2-67ACCE212A65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A16B83D9-832B-3E70-F139-38F7C6BDB161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C48B99C1-1B56-BA47-7BE9-37EA9F5DC7DD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A0AB330B-1EFB-922C-FC84-3A664B4DB2A6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2528ADB5-1549-6794-7010-067F40F32970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B855ABD7-8C30-C038-7512-4C2B6CAEF020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8E32F0F0-C58E-79EF-0DCD-DE722E827710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FEBE2D64-2066-2E62-FFEC-9B95CD8DA796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4975F9B1-3188-84DC-FB7B-FCD3D24CF39C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70DD43B3-300F-8A41-5D6A-DB7B73AAA12C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64050E29-4533-F26F-3726-03B1A1D7FD30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DE934E1C-9939-B23C-E62C-D3CC41D7A380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0FA58E3E-C336-E85B-09D5-B7A0A2151208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4EB8F864-C012-25CE-039E-8A0E021A54C7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70A21091-0965-216E-CB91-7E32727579DF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5CAAD977-1E0A-F3D2-7B72-30D9B0CA525C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8E198E56-755B-5845-9E20-52554353E72D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4C460E06-D8EF-5C2B-3C6E-7FB639815CCA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5CFE9937-0FE4-BC17-F5B1-805580CDB8D9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5AECAC88-EC1E-9D1F-C510-714A9F8281F1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D9CD5473-1B7C-88FD-B2F8-23173E676D4B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0C94B832-2CBF-2E8D-0422-F670297544B6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854C5041-C528-F507-4F5A-B0DB4777C4E9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3C61711B-A026-B808-798F-F2D72D449F35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97AA02E7-1D34-E765-AF72-40B5AB8F502B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2EBBD067-DC8C-EE21-A515-984C62A11C46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B6C06F11-D9FB-75A6-FABA-9B568AEC6AEB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9B08D2C0-C290-891B-DC39-70D6273EF59B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5A99DE82-B937-9488-E4E6-568161A2157E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C325E27E-94A5-A084-6FEA-55316D066823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52965A5F-3130-03F0-4638-BE079AABFBA7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7E8F48EB-B3FA-C120-EAF3-00F9298058C7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DCE05C3B-8D34-DCF9-77FC-D1A88828CE96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215E1193-70BF-745E-B090-C69D9850013C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01729069-E058-C0BA-7A91-D61CC2A9E724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632C1BAE-D68E-C564-F6A4-C8338BAB37DA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9B20F60A-7197-056E-6DB9-8EDB645A0249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BBD44F7D-38DC-EFBE-1D34-ACB9BBF54CBC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015CBDAB-C488-86BA-92DD-1E98BE42A8BD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F4CA9B95-2653-CF25-5F98-F83F7986CF5A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D38800C5-8CF9-B5D7-E51E-F0C91CA600C1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92DC19B8-B148-00E8-887F-7BA88DCEA688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1FD9CB07-7A45-025C-BD87-ACA15214E28F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618259A4-B4D3-8D4D-01B5-849880C834D5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1A097C60-B599-1715-F8DD-D4F9821F4417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2C132892-4ACC-467F-963D-8E8CF43FCC72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31D2D5FB-776D-C068-42F8-9B5A35DFDFA7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6DCAD3A0-5965-30D0-FD11-6CAA0B802949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36E3BCE3-0EBC-B214-9208-C354713B15A3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8B79C295-BB05-B4C1-6128-C7E9874CA824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79849441-66AD-EC50-45D9-BCB40DD5A86F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927018C9-0C04-997D-945F-A5F68DB16BD7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BBCEA445-5888-5FD8-0027-3379C9A9B502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3FAA2869-4ACF-A1DC-0E98-FEB6B5984FE2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6" name="Rechteck 575">
              <a:extLst>
                <a:ext uri="{FF2B5EF4-FFF2-40B4-BE49-F238E27FC236}">
                  <a16:creationId xmlns:a16="http://schemas.microsoft.com/office/drawing/2014/main" id="{58F7D3DB-8E5F-37F9-3DB2-0834F4B8DA59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7" name="Rechteck 576">
              <a:extLst>
                <a:ext uri="{FF2B5EF4-FFF2-40B4-BE49-F238E27FC236}">
                  <a16:creationId xmlns:a16="http://schemas.microsoft.com/office/drawing/2014/main" id="{2B7B2DD8-C695-5E6F-7F62-2D15CCA4BB81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8" name="Rechteck 577">
              <a:extLst>
                <a:ext uri="{FF2B5EF4-FFF2-40B4-BE49-F238E27FC236}">
                  <a16:creationId xmlns:a16="http://schemas.microsoft.com/office/drawing/2014/main" id="{11330EB3-67DB-949D-5F64-ECBFA0B1D12A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9" name="Rechteck 578">
              <a:extLst>
                <a:ext uri="{FF2B5EF4-FFF2-40B4-BE49-F238E27FC236}">
                  <a16:creationId xmlns:a16="http://schemas.microsoft.com/office/drawing/2014/main" id="{A92932AA-24D6-6C10-9BF3-27E8FEE07479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0" name="Rechteck 579">
              <a:extLst>
                <a:ext uri="{FF2B5EF4-FFF2-40B4-BE49-F238E27FC236}">
                  <a16:creationId xmlns:a16="http://schemas.microsoft.com/office/drawing/2014/main" id="{50D98C02-5485-07FD-1D51-8CE6D1B14B1C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1" name="Rechteck 580">
              <a:extLst>
                <a:ext uri="{FF2B5EF4-FFF2-40B4-BE49-F238E27FC236}">
                  <a16:creationId xmlns:a16="http://schemas.microsoft.com/office/drawing/2014/main" id="{ED87BBB6-497E-8869-A8AF-47963887C61B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2" name="Rechteck 581">
              <a:extLst>
                <a:ext uri="{FF2B5EF4-FFF2-40B4-BE49-F238E27FC236}">
                  <a16:creationId xmlns:a16="http://schemas.microsoft.com/office/drawing/2014/main" id="{DC09E5C1-B987-A92F-D9B8-5D22E77F4CB8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3" name="Rechteck 582">
              <a:extLst>
                <a:ext uri="{FF2B5EF4-FFF2-40B4-BE49-F238E27FC236}">
                  <a16:creationId xmlns:a16="http://schemas.microsoft.com/office/drawing/2014/main" id="{885D6474-3EE4-1EE2-D7DB-99C673449B4B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4" name="Rechteck 583">
              <a:extLst>
                <a:ext uri="{FF2B5EF4-FFF2-40B4-BE49-F238E27FC236}">
                  <a16:creationId xmlns:a16="http://schemas.microsoft.com/office/drawing/2014/main" id="{6E974DD6-0F36-B302-AB89-34BE877CFE25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5" name="Rechteck 584">
              <a:extLst>
                <a:ext uri="{FF2B5EF4-FFF2-40B4-BE49-F238E27FC236}">
                  <a16:creationId xmlns:a16="http://schemas.microsoft.com/office/drawing/2014/main" id="{15E9EC6F-7D3B-73C1-9CA8-00075416AF83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6" name="Rechteck 585">
              <a:extLst>
                <a:ext uri="{FF2B5EF4-FFF2-40B4-BE49-F238E27FC236}">
                  <a16:creationId xmlns:a16="http://schemas.microsoft.com/office/drawing/2014/main" id="{1B6F6C17-5EB8-14A4-9957-429BDE8F36B4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7" name="Rechteck 586">
              <a:extLst>
                <a:ext uri="{FF2B5EF4-FFF2-40B4-BE49-F238E27FC236}">
                  <a16:creationId xmlns:a16="http://schemas.microsoft.com/office/drawing/2014/main" id="{848ECA8D-C5FF-0C19-2ECF-3ACB44FBA247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8" name="Rechteck 587">
              <a:extLst>
                <a:ext uri="{FF2B5EF4-FFF2-40B4-BE49-F238E27FC236}">
                  <a16:creationId xmlns:a16="http://schemas.microsoft.com/office/drawing/2014/main" id="{A29745F4-6102-5DAC-5557-77C2216742CC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9" name="Rechteck 588">
              <a:extLst>
                <a:ext uri="{FF2B5EF4-FFF2-40B4-BE49-F238E27FC236}">
                  <a16:creationId xmlns:a16="http://schemas.microsoft.com/office/drawing/2014/main" id="{C67403E0-AD02-94A4-BFD9-D8F6B42F4D4B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0" name="Rechteck 589">
              <a:extLst>
                <a:ext uri="{FF2B5EF4-FFF2-40B4-BE49-F238E27FC236}">
                  <a16:creationId xmlns:a16="http://schemas.microsoft.com/office/drawing/2014/main" id="{156E1B71-0862-11E5-07F4-3162E80B804F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1" name="Rechteck 590">
              <a:extLst>
                <a:ext uri="{FF2B5EF4-FFF2-40B4-BE49-F238E27FC236}">
                  <a16:creationId xmlns:a16="http://schemas.microsoft.com/office/drawing/2014/main" id="{998C536A-9D28-B5FB-2EAB-FAFE5EA331F3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2" name="Rechteck 591">
              <a:extLst>
                <a:ext uri="{FF2B5EF4-FFF2-40B4-BE49-F238E27FC236}">
                  <a16:creationId xmlns:a16="http://schemas.microsoft.com/office/drawing/2014/main" id="{DABE473A-2AAA-1D16-CC1D-E62D3FF083CD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3" name="Rechteck 592">
              <a:extLst>
                <a:ext uri="{FF2B5EF4-FFF2-40B4-BE49-F238E27FC236}">
                  <a16:creationId xmlns:a16="http://schemas.microsoft.com/office/drawing/2014/main" id="{033BB805-2329-C3BA-4207-EB1DD0EC48C9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4" name="Rechteck 593">
              <a:extLst>
                <a:ext uri="{FF2B5EF4-FFF2-40B4-BE49-F238E27FC236}">
                  <a16:creationId xmlns:a16="http://schemas.microsoft.com/office/drawing/2014/main" id="{BF9B5BF0-4D19-CF6F-DFF0-97C41D13E717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5" name="Rechteck 594">
              <a:extLst>
                <a:ext uri="{FF2B5EF4-FFF2-40B4-BE49-F238E27FC236}">
                  <a16:creationId xmlns:a16="http://schemas.microsoft.com/office/drawing/2014/main" id="{50475D2B-4F27-F9B3-3496-6A2ED3ABD226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6" name="Rechteck 595">
              <a:extLst>
                <a:ext uri="{FF2B5EF4-FFF2-40B4-BE49-F238E27FC236}">
                  <a16:creationId xmlns:a16="http://schemas.microsoft.com/office/drawing/2014/main" id="{909B6362-C4F2-5DE7-1B00-80791CE96123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7" name="Rechteck 596">
              <a:extLst>
                <a:ext uri="{FF2B5EF4-FFF2-40B4-BE49-F238E27FC236}">
                  <a16:creationId xmlns:a16="http://schemas.microsoft.com/office/drawing/2014/main" id="{C51BD19A-2D97-12B3-252F-5B0587F17757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8" name="Rechteck 597">
              <a:extLst>
                <a:ext uri="{FF2B5EF4-FFF2-40B4-BE49-F238E27FC236}">
                  <a16:creationId xmlns:a16="http://schemas.microsoft.com/office/drawing/2014/main" id="{AA30F848-71E0-05CE-A773-137AFB6106EA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9" name="Rechteck 598">
              <a:extLst>
                <a:ext uri="{FF2B5EF4-FFF2-40B4-BE49-F238E27FC236}">
                  <a16:creationId xmlns:a16="http://schemas.microsoft.com/office/drawing/2014/main" id="{2B50EE3C-71C4-10E6-8CD3-A3215452372D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0" name="Rechteck 599">
              <a:extLst>
                <a:ext uri="{FF2B5EF4-FFF2-40B4-BE49-F238E27FC236}">
                  <a16:creationId xmlns:a16="http://schemas.microsoft.com/office/drawing/2014/main" id="{E9E637B4-9B55-C02F-87C5-D80B35959A58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1" name="Rechteck 600">
              <a:extLst>
                <a:ext uri="{FF2B5EF4-FFF2-40B4-BE49-F238E27FC236}">
                  <a16:creationId xmlns:a16="http://schemas.microsoft.com/office/drawing/2014/main" id="{407D6948-1651-B77A-96BE-A3C080AF5BEE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2" name="Rechteck 601">
              <a:extLst>
                <a:ext uri="{FF2B5EF4-FFF2-40B4-BE49-F238E27FC236}">
                  <a16:creationId xmlns:a16="http://schemas.microsoft.com/office/drawing/2014/main" id="{C234DC73-DB10-9392-769B-32CA4F5592DD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3" name="Rechteck 602">
              <a:extLst>
                <a:ext uri="{FF2B5EF4-FFF2-40B4-BE49-F238E27FC236}">
                  <a16:creationId xmlns:a16="http://schemas.microsoft.com/office/drawing/2014/main" id="{480336AC-EC85-A58A-B069-CCE5218CBB3B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4" name="Rechteck 603">
              <a:extLst>
                <a:ext uri="{FF2B5EF4-FFF2-40B4-BE49-F238E27FC236}">
                  <a16:creationId xmlns:a16="http://schemas.microsoft.com/office/drawing/2014/main" id="{ECA13BB0-7967-D0EB-8EEB-8815785FDB68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5" name="Rechteck 604">
              <a:extLst>
                <a:ext uri="{FF2B5EF4-FFF2-40B4-BE49-F238E27FC236}">
                  <a16:creationId xmlns:a16="http://schemas.microsoft.com/office/drawing/2014/main" id="{3FD66F32-FE3E-683D-AA7C-33706F8E3BC2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6" name="Rechteck 605">
              <a:extLst>
                <a:ext uri="{FF2B5EF4-FFF2-40B4-BE49-F238E27FC236}">
                  <a16:creationId xmlns:a16="http://schemas.microsoft.com/office/drawing/2014/main" id="{5ABC4948-AE17-76E9-AD38-2E8605530059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7" name="Rechteck 606">
              <a:extLst>
                <a:ext uri="{FF2B5EF4-FFF2-40B4-BE49-F238E27FC236}">
                  <a16:creationId xmlns:a16="http://schemas.microsoft.com/office/drawing/2014/main" id="{35B64FAB-0897-D1A1-EC9D-54E92B4AE244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8" name="Rechteck 607">
              <a:extLst>
                <a:ext uri="{FF2B5EF4-FFF2-40B4-BE49-F238E27FC236}">
                  <a16:creationId xmlns:a16="http://schemas.microsoft.com/office/drawing/2014/main" id="{AF2C16D6-E3A6-C973-16D3-7028C6CD8491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9" name="Rechteck 608">
              <a:extLst>
                <a:ext uri="{FF2B5EF4-FFF2-40B4-BE49-F238E27FC236}">
                  <a16:creationId xmlns:a16="http://schemas.microsoft.com/office/drawing/2014/main" id="{1300B179-948C-BCFB-B8BB-A7DDC316D524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0" name="Rechteck 609">
              <a:extLst>
                <a:ext uri="{FF2B5EF4-FFF2-40B4-BE49-F238E27FC236}">
                  <a16:creationId xmlns:a16="http://schemas.microsoft.com/office/drawing/2014/main" id="{72E5644A-3BE2-6F5D-18DD-9DA71BD6F0E0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1" name="Rechteck 610">
              <a:extLst>
                <a:ext uri="{FF2B5EF4-FFF2-40B4-BE49-F238E27FC236}">
                  <a16:creationId xmlns:a16="http://schemas.microsoft.com/office/drawing/2014/main" id="{BB86E67B-EB59-4F09-C726-59956C08B858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2" name="Rechteck 611">
              <a:extLst>
                <a:ext uri="{FF2B5EF4-FFF2-40B4-BE49-F238E27FC236}">
                  <a16:creationId xmlns:a16="http://schemas.microsoft.com/office/drawing/2014/main" id="{9B959765-EE9C-A51E-1805-C4F341EE5D5E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3" name="Rechteck 612">
              <a:extLst>
                <a:ext uri="{FF2B5EF4-FFF2-40B4-BE49-F238E27FC236}">
                  <a16:creationId xmlns:a16="http://schemas.microsoft.com/office/drawing/2014/main" id="{D504B449-A1B5-1C36-2E3D-1EAAB6D19CA1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4" name="Rechteck 613">
              <a:extLst>
                <a:ext uri="{FF2B5EF4-FFF2-40B4-BE49-F238E27FC236}">
                  <a16:creationId xmlns:a16="http://schemas.microsoft.com/office/drawing/2014/main" id="{88266A74-711F-F464-FF7C-0566320506D3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5" name="Rechteck 614">
              <a:extLst>
                <a:ext uri="{FF2B5EF4-FFF2-40B4-BE49-F238E27FC236}">
                  <a16:creationId xmlns:a16="http://schemas.microsoft.com/office/drawing/2014/main" id="{B0690049-C2D4-ACF9-1354-218EC91A67F7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6" name="Rechteck 615">
              <a:extLst>
                <a:ext uri="{FF2B5EF4-FFF2-40B4-BE49-F238E27FC236}">
                  <a16:creationId xmlns:a16="http://schemas.microsoft.com/office/drawing/2014/main" id="{A927131A-74C9-0296-65A0-ED4BED855B6D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7" name="Rechteck 616">
              <a:extLst>
                <a:ext uri="{FF2B5EF4-FFF2-40B4-BE49-F238E27FC236}">
                  <a16:creationId xmlns:a16="http://schemas.microsoft.com/office/drawing/2014/main" id="{DCEFCAC6-B63C-FB26-AD55-B799DEA8FD97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8" name="Rechteck 617">
              <a:extLst>
                <a:ext uri="{FF2B5EF4-FFF2-40B4-BE49-F238E27FC236}">
                  <a16:creationId xmlns:a16="http://schemas.microsoft.com/office/drawing/2014/main" id="{24564484-C3D7-8148-DD72-959A8F23C7ED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9" name="Rechteck 618">
              <a:extLst>
                <a:ext uri="{FF2B5EF4-FFF2-40B4-BE49-F238E27FC236}">
                  <a16:creationId xmlns:a16="http://schemas.microsoft.com/office/drawing/2014/main" id="{9A57E7D1-8CB0-82AE-74A3-6F9FD03FF836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0" name="Rechteck 619">
              <a:extLst>
                <a:ext uri="{FF2B5EF4-FFF2-40B4-BE49-F238E27FC236}">
                  <a16:creationId xmlns:a16="http://schemas.microsoft.com/office/drawing/2014/main" id="{E3366F9D-F994-4467-C978-1A7A9C93A982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1" name="Rechteck 620">
              <a:extLst>
                <a:ext uri="{FF2B5EF4-FFF2-40B4-BE49-F238E27FC236}">
                  <a16:creationId xmlns:a16="http://schemas.microsoft.com/office/drawing/2014/main" id="{ACF55DA9-80EC-BC00-28C0-3B5B952EE6D3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2" name="Rechteck 621">
              <a:extLst>
                <a:ext uri="{FF2B5EF4-FFF2-40B4-BE49-F238E27FC236}">
                  <a16:creationId xmlns:a16="http://schemas.microsoft.com/office/drawing/2014/main" id="{FEB07BC2-EFD7-8F5A-3871-DDFD2C4D2616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3" name="Rechteck 622">
              <a:extLst>
                <a:ext uri="{FF2B5EF4-FFF2-40B4-BE49-F238E27FC236}">
                  <a16:creationId xmlns:a16="http://schemas.microsoft.com/office/drawing/2014/main" id="{41AF8826-E0B0-0B6A-6BAA-A35B98DB58E8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4" name="Rechteck 623">
              <a:extLst>
                <a:ext uri="{FF2B5EF4-FFF2-40B4-BE49-F238E27FC236}">
                  <a16:creationId xmlns:a16="http://schemas.microsoft.com/office/drawing/2014/main" id="{33700951-A3EE-8A87-C4C1-95011647807B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5" name="Rechteck 624">
              <a:extLst>
                <a:ext uri="{FF2B5EF4-FFF2-40B4-BE49-F238E27FC236}">
                  <a16:creationId xmlns:a16="http://schemas.microsoft.com/office/drawing/2014/main" id="{28E9989C-A9C0-1F2E-9393-981FBD58E75A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6" name="Rechteck 625">
              <a:extLst>
                <a:ext uri="{FF2B5EF4-FFF2-40B4-BE49-F238E27FC236}">
                  <a16:creationId xmlns:a16="http://schemas.microsoft.com/office/drawing/2014/main" id="{3D9919BD-3287-69B9-BC0E-24BFE806E099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7" name="Rechteck 626">
              <a:extLst>
                <a:ext uri="{FF2B5EF4-FFF2-40B4-BE49-F238E27FC236}">
                  <a16:creationId xmlns:a16="http://schemas.microsoft.com/office/drawing/2014/main" id="{D081ABE3-0B2F-75CC-3B73-372080D67F1E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8" name="Rechteck 627">
              <a:extLst>
                <a:ext uri="{FF2B5EF4-FFF2-40B4-BE49-F238E27FC236}">
                  <a16:creationId xmlns:a16="http://schemas.microsoft.com/office/drawing/2014/main" id="{625A3EBF-0B0D-49E0-F4B4-578A6A54E656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9" name="Rechteck 628">
              <a:extLst>
                <a:ext uri="{FF2B5EF4-FFF2-40B4-BE49-F238E27FC236}">
                  <a16:creationId xmlns:a16="http://schemas.microsoft.com/office/drawing/2014/main" id="{DFB124FA-3424-34C4-8439-A9AC457481DD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0" name="Rechteck 629">
              <a:extLst>
                <a:ext uri="{FF2B5EF4-FFF2-40B4-BE49-F238E27FC236}">
                  <a16:creationId xmlns:a16="http://schemas.microsoft.com/office/drawing/2014/main" id="{F2AF72EF-30B0-B87F-38E5-03DDD97051B1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1" name="Rechteck 630">
              <a:extLst>
                <a:ext uri="{FF2B5EF4-FFF2-40B4-BE49-F238E27FC236}">
                  <a16:creationId xmlns:a16="http://schemas.microsoft.com/office/drawing/2014/main" id="{FE74D72F-A9E0-088C-DE2C-1AAF68BED3A2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2" name="Rechteck 631">
              <a:extLst>
                <a:ext uri="{FF2B5EF4-FFF2-40B4-BE49-F238E27FC236}">
                  <a16:creationId xmlns:a16="http://schemas.microsoft.com/office/drawing/2014/main" id="{0AE01FB0-FA6E-1B9C-FB9A-4E0D4A240EA7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3" name="Rechteck 632">
              <a:extLst>
                <a:ext uri="{FF2B5EF4-FFF2-40B4-BE49-F238E27FC236}">
                  <a16:creationId xmlns:a16="http://schemas.microsoft.com/office/drawing/2014/main" id="{621FA565-E7AF-F090-93C2-11BF16F54711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4" name="Rechteck 633">
              <a:extLst>
                <a:ext uri="{FF2B5EF4-FFF2-40B4-BE49-F238E27FC236}">
                  <a16:creationId xmlns:a16="http://schemas.microsoft.com/office/drawing/2014/main" id="{A623971C-238E-607E-FA8A-B7FBC343F930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5" name="Rechteck 634">
              <a:extLst>
                <a:ext uri="{FF2B5EF4-FFF2-40B4-BE49-F238E27FC236}">
                  <a16:creationId xmlns:a16="http://schemas.microsoft.com/office/drawing/2014/main" id="{AD270A1D-3888-A464-6C38-A942DBE97AAB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grpSp>
        <p:nvGrpSpPr>
          <p:cNvPr id="639" name="Gruppieren 638">
            <a:extLst>
              <a:ext uri="{FF2B5EF4-FFF2-40B4-BE49-F238E27FC236}">
                <a16:creationId xmlns:a16="http://schemas.microsoft.com/office/drawing/2014/main" id="{28A2C002-1EE0-626A-11E1-E574EEC961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1" y="2082829"/>
            <a:ext cx="2448000" cy="0"/>
            <a:chOff x="983432" y="2082829"/>
            <a:chExt cx="2448000" cy="0"/>
          </a:xfrm>
        </p:grpSpPr>
        <p:cxnSp>
          <p:nvCxnSpPr>
            <p:cNvPr id="640" name="Line">
              <a:extLst>
                <a:ext uri="{FF2B5EF4-FFF2-40B4-BE49-F238E27FC236}">
                  <a16:creationId xmlns:a16="http://schemas.microsoft.com/office/drawing/2014/main" id="{C326A183-1B9A-1300-CBEF-97B3410472A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1" name="Line">
              <a:extLst>
                <a:ext uri="{FF2B5EF4-FFF2-40B4-BE49-F238E27FC236}">
                  <a16:creationId xmlns:a16="http://schemas.microsoft.com/office/drawing/2014/main" id="{13E54FB3-A107-8CA6-FFEF-D89D822AEC5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2" name="Shape">
            <a:extLst>
              <a:ext uri="{FF2B5EF4-FFF2-40B4-BE49-F238E27FC236}">
                <a16:creationId xmlns:a16="http://schemas.microsoft.com/office/drawing/2014/main" id="{2FA97F3C-268E-8477-E45E-1FFFF79434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0848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43" name="Shape">
            <a:extLst>
              <a:ext uri="{FF2B5EF4-FFF2-40B4-BE49-F238E27FC236}">
                <a16:creationId xmlns:a16="http://schemas.microsoft.com/office/drawing/2014/main" id="{C596E45C-473F-E05E-DDC7-B6B0CF2D02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9" y="2061400"/>
            <a:ext cx="5760640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44" name="Title">
            <a:extLst>
              <a:ext uri="{FF2B5EF4-FFF2-40B4-BE49-F238E27FC236}">
                <a16:creationId xmlns:a16="http://schemas.microsoft.com/office/drawing/2014/main" id="{ACE24F44-B88E-4F03-9CB9-09766C3AB5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656384" y="2205159"/>
            <a:ext cx="4896000" cy="1368000"/>
          </a:xfrm>
          <a:prstGeom prst="rect">
            <a:avLst/>
          </a:prstGeom>
        </p:spPr>
        <p:txBody>
          <a:bodyPr tIns="54000" anchor="t">
            <a:noAutofit/>
          </a:bodyPr>
          <a:lstStyle>
            <a:lvl1pPr algn="l">
              <a:lnSpc>
                <a:spcPct val="90000"/>
              </a:lnSpc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Insert your long title of presentation here in maximal three lines</a:t>
            </a:r>
          </a:p>
        </p:txBody>
      </p:sp>
      <p:sp>
        <p:nvSpPr>
          <p:cNvPr id="645" name="Subtitle 2">
            <a:extLst>
              <a:ext uri="{FF2B5EF4-FFF2-40B4-BE49-F238E27FC236}">
                <a16:creationId xmlns:a16="http://schemas.microsoft.com/office/drawing/2014/main" id="{E2B3BE1C-89C4-7B6D-F2B5-3E0F90CD61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656384" y="3789160"/>
            <a:ext cx="432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637" name="Author">
            <a:extLst>
              <a:ext uri="{FF2B5EF4-FFF2-40B4-BE49-F238E27FC236}">
                <a16:creationId xmlns:a16="http://schemas.microsoft.com/office/drawing/2014/main" id="{6F538EE2-3CAD-FDD4-13B3-62345296EC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400" y="2348992"/>
            <a:ext cx="2520280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GB"/>
              <a:t>First name Last name</a:t>
            </a:r>
          </a:p>
        </p:txBody>
      </p:sp>
      <p:sp>
        <p:nvSpPr>
          <p:cNvPr id="638" name="Department, Date">
            <a:extLst>
              <a:ext uri="{FF2B5EF4-FFF2-40B4-BE49-F238E27FC236}">
                <a16:creationId xmlns:a16="http://schemas.microsoft.com/office/drawing/2014/main" id="{06E748DC-C0F4-8D9E-697E-A8D574CC21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2564992"/>
            <a:ext cx="2520280" cy="792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GB"/>
              <a:t>Department</a:t>
            </a:r>
            <a:br>
              <a:rPr lang="en-GB"/>
            </a:br>
            <a:r>
              <a:rPr lang="en-GB"/>
              <a:t>DD/MM/YYYY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48247496-B1E5-3C44-081F-4DC45B448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28448" y="335757"/>
            <a:ext cx="1365736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9999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03F187D5-78CE-4CB4-97FD-A8472D948E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27" name="Subtitle">
            <a:extLst>
              <a:ext uri="{FF2B5EF4-FFF2-40B4-BE49-F238E27FC236}">
                <a16:creationId xmlns:a16="http://schemas.microsoft.com/office/drawing/2014/main" id="{C79A977C-0417-AA8F-2CD0-72FF316DCAA2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48" name="Shape">
            <a:extLst>
              <a:ext uri="{FF2B5EF4-FFF2-40B4-BE49-F238E27FC236}">
                <a16:creationId xmlns:a16="http://schemas.microsoft.com/office/drawing/2014/main" id="{62E7F382-C6C4-485A-83D1-B2DF463F3B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335360" y="1484784"/>
            <a:ext cx="5184576" cy="201571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sp>
        <p:nvSpPr>
          <p:cNvPr id="94" name="Picture Placeholder 3">
            <a:extLst>
              <a:ext uri="{FF2B5EF4-FFF2-40B4-BE49-F238E27FC236}">
                <a16:creationId xmlns:a16="http://schemas.microsoft.com/office/drawing/2014/main" id="{96D1107F-3E3A-3C4B-8256-95C871BFFA2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51672" y="1700784"/>
            <a:ext cx="1368000" cy="158400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GB"/>
              <a:t> </a:t>
            </a:r>
          </a:p>
        </p:txBody>
      </p:sp>
      <p:sp>
        <p:nvSpPr>
          <p:cNvPr id="95" name="Text Placeholder 5">
            <a:extLst>
              <a:ext uri="{FF2B5EF4-FFF2-40B4-BE49-F238E27FC236}">
                <a16:creationId xmlns:a16="http://schemas.microsoft.com/office/drawing/2014/main" id="{9E6D6A14-7FC7-2E46-8CC2-5CA4E52119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35672" y="1700784"/>
            <a:ext cx="316824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Country</a:t>
            </a:r>
          </a:p>
        </p:txBody>
      </p:sp>
      <p:sp>
        <p:nvSpPr>
          <p:cNvPr id="96" name="Text Placeholder 5">
            <a:extLst>
              <a:ext uri="{FF2B5EF4-FFF2-40B4-BE49-F238E27FC236}">
                <a16:creationId xmlns:a16="http://schemas.microsoft.com/office/drawing/2014/main" id="{F98B3B28-1889-DA4F-A2D1-BD173114DC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135672" y="206078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97" name="Text Placeholder 5">
            <a:extLst>
              <a:ext uri="{FF2B5EF4-FFF2-40B4-BE49-F238E27FC236}">
                <a16:creationId xmlns:a16="http://schemas.microsoft.com/office/drawing/2014/main" id="{8AAA19EE-9DB4-474A-A321-C8153907CCE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135672" y="2276784"/>
            <a:ext cx="316824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Job Position</a:t>
            </a:r>
          </a:p>
        </p:txBody>
      </p:sp>
      <p:sp>
        <p:nvSpPr>
          <p:cNvPr id="98" name="Text Placeholder 5">
            <a:extLst>
              <a:ext uri="{FF2B5EF4-FFF2-40B4-BE49-F238E27FC236}">
                <a16:creationId xmlns:a16="http://schemas.microsoft.com/office/drawing/2014/main" id="{B143D523-493C-BC4E-B1AA-5DB95154E3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135672" y="2708920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Phone number</a:t>
            </a:r>
          </a:p>
        </p:txBody>
      </p:sp>
      <p:sp>
        <p:nvSpPr>
          <p:cNvPr id="99" name="Text Placeholder 5">
            <a:extLst>
              <a:ext uri="{FF2B5EF4-FFF2-40B4-BE49-F238E27FC236}">
                <a16:creationId xmlns:a16="http://schemas.microsoft.com/office/drawing/2014/main" id="{9D91B60C-53AD-284C-95D2-EDFB9B2E1C5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2135672" y="2924920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Email address</a:t>
            </a:r>
          </a:p>
        </p:txBody>
      </p:sp>
      <p:sp>
        <p:nvSpPr>
          <p:cNvPr id="49" name="Shape">
            <a:extLst>
              <a:ext uri="{FF2B5EF4-FFF2-40B4-BE49-F238E27FC236}">
                <a16:creationId xmlns:a16="http://schemas.microsoft.com/office/drawing/2014/main" id="{FA2307D6-B00C-4CF8-B22E-11BF9AF7DE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6096000" y="1485297"/>
            <a:ext cx="5184576" cy="201571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sp>
        <p:nvSpPr>
          <p:cNvPr id="119" name="Picture Placeholder 3">
            <a:extLst>
              <a:ext uri="{FF2B5EF4-FFF2-40B4-BE49-F238E27FC236}">
                <a16:creationId xmlns:a16="http://schemas.microsoft.com/office/drawing/2014/main" id="{B5007B33-0681-7C4B-8C02-A2115D4F5A8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6312762" y="1700784"/>
            <a:ext cx="1368000" cy="158400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GB"/>
              <a:t> </a:t>
            </a:r>
          </a:p>
        </p:txBody>
      </p:sp>
      <p:sp>
        <p:nvSpPr>
          <p:cNvPr id="120" name="Text Placeholder 5">
            <a:extLst>
              <a:ext uri="{FF2B5EF4-FFF2-40B4-BE49-F238E27FC236}">
                <a16:creationId xmlns:a16="http://schemas.microsoft.com/office/drawing/2014/main" id="{7947A278-4541-C145-8A1A-805C82E2BEB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7896762" y="1700784"/>
            <a:ext cx="316824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Country</a:t>
            </a:r>
          </a:p>
        </p:txBody>
      </p:sp>
      <p:sp>
        <p:nvSpPr>
          <p:cNvPr id="121" name="Text Placeholder 5">
            <a:extLst>
              <a:ext uri="{FF2B5EF4-FFF2-40B4-BE49-F238E27FC236}">
                <a16:creationId xmlns:a16="http://schemas.microsoft.com/office/drawing/2014/main" id="{AB572493-73FB-0646-BCF6-467CE0D18D0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7896762" y="206078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122" name="Text Placeholder 5">
            <a:extLst>
              <a:ext uri="{FF2B5EF4-FFF2-40B4-BE49-F238E27FC236}">
                <a16:creationId xmlns:a16="http://schemas.microsoft.com/office/drawing/2014/main" id="{160A0CE4-A4A1-664B-B2A5-3BEEF22E242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7896762" y="2276784"/>
            <a:ext cx="316824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Job Position</a:t>
            </a:r>
          </a:p>
        </p:txBody>
      </p:sp>
      <p:sp>
        <p:nvSpPr>
          <p:cNvPr id="123" name="Text Placeholder 5">
            <a:extLst>
              <a:ext uri="{FF2B5EF4-FFF2-40B4-BE49-F238E27FC236}">
                <a16:creationId xmlns:a16="http://schemas.microsoft.com/office/drawing/2014/main" id="{595B26DC-2F0F-0741-AD06-D75BE5AE795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7896762" y="2708920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Phone number</a:t>
            </a:r>
          </a:p>
        </p:txBody>
      </p:sp>
      <p:sp>
        <p:nvSpPr>
          <p:cNvPr id="124" name="Text Placeholder 5">
            <a:extLst>
              <a:ext uri="{FF2B5EF4-FFF2-40B4-BE49-F238E27FC236}">
                <a16:creationId xmlns:a16="http://schemas.microsoft.com/office/drawing/2014/main" id="{727EE54C-753A-284A-8B4F-9C5FDDC2D63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7896762" y="2924920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Email address</a:t>
            </a:r>
          </a:p>
        </p:txBody>
      </p:sp>
      <p:sp>
        <p:nvSpPr>
          <p:cNvPr id="51" name="Shape">
            <a:extLst>
              <a:ext uri="{FF2B5EF4-FFF2-40B4-BE49-F238E27FC236}">
                <a16:creationId xmlns:a16="http://schemas.microsoft.com/office/drawing/2014/main" id="{09F29F29-FEC9-4927-AB9A-F17180449E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335360" y="4077585"/>
            <a:ext cx="5184576" cy="201571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sp>
        <p:nvSpPr>
          <p:cNvPr id="106" name="Picture Placeholder 3">
            <a:extLst>
              <a:ext uri="{FF2B5EF4-FFF2-40B4-BE49-F238E27FC236}">
                <a16:creationId xmlns:a16="http://schemas.microsoft.com/office/drawing/2014/main" id="{B6FE670F-20AA-EF43-93FE-D8EBD89F9D8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551672" y="4293147"/>
            <a:ext cx="1368000" cy="158400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GB"/>
              <a:t> </a:t>
            </a:r>
          </a:p>
        </p:txBody>
      </p:sp>
      <p:sp>
        <p:nvSpPr>
          <p:cNvPr id="107" name="Text Placeholder 5">
            <a:extLst>
              <a:ext uri="{FF2B5EF4-FFF2-40B4-BE49-F238E27FC236}">
                <a16:creationId xmlns:a16="http://schemas.microsoft.com/office/drawing/2014/main" id="{62E04480-8830-0F40-AE67-E9D2BB0BFD4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135672" y="4293147"/>
            <a:ext cx="316824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Country</a:t>
            </a:r>
          </a:p>
        </p:txBody>
      </p:sp>
      <p:sp>
        <p:nvSpPr>
          <p:cNvPr id="108" name="Text Placeholder 5">
            <a:extLst>
              <a:ext uri="{FF2B5EF4-FFF2-40B4-BE49-F238E27FC236}">
                <a16:creationId xmlns:a16="http://schemas.microsoft.com/office/drawing/2014/main" id="{8E37D29D-067C-6F40-8722-813FC5CCB6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135672" y="4653147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109" name="Text Placeholder 5">
            <a:extLst>
              <a:ext uri="{FF2B5EF4-FFF2-40B4-BE49-F238E27FC236}">
                <a16:creationId xmlns:a16="http://schemas.microsoft.com/office/drawing/2014/main" id="{9F2507A6-1822-8441-AF42-6F32CAD5309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2135672" y="4869147"/>
            <a:ext cx="316824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Job Position</a:t>
            </a:r>
          </a:p>
        </p:txBody>
      </p:sp>
      <p:sp>
        <p:nvSpPr>
          <p:cNvPr id="110" name="Text Placeholder 5">
            <a:extLst>
              <a:ext uri="{FF2B5EF4-FFF2-40B4-BE49-F238E27FC236}">
                <a16:creationId xmlns:a16="http://schemas.microsoft.com/office/drawing/2014/main" id="{B1FAFD4D-A617-1D4B-A22B-92EA6E00239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2135672" y="5301283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Phone number</a:t>
            </a:r>
          </a:p>
        </p:txBody>
      </p:sp>
      <p:sp>
        <p:nvSpPr>
          <p:cNvPr id="111" name="Text Placeholder 5">
            <a:extLst>
              <a:ext uri="{FF2B5EF4-FFF2-40B4-BE49-F238E27FC236}">
                <a16:creationId xmlns:a16="http://schemas.microsoft.com/office/drawing/2014/main" id="{1758521F-192E-8E46-9355-9EA0AC42A50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5672" y="5517283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Email address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D930B00-6481-308D-18F9-2A16F9C17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fld id="{66D33C1D-4FF1-4352-9A4F-99D49B83ED2D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BA96A78-722B-ACDB-C9FE-CD7ECF57E5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D504CF-5A52-F637-4E14-CA8D7E371B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440261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CA5E4281-7DAB-4B66-B128-B1580F2596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34" name="Subtitle">
            <a:extLst>
              <a:ext uri="{FF2B5EF4-FFF2-40B4-BE49-F238E27FC236}">
                <a16:creationId xmlns:a16="http://schemas.microsoft.com/office/drawing/2014/main" id="{1A79FB49-A60C-33E7-ADE0-835E4B954805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8800"/>
            <a:ext cx="8063551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62" name="Shape">
            <a:extLst>
              <a:ext uri="{FF2B5EF4-FFF2-40B4-BE49-F238E27FC236}">
                <a16:creationId xmlns:a16="http://schemas.microsoft.com/office/drawing/2014/main" id="{16825BDD-BB1B-4D1C-B52B-7933359BD6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335360" y="1484784"/>
            <a:ext cx="5184576" cy="201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sp>
        <p:nvSpPr>
          <p:cNvPr id="94" name="Picture Placeholder 3">
            <a:extLst>
              <a:ext uri="{FF2B5EF4-FFF2-40B4-BE49-F238E27FC236}">
                <a16:creationId xmlns:a16="http://schemas.microsoft.com/office/drawing/2014/main" id="{96D1107F-3E3A-3C4B-8256-95C871BFFA2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51672" y="1700784"/>
            <a:ext cx="1368000" cy="158400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GB"/>
              <a:t> </a:t>
            </a:r>
          </a:p>
        </p:txBody>
      </p:sp>
      <p:sp>
        <p:nvSpPr>
          <p:cNvPr id="95" name="Text Placeholder 5">
            <a:extLst>
              <a:ext uri="{FF2B5EF4-FFF2-40B4-BE49-F238E27FC236}">
                <a16:creationId xmlns:a16="http://schemas.microsoft.com/office/drawing/2014/main" id="{9E6D6A14-7FC7-2E46-8CC2-5CA4E52119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35672" y="1700784"/>
            <a:ext cx="316824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Country</a:t>
            </a:r>
          </a:p>
        </p:txBody>
      </p:sp>
      <p:sp>
        <p:nvSpPr>
          <p:cNvPr id="96" name="Text Placeholder 5">
            <a:extLst>
              <a:ext uri="{FF2B5EF4-FFF2-40B4-BE49-F238E27FC236}">
                <a16:creationId xmlns:a16="http://schemas.microsoft.com/office/drawing/2014/main" id="{F98B3B28-1889-DA4F-A2D1-BD173114DC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135672" y="206078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97" name="Text Placeholder 5">
            <a:extLst>
              <a:ext uri="{FF2B5EF4-FFF2-40B4-BE49-F238E27FC236}">
                <a16:creationId xmlns:a16="http://schemas.microsoft.com/office/drawing/2014/main" id="{8AAA19EE-9DB4-474A-A321-C8153907CCE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135672" y="2276784"/>
            <a:ext cx="316824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Job Position</a:t>
            </a:r>
          </a:p>
        </p:txBody>
      </p:sp>
      <p:sp>
        <p:nvSpPr>
          <p:cNvPr id="98" name="Text Placeholder 5">
            <a:extLst>
              <a:ext uri="{FF2B5EF4-FFF2-40B4-BE49-F238E27FC236}">
                <a16:creationId xmlns:a16="http://schemas.microsoft.com/office/drawing/2014/main" id="{B143D523-493C-BC4E-B1AA-5DB95154E3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135672" y="2708920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Phone number</a:t>
            </a:r>
          </a:p>
        </p:txBody>
      </p:sp>
      <p:sp>
        <p:nvSpPr>
          <p:cNvPr id="99" name="Text Placeholder 5">
            <a:extLst>
              <a:ext uri="{FF2B5EF4-FFF2-40B4-BE49-F238E27FC236}">
                <a16:creationId xmlns:a16="http://schemas.microsoft.com/office/drawing/2014/main" id="{9D91B60C-53AD-284C-95D2-EDFB9B2E1C5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2135672" y="2924920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Email address</a:t>
            </a:r>
          </a:p>
        </p:txBody>
      </p:sp>
      <p:sp>
        <p:nvSpPr>
          <p:cNvPr id="63" name="Shape">
            <a:extLst>
              <a:ext uri="{FF2B5EF4-FFF2-40B4-BE49-F238E27FC236}">
                <a16:creationId xmlns:a16="http://schemas.microsoft.com/office/drawing/2014/main" id="{B3761F59-E702-400C-BB3D-7C2F7DFAF9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6096000" y="1485297"/>
            <a:ext cx="5184576" cy="201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sp>
        <p:nvSpPr>
          <p:cNvPr id="119" name="Picture Placeholder 3">
            <a:extLst>
              <a:ext uri="{FF2B5EF4-FFF2-40B4-BE49-F238E27FC236}">
                <a16:creationId xmlns:a16="http://schemas.microsoft.com/office/drawing/2014/main" id="{B5007B33-0681-7C4B-8C02-A2115D4F5A8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6312762" y="1700784"/>
            <a:ext cx="1368000" cy="158400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GB"/>
              <a:t> </a:t>
            </a:r>
          </a:p>
        </p:txBody>
      </p:sp>
      <p:sp>
        <p:nvSpPr>
          <p:cNvPr id="120" name="Text Placeholder 5">
            <a:extLst>
              <a:ext uri="{FF2B5EF4-FFF2-40B4-BE49-F238E27FC236}">
                <a16:creationId xmlns:a16="http://schemas.microsoft.com/office/drawing/2014/main" id="{7947A278-4541-C145-8A1A-805C82E2BEB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7896762" y="1700784"/>
            <a:ext cx="316824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Country</a:t>
            </a:r>
          </a:p>
        </p:txBody>
      </p:sp>
      <p:sp>
        <p:nvSpPr>
          <p:cNvPr id="121" name="Text Placeholder 5">
            <a:extLst>
              <a:ext uri="{FF2B5EF4-FFF2-40B4-BE49-F238E27FC236}">
                <a16:creationId xmlns:a16="http://schemas.microsoft.com/office/drawing/2014/main" id="{AB572493-73FB-0646-BCF6-467CE0D18D0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7896762" y="206078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122" name="Text Placeholder 5">
            <a:extLst>
              <a:ext uri="{FF2B5EF4-FFF2-40B4-BE49-F238E27FC236}">
                <a16:creationId xmlns:a16="http://schemas.microsoft.com/office/drawing/2014/main" id="{160A0CE4-A4A1-664B-B2A5-3BEEF22E242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7896762" y="2276784"/>
            <a:ext cx="316824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Job Position</a:t>
            </a:r>
          </a:p>
        </p:txBody>
      </p:sp>
      <p:sp>
        <p:nvSpPr>
          <p:cNvPr id="123" name="Text Placeholder 5">
            <a:extLst>
              <a:ext uri="{FF2B5EF4-FFF2-40B4-BE49-F238E27FC236}">
                <a16:creationId xmlns:a16="http://schemas.microsoft.com/office/drawing/2014/main" id="{595B26DC-2F0F-0741-AD06-D75BE5AE795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7896762" y="2708920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Phone number</a:t>
            </a:r>
          </a:p>
        </p:txBody>
      </p:sp>
      <p:sp>
        <p:nvSpPr>
          <p:cNvPr id="124" name="Text Placeholder 5">
            <a:extLst>
              <a:ext uri="{FF2B5EF4-FFF2-40B4-BE49-F238E27FC236}">
                <a16:creationId xmlns:a16="http://schemas.microsoft.com/office/drawing/2014/main" id="{727EE54C-753A-284A-8B4F-9C5FDDC2D63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7896762" y="2924920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Email address</a:t>
            </a:r>
          </a:p>
        </p:txBody>
      </p:sp>
      <p:sp>
        <p:nvSpPr>
          <p:cNvPr id="61" name="Shape">
            <a:extLst>
              <a:ext uri="{FF2B5EF4-FFF2-40B4-BE49-F238E27FC236}">
                <a16:creationId xmlns:a16="http://schemas.microsoft.com/office/drawing/2014/main" id="{6902CA4F-7D42-4F6B-8E46-F2707F4EA0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335360" y="4077296"/>
            <a:ext cx="5184576" cy="201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sp>
        <p:nvSpPr>
          <p:cNvPr id="106" name="Picture Placeholder 3">
            <a:extLst>
              <a:ext uri="{FF2B5EF4-FFF2-40B4-BE49-F238E27FC236}">
                <a16:creationId xmlns:a16="http://schemas.microsoft.com/office/drawing/2014/main" id="{B6FE670F-20AA-EF43-93FE-D8EBD89F9D8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551672" y="4292858"/>
            <a:ext cx="1368000" cy="158400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GB"/>
              <a:t> </a:t>
            </a:r>
          </a:p>
        </p:txBody>
      </p:sp>
      <p:sp>
        <p:nvSpPr>
          <p:cNvPr id="107" name="Text Placeholder 5">
            <a:extLst>
              <a:ext uri="{FF2B5EF4-FFF2-40B4-BE49-F238E27FC236}">
                <a16:creationId xmlns:a16="http://schemas.microsoft.com/office/drawing/2014/main" id="{62E04480-8830-0F40-AE67-E9D2BB0BFD4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135672" y="4292858"/>
            <a:ext cx="316824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Country</a:t>
            </a:r>
          </a:p>
        </p:txBody>
      </p:sp>
      <p:sp>
        <p:nvSpPr>
          <p:cNvPr id="108" name="Text Placeholder 5">
            <a:extLst>
              <a:ext uri="{FF2B5EF4-FFF2-40B4-BE49-F238E27FC236}">
                <a16:creationId xmlns:a16="http://schemas.microsoft.com/office/drawing/2014/main" id="{8E37D29D-067C-6F40-8722-813FC5CCB6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135672" y="4652858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109" name="Text Placeholder 5">
            <a:extLst>
              <a:ext uri="{FF2B5EF4-FFF2-40B4-BE49-F238E27FC236}">
                <a16:creationId xmlns:a16="http://schemas.microsoft.com/office/drawing/2014/main" id="{9F2507A6-1822-8441-AF42-6F32CAD5309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2135672" y="4868858"/>
            <a:ext cx="316824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Job Position</a:t>
            </a:r>
          </a:p>
        </p:txBody>
      </p:sp>
      <p:sp>
        <p:nvSpPr>
          <p:cNvPr id="110" name="Text Placeholder 5">
            <a:extLst>
              <a:ext uri="{FF2B5EF4-FFF2-40B4-BE49-F238E27FC236}">
                <a16:creationId xmlns:a16="http://schemas.microsoft.com/office/drawing/2014/main" id="{B1FAFD4D-A617-1D4B-A22B-92EA6E00239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2135672" y="530099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Phone number</a:t>
            </a:r>
          </a:p>
        </p:txBody>
      </p:sp>
      <p:sp>
        <p:nvSpPr>
          <p:cNvPr id="111" name="Text Placeholder 5">
            <a:extLst>
              <a:ext uri="{FF2B5EF4-FFF2-40B4-BE49-F238E27FC236}">
                <a16:creationId xmlns:a16="http://schemas.microsoft.com/office/drawing/2014/main" id="{1758521F-192E-8E46-9355-9EA0AC42A50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5672" y="551699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Email address</a:t>
            </a:r>
          </a:p>
        </p:txBody>
      </p:sp>
      <p:sp>
        <p:nvSpPr>
          <p:cNvPr id="65" name="Shape">
            <a:extLst>
              <a:ext uri="{FF2B5EF4-FFF2-40B4-BE49-F238E27FC236}">
                <a16:creationId xmlns:a16="http://schemas.microsoft.com/office/drawing/2014/main" id="{B4AE5ACA-7F4B-4818-955D-31E8DD6155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6096000" y="4077296"/>
            <a:ext cx="5184576" cy="201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sp>
        <p:nvSpPr>
          <p:cNvPr id="131" name="Picture Placeholder 3">
            <a:extLst>
              <a:ext uri="{FF2B5EF4-FFF2-40B4-BE49-F238E27FC236}">
                <a16:creationId xmlns:a16="http://schemas.microsoft.com/office/drawing/2014/main" id="{805973E7-6E2A-9147-9EEF-11EA3705FB9B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312762" y="4275958"/>
            <a:ext cx="1368000" cy="158400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GB"/>
              <a:t> </a:t>
            </a:r>
          </a:p>
        </p:txBody>
      </p:sp>
      <p:sp>
        <p:nvSpPr>
          <p:cNvPr id="132" name="Text Placeholder 5">
            <a:extLst>
              <a:ext uri="{FF2B5EF4-FFF2-40B4-BE49-F238E27FC236}">
                <a16:creationId xmlns:a16="http://schemas.microsoft.com/office/drawing/2014/main" id="{8962C3D4-A44F-C143-8800-C613E37B77C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7896762" y="4275958"/>
            <a:ext cx="316824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Country</a:t>
            </a:r>
          </a:p>
        </p:txBody>
      </p:sp>
      <p:sp>
        <p:nvSpPr>
          <p:cNvPr id="133" name="Text Placeholder 5">
            <a:extLst>
              <a:ext uri="{FF2B5EF4-FFF2-40B4-BE49-F238E27FC236}">
                <a16:creationId xmlns:a16="http://schemas.microsoft.com/office/drawing/2014/main" id="{A8F8F8A4-0708-D740-9016-1F49549FDC6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7896762" y="4635958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134" name="Text Placeholder 5">
            <a:extLst>
              <a:ext uri="{FF2B5EF4-FFF2-40B4-BE49-F238E27FC236}">
                <a16:creationId xmlns:a16="http://schemas.microsoft.com/office/drawing/2014/main" id="{57164E9F-FD59-6846-BB9E-D6BE603E2F6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7896762" y="4851958"/>
            <a:ext cx="3168240" cy="216000"/>
          </a:xfrm>
          <a:prstGeom prst="rect">
            <a:avLst/>
          </a:prstGeom>
        </p:spPr>
        <p:txBody>
          <a:bodyPr lIns="0" tIns="3600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Job Position</a:t>
            </a:r>
          </a:p>
        </p:txBody>
      </p:sp>
      <p:sp>
        <p:nvSpPr>
          <p:cNvPr id="135" name="Text Placeholder 5">
            <a:extLst>
              <a:ext uri="{FF2B5EF4-FFF2-40B4-BE49-F238E27FC236}">
                <a16:creationId xmlns:a16="http://schemas.microsoft.com/office/drawing/2014/main" id="{BFAABD29-99A4-AF4F-847D-F82B682D01B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7896762" y="528409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Phone number</a:t>
            </a:r>
          </a:p>
        </p:txBody>
      </p:sp>
      <p:sp>
        <p:nvSpPr>
          <p:cNvPr id="136" name="Text Placeholder 5">
            <a:extLst>
              <a:ext uri="{FF2B5EF4-FFF2-40B4-BE49-F238E27FC236}">
                <a16:creationId xmlns:a16="http://schemas.microsoft.com/office/drawing/2014/main" id="{74BE0303-949F-8445-84A6-96A0C8234482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7896762" y="5500094"/>
            <a:ext cx="316824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1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Email address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3204550-A5A5-31DB-6ABA-065941F96D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48"/>
          </p:nvPr>
        </p:nvSpPr>
        <p:spPr/>
        <p:txBody>
          <a:bodyPr/>
          <a:lstStyle/>
          <a:p>
            <a:fld id="{90DF49B8-03B4-4DA8-9069-3118A9302286}" type="datetime1">
              <a:rPr lang="en-GB" smtClean="0"/>
              <a:t>12/02/2026</a:t>
            </a:fld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9058617-3B9B-BD7A-9507-958E503010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970689-15E1-925D-0040-16C71D9791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50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051160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ource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87488" y="6525000"/>
            <a:ext cx="9144512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8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8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8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8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7C340BC-16A9-6649-EF34-AAFDE214B5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7DCB94BF-3E22-486F-A1E5-17B5C5A74AFC}" type="datetime1">
              <a:rPr lang="en-GB" smtClean="0"/>
              <a:t>12/02/2026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8322D16-4DE7-822A-3574-99885BF60D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3711EB7-4C93-989A-FCC9-51FE93C0AC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1190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orient="horz" pos="3838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121A9A89-4485-5FDC-5E66-B5022C061C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B923FD47-75B6-A0F9-D10E-86C13339C3D4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89E4FD3F-8DB4-4216-C88E-CAAC5AFC00A8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A6239ABC-1C52-8EA3-0D3B-15D5674DDF64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DD97EA18-CB4C-8627-D4D6-590689644983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D46046C1-71C1-1AF3-14DA-DE103770C248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8ACD466-99F9-F4AD-5064-B3A0FC8E9BE6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6004BDC6-E95E-5858-738F-5074E6AB1A17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8882A681-B345-36F9-E838-3DCEB2CC4878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F69F9536-F95C-05B2-3D4B-7C750609F961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52B55680-59C5-1E4C-6E0C-515CDCBEB9C3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88EA9CAE-0F34-33F0-81A5-C88D9A5DDF92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1170CCA2-0188-F16C-5913-F83727B492CF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E1FB8C33-74B1-FF44-B12E-7845C91C4AE4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F46EEB80-75AD-99E7-0A92-D9EF8D6D93EE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57CFEAFD-1B92-8B2A-73CA-03990C64353D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3C23417D-2BC6-3B8B-C321-F55C3AE71E59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CBC09072-6D6E-6F70-4043-A6D22B8CE19A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A81978AC-A67E-6D25-FD25-6C8E9DA26497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78206771-9BDB-6C9C-D21F-B5B0088A3A19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9F7AF162-0DC8-07EE-6863-FD7310FA2D84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17C55752-8D8F-D9C5-8442-916953E9E222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A8A63583-14BB-BA3A-E84F-18BCCD925641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FA33261E-30F6-FBF0-1C22-5BDEB9EE4AD9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0" name="Rechteck 269">
              <a:extLst>
                <a:ext uri="{FF2B5EF4-FFF2-40B4-BE49-F238E27FC236}">
                  <a16:creationId xmlns:a16="http://schemas.microsoft.com/office/drawing/2014/main" id="{FF14B0D9-A903-787B-5D07-97C7FEAA940A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00DFF390-C437-32E7-6B9D-7AC6B0CF952D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62C84F2D-57BE-133A-B0C3-AB573883627A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8333C9F6-428A-3DC8-CC6C-86787D252C83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2366E17C-C46E-B58B-7624-A12DA4C7BF82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015C0C1C-4525-700F-50E7-8A1EE91490B5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B72DCBEF-0F2E-F266-8CB2-97075857124A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21EF83C0-BAE4-5437-A93C-F8A1CA39BD4E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152822FB-D591-A563-8626-223558CF7BE9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A40109E7-0622-067F-B326-D3DC65782826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A80B18BF-19DD-0315-0B57-32C18A87E988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21590603-99B4-B03A-DF64-896351996A2C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3" name="Rechteck 282">
              <a:extLst>
                <a:ext uri="{FF2B5EF4-FFF2-40B4-BE49-F238E27FC236}">
                  <a16:creationId xmlns:a16="http://schemas.microsoft.com/office/drawing/2014/main" id="{65EAB206-BED6-5C70-04F4-D2739626A016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D99C9E5D-FF77-823F-401F-0EC5638F0A33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8F720B2C-C675-7F4F-7998-07289EC2721A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C40D91AA-D1D0-8BF8-9113-26D0CFDC8205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F699B8C2-2FD0-F9CB-DA77-68BF124D8F52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0D3978D4-5BA0-BC31-1604-E388A2AD1202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368DF30E-D803-8B27-DF5D-E7EDB88F9769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21701AF5-951A-6522-BA2D-FF77B02E9C1E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94CF6D30-F006-AD27-3090-25FF3B1984A8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DEA0E544-F6E9-08A8-16E9-87B13128574D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6FFC0C97-3042-1646-21CC-2B015B2A1BAC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6084D666-FF9C-3525-45F4-51AA26482C07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55BB078B-AA78-9212-26BB-D1945D1E11D4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11E502A6-B8BD-4853-32D2-A6C39A0FEB18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A956D66F-FF35-3C4C-9586-26455FC12952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315ADA8A-1F40-43E0-1DAB-F38E2A735CDD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49CF7ED2-7C31-95A0-6B9F-D571BDAE9C71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E6057369-F83D-2258-0BF0-DCDB91928F34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DEA62CBF-5637-42F1-E803-1D1F58CDA03D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3DC33345-7084-0841-331F-94023FFC92C0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C45A7607-FE9A-FE8D-D976-FD4CEE51EB31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1260596F-109C-2484-AF96-092A4EB1BA69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3BF9E739-7588-0BC1-0D83-1A4158AD18C4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241F28FE-5F1A-5472-FA50-55D899C93B6F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D0A19E0D-42C9-391E-C7A2-1DBA1AD420B3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C391576D-8CE8-92E8-E9EC-DEB94E832825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9703B0D4-5E83-7E49-CA97-B53DC490FAAA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EBBE80AD-39CE-2297-9345-D517B6228FCA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2446D2A4-A2D8-7CB9-8D2D-424D6BFB5B86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4A21E4A1-C1D7-A795-CEAA-ACDA7FE8758E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416C810C-9BEB-BDC0-684D-40A4CE9B99B3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A5F24FBE-6702-34AC-0EF7-30CF9133C0A7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208BF697-19FD-0C81-5987-DD4A433E8202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1B632DAC-E841-C085-4545-043CED2BF314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B5215F3D-C00C-3979-37D5-BBAF0807A118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1CC78125-1F22-5AFD-EB20-65E7947D0C6C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89C94B2E-CDB4-B5AE-0F5C-4829D95429CF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6742A516-B16F-E3C8-B213-F5BC1E90AD9E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12B19DA7-FBA8-85D9-73FF-6BAAD0605F8C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CDC669FB-1C10-56A6-E729-61CF50ECA059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6A4EA3AB-3A42-3792-CB80-9098D37D1E72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EC63E718-1C8D-95A1-51A7-A57A66E09A31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11107D52-F765-E596-5925-77004932CFB6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DC4A7A7D-EA6F-3A6C-FBE9-B5E74FE4C530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10DA29F7-E3B4-1232-FD2E-34AF04D129E8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ACDB3704-38F9-0591-446A-BC5750A88987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11E2271F-ACCE-5D27-6FD7-751E0631E0B6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0B991E5C-B210-1ADF-4F1B-7F8AC2CBB876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21660858-2652-6D21-2FA9-A7351A42BA66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49E0ED3F-7B78-FF23-A4C0-A69D55183513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C506ED9D-9710-EB78-F2F4-0C4E6CA08633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BE45CC63-A1DC-36D5-3871-FC254ABC6C2F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EF86E4E8-90A1-6034-1789-FE76AED01B10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82E264E3-8BA0-114A-C3CC-37C73BEF9F7F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D94BB858-4E1C-E4D2-3EB0-70316D7F014E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FD578BD9-55D3-2B49-FCCC-E6510915EF37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1BD78D79-6FA5-D82D-07A1-AE48456B30A1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0A5B14DC-E15E-75BC-5358-820BCCE4F945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2961DAE7-9A51-76D3-A858-C7B8F5B0C892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202A1060-66A0-C58D-AE1C-5C9389D44B6A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4430C740-7255-83B7-A225-4E69E1549C5E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A5011DE3-6DC0-3279-0A72-A46BD4CE40D4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F08D7717-9867-D366-6BC8-90FED66F6484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D482CF92-E4B5-90B9-B24E-F238F53D3BFD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7103853B-6DEB-EDF0-F52E-3E291C260575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DA307EE1-AA34-75D6-F1E8-1E1CF13569E8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8A3942DA-C8A0-F795-1404-8F433FC1ECDF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72C18E86-35C3-A83D-9708-16A74BC24A04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F3C64D41-9C04-DA8A-8157-D209B709AC11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315A915F-1193-F71E-0FD4-794531D5ACC7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9E382C6A-F356-48AE-FC24-86F636DBFD86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DED4A34D-76D9-8901-418E-85C0A67BA8D2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D44D63B9-A92C-56DC-641E-2ECCA72D640F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27922954-8327-3C8A-75C2-7CA8C85740D3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73767A9F-4DE5-0E95-B0AE-2D56A315DEF3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924C9CF8-0896-F9F3-7D6C-497A3C8AB188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DA22004E-F780-5734-DAB9-DBC708E14042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2BB1E1F9-7B24-FF18-8DD8-D6EB7F3A211D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259A3DE5-E1C4-78D5-6F36-4F785DECF442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8E2AC191-CB14-8E70-E67C-A2AFA8434593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A337771F-FE59-CAD8-7008-1A722EA701B5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51A97863-5A09-D8AF-9A11-C098D669975F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EB813768-1689-5153-6393-3AF5421897AA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0" name="Rechteck 389">
              <a:extLst>
                <a:ext uri="{FF2B5EF4-FFF2-40B4-BE49-F238E27FC236}">
                  <a16:creationId xmlns:a16="http://schemas.microsoft.com/office/drawing/2014/main" id="{CA5EB520-C62D-E118-A710-86BEF41A7D64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1" name="Rechteck 390">
              <a:extLst>
                <a:ext uri="{FF2B5EF4-FFF2-40B4-BE49-F238E27FC236}">
                  <a16:creationId xmlns:a16="http://schemas.microsoft.com/office/drawing/2014/main" id="{2CDB9506-2B9D-F678-2EA4-3F15D146FCEE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2" name="Rechteck 391">
              <a:extLst>
                <a:ext uri="{FF2B5EF4-FFF2-40B4-BE49-F238E27FC236}">
                  <a16:creationId xmlns:a16="http://schemas.microsoft.com/office/drawing/2014/main" id="{86D5AF89-1A8B-DB77-72C3-17BE9ABBF773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3" name="Rechteck 392">
              <a:extLst>
                <a:ext uri="{FF2B5EF4-FFF2-40B4-BE49-F238E27FC236}">
                  <a16:creationId xmlns:a16="http://schemas.microsoft.com/office/drawing/2014/main" id="{242C00D5-050B-C6CD-6F0E-D9FA4E45171F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4" name="Rechteck 393">
              <a:extLst>
                <a:ext uri="{FF2B5EF4-FFF2-40B4-BE49-F238E27FC236}">
                  <a16:creationId xmlns:a16="http://schemas.microsoft.com/office/drawing/2014/main" id="{06893B78-98F6-342F-A7E4-53CD2FDE7039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5" name="Rechteck 394">
              <a:extLst>
                <a:ext uri="{FF2B5EF4-FFF2-40B4-BE49-F238E27FC236}">
                  <a16:creationId xmlns:a16="http://schemas.microsoft.com/office/drawing/2014/main" id="{4E461DEA-B867-CC8E-59D1-BC8F5D771F91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6" name="Rechteck 395">
              <a:extLst>
                <a:ext uri="{FF2B5EF4-FFF2-40B4-BE49-F238E27FC236}">
                  <a16:creationId xmlns:a16="http://schemas.microsoft.com/office/drawing/2014/main" id="{B1C8068D-BFAB-22C3-D190-1BBC335DB423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7" name="Rechteck 396">
              <a:extLst>
                <a:ext uri="{FF2B5EF4-FFF2-40B4-BE49-F238E27FC236}">
                  <a16:creationId xmlns:a16="http://schemas.microsoft.com/office/drawing/2014/main" id="{622B1CC8-790F-F7D4-DFE5-A90842E768DC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EA61A97C-0B3B-5C7E-4461-ADDB7FD97AFA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7FFBCE92-82AD-A992-D41F-B0A5F11CD7AB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70813162-0499-12FA-59D8-72D2926000D2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C6522CCD-5DB6-A551-A3A0-C580EF799E72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D65F26A3-906F-DD2F-D9A8-E96F1C2021C1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3" name="Rechteck 402">
              <a:extLst>
                <a:ext uri="{FF2B5EF4-FFF2-40B4-BE49-F238E27FC236}">
                  <a16:creationId xmlns:a16="http://schemas.microsoft.com/office/drawing/2014/main" id="{752092CD-F4BE-57F6-82B9-69B3D9733AFD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FCAC3DF6-8CC9-A1F3-818B-7EDBDBEA6989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5" name="Rechteck 404">
              <a:extLst>
                <a:ext uri="{FF2B5EF4-FFF2-40B4-BE49-F238E27FC236}">
                  <a16:creationId xmlns:a16="http://schemas.microsoft.com/office/drawing/2014/main" id="{C3C8F918-57A3-BC10-74A9-026732945877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6" name="Rechteck 405">
              <a:extLst>
                <a:ext uri="{FF2B5EF4-FFF2-40B4-BE49-F238E27FC236}">
                  <a16:creationId xmlns:a16="http://schemas.microsoft.com/office/drawing/2014/main" id="{46ABB76F-1A90-5FEB-B145-057A252E77CA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DC2B1D3C-E10E-26BA-9942-10621006E334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57DEF8BA-8926-3B13-777B-6D3BA13D46C2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37AD1C6B-847E-0A0C-48BC-66258314D1B1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0" name="Rechteck 409">
              <a:extLst>
                <a:ext uri="{FF2B5EF4-FFF2-40B4-BE49-F238E27FC236}">
                  <a16:creationId xmlns:a16="http://schemas.microsoft.com/office/drawing/2014/main" id="{FD59B179-E5EC-5933-1A1F-28FDE8C05E0B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DBBD3E64-B4D0-D35A-7652-60182BCEA32A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B83A1D92-B937-F0D8-967E-077B9ACCB511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39019A59-83A8-920E-BB48-0A868E20B2F3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AC55F9C4-98C0-C03F-4863-CA7F52850D12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B5D26C08-EEDF-5C70-1800-1BC0DEBC6401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6" name="Rechteck 415">
              <a:extLst>
                <a:ext uri="{FF2B5EF4-FFF2-40B4-BE49-F238E27FC236}">
                  <a16:creationId xmlns:a16="http://schemas.microsoft.com/office/drawing/2014/main" id="{F59402B9-C78A-66D6-6EA3-6E0861FE058B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66422A8A-D2EF-A371-9EA0-D9BE0C88BE03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8" name="Rechteck 417">
              <a:extLst>
                <a:ext uri="{FF2B5EF4-FFF2-40B4-BE49-F238E27FC236}">
                  <a16:creationId xmlns:a16="http://schemas.microsoft.com/office/drawing/2014/main" id="{0E2734D8-7F4E-6AE5-557B-BA7D289D87E5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9" name="Rechteck 418">
              <a:extLst>
                <a:ext uri="{FF2B5EF4-FFF2-40B4-BE49-F238E27FC236}">
                  <a16:creationId xmlns:a16="http://schemas.microsoft.com/office/drawing/2014/main" id="{18979B11-938B-C092-2B29-22C656A45D0A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0" name="Rechteck 419">
              <a:extLst>
                <a:ext uri="{FF2B5EF4-FFF2-40B4-BE49-F238E27FC236}">
                  <a16:creationId xmlns:a16="http://schemas.microsoft.com/office/drawing/2014/main" id="{E3FF60E9-7695-EAB2-ED80-2362FD63ED45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1" name="Rechteck 420">
              <a:extLst>
                <a:ext uri="{FF2B5EF4-FFF2-40B4-BE49-F238E27FC236}">
                  <a16:creationId xmlns:a16="http://schemas.microsoft.com/office/drawing/2014/main" id="{B5967872-C5AE-A67D-D1B2-FCFD00CA9FBC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2" name="Rechteck 421">
              <a:extLst>
                <a:ext uri="{FF2B5EF4-FFF2-40B4-BE49-F238E27FC236}">
                  <a16:creationId xmlns:a16="http://schemas.microsoft.com/office/drawing/2014/main" id="{F37EE8E1-96CA-4F74-50A7-B9AEDC507C00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3" name="Rechteck 422">
              <a:extLst>
                <a:ext uri="{FF2B5EF4-FFF2-40B4-BE49-F238E27FC236}">
                  <a16:creationId xmlns:a16="http://schemas.microsoft.com/office/drawing/2014/main" id="{52F06934-01BF-1224-581C-32BB5231A78D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4" name="Rechteck 423">
              <a:extLst>
                <a:ext uri="{FF2B5EF4-FFF2-40B4-BE49-F238E27FC236}">
                  <a16:creationId xmlns:a16="http://schemas.microsoft.com/office/drawing/2014/main" id="{3DF2E499-1062-E9E4-87C0-A3FB933A13DB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5" name="Rechteck 424">
              <a:extLst>
                <a:ext uri="{FF2B5EF4-FFF2-40B4-BE49-F238E27FC236}">
                  <a16:creationId xmlns:a16="http://schemas.microsoft.com/office/drawing/2014/main" id="{D9002FFA-E88E-6038-8ABD-C39481C01CDD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6" name="Rechteck 425">
              <a:extLst>
                <a:ext uri="{FF2B5EF4-FFF2-40B4-BE49-F238E27FC236}">
                  <a16:creationId xmlns:a16="http://schemas.microsoft.com/office/drawing/2014/main" id="{222A027A-1889-08DF-B08B-DF687E95049B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7" name="Rechteck 426">
              <a:extLst>
                <a:ext uri="{FF2B5EF4-FFF2-40B4-BE49-F238E27FC236}">
                  <a16:creationId xmlns:a16="http://schemas.microsoft.com/office/drawing/2014/main" id="{A527AD7A-BBDA-16D4-8556-6434EA9DF5AE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8" name="Rechteck 427">
              <a:extLst>
                <a:ext uri="{FF2B5EF4-FFF2-40B4-BE49-F238E27FC236}">
                  <a16:creationId xmlns:a16="http://schemas.microsoft.com/office/drawing/2014/main" id="{9C887B67-F8E1-427C-8C71-DCA02BC03F58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9" name="Rechteck 428">
              <a:extLst>
                <a:ext uri="{FF2B5EF4-FFF2-40B4-BE49-F238E27FC236}">
                  <a16:creationId xmlns:a16="http://schemas.microsoft.com/office/drawing/2014/main" id="{56728C68-6573-2BB4-E3BE-578F73074197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0" name="Rechteck 429">
              <a:extLst>
                <a:ext uri="{FF2B5EF4-FFF2-40B4-BE49-F238E27FC236}">
                  <a16:creationId xmlns:a16="http://schemas.microsoft.com/office/drawing/2014/main" id="{CA28ABBE-3F61-CAE6-0A8F-125B53614173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1" name="Rechteck 430">
              <a:extLst>
                <a:ext uri="{FF2B5EF4-FFF2-40B4-BE49-F238E27FC236}">
                  <a16:creationId xmlns:a16="http://schemas.microsoft.com/office/drawing/2014/main" id="{C14BE653-1501-1DED-6E7A-140FE9EC34EF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2" name="Rechteck 431">
              <a:extLst>
                <a:ext uri="{FF2B5EF4-FFF2-40B4-BE49-F238E27FC236}">
                  <a16:creationId xmlns:a16="http://schemas.microsoft.com/office/drawing/2014/main" id="{7CECE5C0-3C19-B27C-5E92-DA94187F6671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3" name="Rechteck 432">
              <a:extLst>
                <a:ext uri="{FF2B5EF4-FFF2-40B4-BE49-F238E27FC236}">
                  <a16:creationId xmlns:a16="http://schemas.microsoft.com/office/drawing/2014/main" id="{699026C4-ADE0-C95B-7731-04878F26D772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4" name="Rechteck 433">
              <a:extLst>
                <a:ext uri="{FF2B5EF4-FFF2-40B4-BE49-F238E27FC236}">
                  <a16:creationId xmlns:a16="http://schemas.microsoft.com/office/drawing/2014/main" id="{47408FD6-B65C-225F-D554-5A85BB4EB902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5" name="Rechteck 434">
              <a:extLst>
                <a:ext uri="{FF2B5EF4-FFF2-40B4-BE49-F238E27FC236}">
                  <a16:creationId xmlns:a16="http://schemas.microsoft.com/office/drawing/2014/main" id="{8D529776-AA74-4F63-9DE8-F045F22B9936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6" name="Rechteck 435">
              <a:extLst>
                <a:ext uri="{FF2B5EF4-FFF2-40B4-BE49-F238E27FC236}">
                  <a16:creationId xmlns:a16="http://schemas.microsoft.com/office/drawing/2014/main" id="{F7C64EA8-998D-23C9-BBB4-EF54BD9C4546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7" name="Rechteck 436">
              <a:extLst>
                <a:ext uri="{FF2B5EF4-FFF2-40B4-BE49-F238E27FC236}">
                  <a16:creationId xmlns:a16="http://schemas.microsoft.com/office/drawing/2014/main" id="{9679AE58-8DF7-7DDE-43E9-9C5CE58E1B8D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8" name="Rechteck 437">
              <a:extLst>
                <a:ext uri="{FF2B5EF4-FFF2-40B4-BE49-F238E27FC236}">
                  <a16:creationId xmlns:a16="http://schemas.microsoft.com/office/drawing/2014/main" id="{7FB540AD-CBA6-2EE3-9FBF-16ABD1BE4A73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9" name="Rechteck 438">
              <a:extLst>
                <a:ext uri="{FF2B5EF4-FFF2-40B4-BE49-F238E27FC236}">
                  <a16:creationId xmlns:a16="http://schemas.microsoft.com/office/drawing/2014/main" id="{516F418C-CAB2-F758-F9E6-47872DF90956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0" name="Rechteck 439">
              <a:extLst>
                <a:ext uri="{FF2B5EF4-FFF2-40B4-BE49-F238E27FC236}">
                  <a16:creationId xmlns:a16="http://schemas.microsoft.com/office/drawing/2014/main" id="{4158DECC-8940-7168-BC46-E6342DA624E9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1" name="Rechteck 440">
              <a:extLst>
                <a:ext uri="{FF2B5EF4-FFF2-40B4-BE49-F238E27FC236}">
                  <a16:creationId xmlns:a16="http://schemas.microsoft.com/office/drawing/2014/main" id="{60979196-FE3D-B00B-9226-9BAB6D3BBB46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2" name="Rechteck 441">
              <a:extLst>
                <a:ext uri="{FF2B5EF4-FFF2-40B4-BE49-F238E27FC236}">
                  <a16:creationId xmlns:a16="http://schemas.microsoft.com/office/drawing/2014/main" id="{37A9D8C3-F88F-6717-09FB-ED0542677BC7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3" name="Rechteck 442">
              <a:extLst>
                <a:ext uri="{FF2B5EF4-FFF2-40B4-BE49-F238E27FC236}">
                  <a16:creationId xmlns:a16="http://schemas.microsoft.com/office/drawing/2014/main" id="{4FDFE6C8-1C9E-2BBC-1B7F-94A9E3F7837D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4" name="Rechteck 443">
              <a:extLst>
                <a:ext uri="{FF2B5EF4-FFF2-40B4-BE49-F238E27FC236}">
                  <a16:creationId xmlns:a16="http://schemas.microsoft.com/office/drawing/2014/main" id="{877693BD-B93B-6249-93AC-52849B18522E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5" name="Rechteck 444">
              <a:extLst>
                <a:ext uri="{FF2B5EF4-FFF2-40B4-BE49-F238E27FC236}">
                  <a16:creationId xmlns:a16="http://schemas.microsoft.com/office/drawing/2014/main" id="{F4E47DB2-B4F9-06C0-F2BE-0506199FD928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6" name="Rechteck 445">
              <a:extLst>
                <a:ext uri="{FF2B5EF4-FFF2-40B4-BE49-F238E27FC236}">
                  <a16:creationId xmlns:a16="http://schemas.microsoft.com/office/drawing/2014/main" id="{71A88E64-4BCF-B40C-68B9-B8E9F93687CF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7" name="Rechteck 446">
              <a:extLst>
                <a:ext uri="{FF2B5EF4-FFF2-40B4-BE49-F238E27FC236}">
                  <a16:creationId xmlns:a16="http://schemas.microsoft.com/office/drawing/2014/main" id="{89267D17-3939-89EE-0444-310C67434B5D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8" name="Rechteck 447">
              <a:extLst>
                <a:ext uri="{FF2B5EF4-FFF2-40B4-BE49-F238E27FC236}">
                  <a16:creationId xmlns:a16="http://schemas.microsoft.com/office/drawing/2014/main" id="{76DE4728-5E92-A77A-073F-B83A4B4C0BA5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9" name="Rechteck 448">
              <a:extLst>
                <a:ext uri="{FF2B5EF4-FFF2-40B4-BE49-F238E27FC236}">
                  <a16:creationId xmlns:a16="http://schemas.microsoft.com/office/drawing/2014/main" id="{0B6EFD28-67E6-EB95-09EA-CB355C461927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0" name="Rechteck 449">
              <a:extLst>
                <a:ext uri="{FF2B5EF4-FFF2-40B4-BE49-F238E27FC236}">
                  <a16:creationId xmlns:a16="http://schemas.microsoft.com/office/drawing/2014/main" id="{8B584D13-9B6E-8266-35C0-CD6D624DCED4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1" name="Rechteck 450">
              <a:extLst>
                <a:ext uri="{FF2B5EF4-FFF2-40B4-BE49-F238E27FC236}">
                  <a16:creationId xmlns:a16="http://schemas.microsoft.com/office/drawing/2014/main" id="{23E74D8E-3AD4-0314-3970-89AA063D4467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2" name="Rechteck 451">
              <a:extLst>
                <a:ext uri="{FF2B5EF4-FFF2-40B4-BE49-F238E27FC236}">
                  <a16:creationId xmlns:a16="http://schemas.microsoft.com/office/drawing/2014/main" id="{20AF288A-B182-C940-45FD-6F6772DB1C0B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3" name="Rechteck 452">
              <a:extLst>
                <a:ext uri="{FF2B5EF4-FFF2-40B4-BE49-F238E27FC236}">
                  <a16:creationId xmlns:a16="http://schemas.microsoft.com/office/drawing/2014/main" id="{96A3B0F1-13F1-D8EB-D3CB-20046F43EBDD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4" name="Rechteck 453">
              <a:extLst>
                <a:ext uri="{FF2B5EF4-FFF2-40B4-BE49-F238E27FC236}">
                  <a16:creationId xmlns:a16="http://schemas.microsoft.com/office/drawing/2014/main" id="{F5D69ADC-ED8F-EFED-AC1A-5FF54F6671D3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5" name="Rechteck 454">
              <a:extLst>
                <a:ext uri="{FF2B5EF4-FFF2-40B4-BE49-F238E27FC236}">
                  <a16:creationId xmlns:a16="http://schemas.microsoft.com/office/drawing/2014/main" id="{9AB7805D-078D-E8C0-21AF-3D2EE29A81AE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6" name="Rechteck 455">
              <a:extLst>
                <a:ext uri="{FF2B5EF4-FFF2-40B4-BE49-F238E27FC236}">
                  <a16:creationId xmlns:a16="http://schemas.microsoft.com/office/drawing/2014/main" id="{B3909E2E-4849-A1E2-C1AE-B13E7C8E9448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7" name="Rechteck 456">
              <a:extLst>
                <a:ext uri="{FF2B5EF4-FFF2-40B4-BE49-F238E27FC236}">
                  <a16:creationId xmlns:a16="http://schemas.microsoft.com/office/drawing/2014/main" id="{C80CE572-1EBB-445E-CAD9-ED8F454C5B85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8" name="Rechteck 457">
              <a:extLst>
                <a:ext uri="{FF2B5EF4-FFF2-40B4-BE49-F238E27FC236}">
                  <a16:creationId xmlns:a16="http://schemas.microsoft.com/office/drawing/2014/main" id="{41B2BDED-31F3-9FF4-11D8-2384A284A410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9" name="Rechteck 458">
              <a:extLst>
                <a:ext uri="{FF2B5EF4-FFF2-40B4-BE49-F238E27FC236}">
                  <a16:creationId xmlns:a16="http://schemas.microsoft.com/office/drawing/2014/main" id="{5098BE76-A245-EE01-1A73-D08BA5291F77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0" name="Rechteck 459">
              <a:extLst>
                <a:ext uri="{FF2B5EF4-FFF2-40B4-BE49-F238E27FC236}">
                  <a16:creationId xmlns:a16="http://schemas.microsoft.com/office/drawing/2014/main" id="{D0EFB9E7-772C-607C-BF9F-4A9EF2F9B29A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cxnSp>
        <p:nvCxnSpPr>
          <p:cNvPr id="254" name="Line">
            <a:extLst>
              <a:ext uri="{FF2B5EF4-FFF2-40B4-BE49-F238E27FC236}">
                <a16:creationId xmlns:a16="http://schemas.microsoft.com/office/drawing/2014/main" id="{3C362275-2F3D-4002-8641-A07536B78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11424" y="908720"/>
            <a:ext cx="2304256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Title">
            <a:extLst>
              <a:ext uri="{FF2B5EF4-FFF2-40B4-BE49-F238E27FC236}">
                <a16:creationId xmlns:a16="http://schemas.microsoft.com/office/drawing/2014/main" id="{9258FB6E-C910-44A9-A44D-172431214D3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695400" y="1355786"/>
            <a:ext cx="2808312" cy="1440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tIns="0" rIns="216000" bIns="396000" anchor="b">
            <a:noAutofit/>
          </a:bodyPr>
          <a:lstStyle>
            <a:lvl1pPr algn="l">
              <a:lnSpc>
                <a:spcPct val="90000"/>
              </a:lnSpc>
              <a:defRPr sz="3000" baseline="0"/>
            </a:lvl1pPr>
          </a:lstStyle>
          <a:p>
            <a:r>
              <a:rPr lang="en-GB"/>
              <a:t>[Thank You]</a:t>
            </a:r>
          </a:p>
        </p:txBody>
      </p:sp>
      <p:sp>
        <p:nvSpPr>
          <p:cNvPr id="271" name="Subtitle">
            <a:extLst>
              <a:ext uri="{FF2B5EF4-FFF2-40B4-BE49-F238E27FC236}">
                <a16:creationId xmlns:a16="http://schemas.microsoft.com/office/drawing/2014/main" id="{9D8B1ACD-0D77-D763-CE04-A05AF5D42782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695400" y="5877304"/>
            <a:ext cx="2808312" cy="288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none" lIns="216000" tIns="0" rIns="216000" bIns="3600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pPr lvl="0"/>
            <a:r>
              <a:rPr lang="en-GB"/>
              <a:t>gfk.com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90D41C7E-69D6-9317-5EDD-7EC495CA3C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28448" y="335757"/>
            <a:ext cx="1365736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0099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|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121A9A89-4485-5FDC-5E66-B5022C061C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B923FD47-75B6-A0F9-D10E-86C13339C3D4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89E4FD3F-8DB4-4216-C88E-CAAC5AFC00A8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A6239ABC-1C52-8EA3-0D3B-15D5674DDF64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DD97EA18-CB4C-8627-D4D6-590689644983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D46046C1-71C1-1AF3-14DA-DE103770C248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8ACD466-99F9-F4AD-5064-B3A0FC8E9BE6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6004BDC6-E95E-5858-738F-5074E6AB1A17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8882A681-B345-36F9-E838-3DCEB2CC4878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F69F9536-F95C-05B2-3D4B-7C750609F961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52B55680-59C5-1E4C-6E0C-515CDCBEB9C3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88EA9CAE-0F34-33F0-81A5-C88D9A5DDF92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1170CCA2-0188-F16C-5913-F83727B492CF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E1FB8C33-74B1-FF44-B12E-7845C91C4AE4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F46EEB80-75AD-99E7-0A92-D9EF8D6D93EE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57CFEAFD-1B92-8B2A-73CA-03990C64353D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3C23417D-2BC6-3B8B-C321-F55C3AE71E59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CBC09072-6D6E-6F70-4043-A6D22B8CE19A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A81978AC-A67E-6D25-FD25-6C8E9DA26497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78206771-9BDB-6C9C-D21F-B5B0088A3A19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9F7AF162-0DC8-07EE-6863-FD7310FA2D84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17C55752-8D8F-D9C5-8442-916953E9E222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A8A63583-14BB-BA3A-E84F-18BCCD925641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FA33261E-30F6-FBF0-1C22-5BDEB9EE4AD9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0" name="Rechteck 269">
              <a:extLst>
                <a:ext uri="{FF2B5EF4-FFF2-40B4-BE49-F238E27FC236}">
                  <a16:creationId xmlns:a16="http://schemas.microsoft.com/office/drawing/2014/main" id="{FF14B0D9-A903-787B-5D07-97C7FEAA940A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00DFF390-C437-32E7-6B9D-7AC6B0CF952D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62C84F2D-57BE-133A-B0C3-AB573883627A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8333C9F6-428A-3DC8-CC6C-86787D252C83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2366E17C-C46E-B58B-7624-A12DA4C7BF82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015C0C1C-4525-700F-50E7-8A1EE91490B5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B72DCBEF-0F2E-F266-8CB2-97075857124A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21EF83C0-BAE4-5437-A93C-F8A1CA39BD4E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152822FB-D591-A563-8626-223558CF7BE9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A40109E7-0622-067F-B326-D3DC65782826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A80B18BF-19DD-0315-0B57-32C18A87E988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21590603-99B4-B03A-DF64-896351996A2C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3" name="Rechteck 282">
              <a:extLst>
                <a:ext uri="{FF2B5EF4-FFF2-40B4-BE49-F238E27FC236}">
                  <a16:creationId xmlns:a16="http://schemas.microsoft.com/office/drawing/2014/main" id="{65EAB206-BED6-5C70-04F4-D2739626A016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D99C9E5D-FF77-823F-401F-0EC5638F0A33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8F720B2C-C675-7F4F-7998-07289EC2721A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C40D91AA-D1D0-8BF8-9113-26D0CFDC8205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F699B8C2-2FD0-F9CB-DA77-68BF124D8F52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0D3978D4-5BA0-BC31-1604-E388A2AD1202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368DF30E-D803-8B27-DF5D-E7EDB88F9769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21701AF5-951A-6522-BA2D-FF77B02E9C1E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94CF6D30-F006-AD27-3090-25FF3B1984A8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DEA0E544-F6E9-08A8-16E9-87B13128574D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6FFC0C97-3042-1646-21CC-2B015B2A1BAC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6084D666-FF9C-3525-45F4-51AA26482C07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55BB078B-AA78-9212-26BB-D1945D1E11D4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11E502A6-B8BD-4853-32D2-A6C39A0FEB18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A956D66F-FF35-3C4C-9586-26455FC12952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315ADA8A-1F40-43E0-1DAB-F38E2A735CDD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49CF7ED2-7C31-95A0-6B9F-D571BDAE9C71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E6057369-F83D-2258-0BF0-DCDB91928F34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DEA62CBF-5637-42F1-E803-1D1F58CDA03D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3DC33345-7084-0841-331F-94023FFC92C0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C45A7607-FE9A-FE8D-D976-FD4CEE51EB31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1260596F-109C-2484-AF96-092A4EB1BA69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3BF9E739-7588-0BC1-0D83-1A4158AD18C4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241F28FE-5F1A-5472-FA50-55D899C93B6F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D0A19E0D-42C9-391E-C7A2-1DBA1AD420B3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C391576D-8CE8-92E8-E9EC-DEB94E832825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9703B0D4-5E83-7E49-CA97-B53DC490FAAA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EBBE80AD-39CE-2297-9345-D517B6228FCA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2446D2A4-A2D8-7CB9-8D2D-424D6BFB5B86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4A21E4A1-C1D7-A795-CEAA-ACDA7FE8758E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416C810C-9BEB-BDC0-684D-40A4CE9B99B3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A5F24FBE-6702-34AC-0EF7-30CF9133C0A7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208BF697-19FD-0C81-5987-DD4A433E8202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1B632DAC-E841-C085-4545-043CED2BF314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B5215F3D-C00C-3979-37D5-BBAF0807A118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1CC78125-1F22-5AFD-EB20-65E7947D0C6C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89C94B2E-CDB4-B5AE-0F5C-4829D95429CF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6742A516-B16F-E3C8-B213-F5BC1E90AD9E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12B19DA7-FBA8-85D9-73FF-6BAAD0605F8C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CDC669FB-1C10-56A6-E729-61CF50ECA059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6A4EA3AB-3A42-3792-CB80-9098D37D1E72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EC63E718-1C8D-95A1-51A7-A57A66E09A31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11107D52-F765-E596-5925-77004932CFB6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DC4A7A7D-EA6F-3A6C-FBE9-B5E74FE4C530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10DA29F7-E3B4-1232-FD2E-34AF04D129E8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ACDB3704-38F9-0591-446A-BC5750A88987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11E2271F-ACCE-5D27-6FD7-751E0631E0B6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0B991E5C-B210-1ADF-4F1B-7F8AC2CBB876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21660858-2652-6D21-2FA9-A7351A42BA66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49E0ED3F-7B78-FF23-A4C0-A69D55183513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C506ED9D-9710-EB78-F2F4-0C4E6CA08633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BE45CC63-A1DC-36D5-3871-FC254ABC6C2F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EF86E4E8-90A1-6034-1789-FE76AED01B10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82E264E3-8BA0-114A-C3CC-37C73BEF9F7F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D94BB858-4E1C-E4D2-3EB0-70316D7F014E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FD578BD9-55D3-2B49-FCCC-E6510915EF37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1BD78D79-6FA5-D82D-07A1-AE48456B30A1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0A5B14DC-E15E-75BC-5358-820BCCE4F945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2961DAE7-9A51-76D3-A858-C7B8F5B0C892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202A1060-66A0-C58D-AE1C-5C9389D44B6A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4430C740-7255-83B7-A225-4E69E1549C5E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A5011DE3-6DC0-3279-0A72-A46BD4CE40D4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F08D7717-9867-D366-6BC8-90FED66F6484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D482CF92-E4B5-90B9-B24E-F238F53D3BFD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7103853B-6DEB-EDF0-F52E-3E291C260575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DA307EE1-AA34-75D6-F1E8-1E1CF13569E8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8A3942DA-C8A0-F795-1404-8F433FC1ECDF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72C18E86-35C3-A83D-9708-16A74BC24A04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F3C64D41-9C04-DA8A-8157-D209B709AC11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315A915F-1193-F71E-0FD4-794531D5ACC7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9E382C6A-F356-48AE-FC24-86F636DBFD86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DED4A34D-76D9-8901-418E-85C0A67BA8D2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D44D63B9-A92C-56DC-641E-2ECCA72D640F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27922954-8327-3C8A-75C2-7CA8C85740D3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73767A9F-4DE5-0E95-B0AE-2D56A315DEF3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924C9CF8-0896-F9F3-7D6C-497A3C8AB188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DA22004E-F780-5734-DAB9-DBC708E14042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2BB1E1F9-7B24-FF18-8DD8-D6EB7F3A211D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259A3DE5-E1C4-78D5-6F36-4F785DECF442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8E2AC191-CB14-8E70-E67C-A2AFA8434593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A337771F-FE59-CAD8-7008-1A722EA701B5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51A97863-5A09-D8AF-9A11-C098D669975F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EB813768-1689-5153-6393-3AF5421897AA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0" name="Rechteck 389">
              <a:extLst>
                <a:ext uri="{FF2B5EF4-FFF2-40B4-BE49-F238E27FC236}">
                  <a16:creationId xmlns:a16="http://schemas.microsoft.com/office/drawing/2014/main" id="{CA5EB520-C62D-E118-A710-86BEF41A7D64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1" name="Rechteck 390">
              <a:extLst>
                <a:ext uri="{FF2B5EF4-FFF2-40B4-BE49-F238E27FC236}">
                  <a16:creationId xmlns:a16="http://schemas.microsoft.com/office/drawing/2014/main" id="{2CDB9506-2B9D-F678-2EA4-3F15D146FCEE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2" name="Rechteck 391">
              <a:extLst>
                <a:ext uri="{FF2B5EF4-FFF2-40B4-BE49-F238E27FC236}">
                  <a16:creationId xmlns:a16="http://schemas.microsoft.com/office/drawing/2014/main" id="{86D5AF89-1A8B-DB77-72C3-17BE9ABBF773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3" name="Rechteck 392">
              <a:extLst>
                <a:ext uri="{FF2B5EF4-FFF2-40B4-BE49-F238E27FC236}">
                  <a16:creationId xmlns:a16="http://schemas.microsoft.com/office/drawing/2014/main" id="{242C00D5-050B-C6CD-6F0E-D9FA4E45171F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4" name="Rechteck 393">
              <a:extLst>
                <a:ext uri="{FF2B5EF4-FFF2-40B4-BE49-F238E27FC236}">
                  <a16:creationId xmlns:a16="http://schemas.microsoft.com/office/drawing/2014/main" id="{06893B78-98F6-342F-A7E4-53CD2FDE7039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5" name="Rechteck 394">
              <a:extLst>
                <a:ext uri="{FF2B5EF4-FFF2-40B4-BE49-F238E27FC236}">
                  <a16:creationId xmlns:a16="http://schemas.microsoft.com/office/drawing/2014/main" id="{4E461DEA-B867-CC8E-59D1-BC8F5D771F91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6" name="Rechteck 395">
              <a:extLst>
                <a:ext uri="{FF2B5EF4-FFF2-40B4-BE49-F238E27FC236}">
                  <a16:creationId xmlns:a16="http://schemas.microsoft.com/office/drawing/2014/main" id="{B1C8068D-BFAB-22C3-D190-1BBC335DB423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7" name="Rechteck 396">
              <a:extLst>
                <a:ext uri="{FF2B5EF4-FFF2-40B4-BE49-F238E27FC236}">
                  <a16:creationId xmlns:a16="http://schemas.microsoft.com/office/drawing/2014/main" id="{622B1CC8-790F-F7D4-DFE5-A90842E768DC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EA61A97C-0B3B-5C7E-4461-ADDB7FD97AFA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7FFBCE92-82AD-A992-D41F-B0A5F11CD7AB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70813162-0499-12FA-59D8-72D2926000D2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C6522CCD-5DB6-A551-A3A0-C580EF799E72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D65F26A3-906F-DD2F-D9A8-E96F1C2021C1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3" name="Rechteck 402">
              <a:extLst>
                <a:ext uri="{FF2B5EF4-FFF2-40B4-BE49-F238E27FC236}">
                  <a16:creationId xmlns:a16="http://schemas.microsoft.com/office/drawing/2014/main" id="{752092CD-F4BE-57F6-82B9-69B3D9733AFD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FCAC3DF6-8CC9-A1F3-818B-7EDBDBEA6989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5" name="Rechteck 404">
              <a:extLst>
                <a:ext uri="{FF2B5EF4-FFF2-40B4-BE49-F238E27FC236}">
                  <a16:creationId xmlns:a16="http://schemas.microsoft.com/office/drawing/2014/main" id="{C3C8F918-57A3-BC10-74A9-026732945877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6" name="Rechteck 405">
              <a:extLst>
                <a:ext uri="{FF2B5EF4-FFF2-40B4-BE49-F238E27FC236}">
                  <a16:creationId xmlns:a16="http://schemas.microsoft.com/office/drawing/2014/main" id="{46ABB76F-1A90-5FEB-B145-057A252E77CA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DC2B1D3C-E10E-26BA-9942-10621006E334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57DEF8BA-8926-3B13-777B-6D3BA13D46C2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37AD1C6B-847E-0A0C-48BC-66258314D1B1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0" name="Rechteck 409">
              <a:extLst>
                <a:ext uri="{FF2B5EF4-FFF2-40B4-BE49-F238E27FC236}">
                  <a16:creationId xmlns:a16="http://schemas.microsoft.com/office/drawing/2014/main" id="{FD59B179-E5EC-5933-1A1F-28FDE8C05E0B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DBBD3E64-B4D0-D35A-7652-60182BCEA32A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B83A1D92-B937-F0D8-967E-077B9ACCB511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39019A59-83A8-920E-BB48-0A868E20B2F3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AC55F9C4-98C0-C03F-4863-CA7F52850D12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B5D26C08-EEDF-5C70-1800-1BC0DEBC6401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6" name="Rechteck 415">
              <a:extLst>
                <a:ext uri="{FF2B5EF4-FFF2-40B4-BE49-F238E27FC236}">
                  <a16:creationId xmlns:a16="http://schemas.microsoft.com/office/drawing/2014/main" id="{F59402B9-C78A-66D6-6EA3-6E0861FE058B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66422A8A-D2EF-A371-9EA0-D9BE0C88BE03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8" name="Rechteck 417">
              <a:extLst>
                <a:ext uri="{FF2B5EF4-FFF2-40B4-BE49-F238E27FC236}">
                  <a16:creationId xmlns:a16="http://schemas.microsoft.com/office/drawing/2014/main" id="{0E2734D8-7F4E-6AE5-557B-BA7D289D87E5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9" name="Rechteck 418">
              <a:extLst>
                <a:ext uri="{FF2B5EF4-FFF2-40B4-BE49-F238E27FC236}">
                  <a16:creationId xmlns:a16="http://schemas.microsoft.com/office/drawing/2014/main" id="{18979B11-938B-C092-2B29-22C656A45D0A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0" name="Rechteck 419">
              <a:extLst>
                <a:ext uri="{FF2B5EF4-FFF2-40B4-BE49-F238E27FC236}">
                  <a16:creationId xmlns:a16="http://schemas.microsoft.com/office/drawing/2014/main" id="{E3FF60E9-7695-EAB2-ED80-2362FD63ED45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1" name="Rechteck 420">
              <a:extLst>
                <a:ext uri="{FF2B5EF4-FFF2-40B4-BE49-F238E27FC236}">
                  <a16:creationId xmlns:a16="http://schemas.microsoft.com/office/drawing/2014/main" id="{B5967872-C5AE-A67D-D1B2-FCFD00CA9FBC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2" name="Rechteck 421">
              <a:extLst>
                <a:ext uri="{FF2B5EF4-FFF2-40B4-BE49-F238E27FC236}">
                  <a16:creationId xmlns:a16="http://schemas.microsoft.com/office/drawing/2014/main" id="{F37EE8E1-96CA-4F74-50A7-B9AEDC507C00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3" name="Rechteck 422">
              <a:extLst>
                <a:ext uri="{FF2B5EF4-FFF2-40B4-BE49-F238E27FC236}">
                  <a16:creationId xmlns:a16="http://schemas.microsoft.com/office/drawing/2014/main" id="{52F06934-01BF-1224-581C-32BB5231A78D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4" name="Rechteck 423">
              <a:extLst>
                <a:ext uri="{FF2B5EF4-FFF2-40B4-BE49-F238E27FC236}">
                  <a16:creationId xmlns:a16="http://schemas.microsoft.com/office/drawing/2014/main" id="{3DF2E499-1062-E9E4-87C0-A3FB933A13DB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5" name="Rechteck 424">
              <a:extLst>
                <a:ext uri="{FF2B5EF4-FFF2-40B4-BE49-F238E27FC236}">
                  <a16:creationId xmlns:a16="http://schemas.microsoft.com/office/drawing/2014/main" id="{D9002FFA-E88E-6038-8ABD-C39481C01CDD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6" name="Rechteck 425">
              <a:extLst>
                <a:ext uri="{FF2B5EF4-FFF2-40B4-BE49-F238E27FC236}">
                  <a16:creationId xmlns:a16="http://schemas.microsoft.com/office/drawing/2014/main" id="{222A027A-1889-08DF-B08B-DF687E95049B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7" name="Rechteck 426">
              <a:extLst>
                <a:ext uri="{FF2B5EF4-FFF2-40B4-BE49-F238E27FC236}">
                  <a16:creationId xmlns:a16="http://schemas.microsoft.com/office/drawing/2014/main" id="{A527AD7A-BBDA-16D4-8556-6434EA9DF5AE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8" name="Rechteck 427">
              <a:extLst>
                <a:ext uri="{FF2B5EF4-FFF2-40B4-BE49-F238E27FC236}">
                  <a16:creationId xmlns:a16="http://schemas.microsoft.com/office/drawing/2014/main" id="{9C887B67-F8E1-427C-8C71-DCA02BC03F58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9" name="Rechteck 428">
              <a:extLst>
                <a:ext uri="{FF2B5EF4-FFF2-40B4-BE49-F238E27FC236}">
                  <a16:creationId xmlns:a16="http://schemas.microsoft.com/office/drawing/2014/main" id="{56728C68-6573-2BB4-E3BE-578F73074197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0" name="Rechteck 429">
              <a:extLst>
                <a:ext uri="{FF2B5EF4-FFF2-40B4-BE49-F238E27FC236}">
                  <a16:creationId xmlns:a16="http://schemas.microsoft.com/office/drawing/2014/main" id="{CA28ABBE-3F61-CAE6-0A8F-125B53614173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1" name="Rechteck 430">
              <a:extLst>
                <a:ext uri="{FF2B5EF4-FFF2-40B4-BE49-F238E27FC236}">
                  <a16:creationId xmlns:a16="http://schemas.microsoft.com/office/drawing/2014/main" id="{C14BE653-1501-1DED-6E7A-140FE9EC34EF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2" name="Rechteck 431">
              <a:extLst>
                <a:ext uri="{FF2B5EF4-FFF2-40B4-BE49-F238E27FC236}">
                  <a16:creationId xmlns:a16="http://schemas.microsoft.com/office/drawing/2014/main" id="{7CECE5C0-3C19-B27C-5E92-DA94187F6671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3" name="Rechteck 432">
              <a:extLst>
                <a:ext uri="{FF2B5EF4-FFF2-40B4-BE49-F238E27FC236}">
                  <a16:creationId xmlns:a16="http://schemas.microsoft.com/office/drawing/2014/main" id="{699026C4-ADE0-C95B-7731-04878F26D772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4" name="Rechteck 433">
              <a:extLst>
                <a:ext uri="{FF2B5EF4-FFF2-40B4-BE49-F238E27FC236}">
                  <a16:creationId xmlns:a16="http://schemas.microsoft.com/office/drawing/2014/main" id="{47408FD6-B65C-225F-D554-5A85BB4EB902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5" name="Rechteck 434">
              <a:extLst>
                <a:ext uri="{FF2B5EF4-FFF2-40B4-BE49-F238E27FC236}">
                  <a16:creationId xmlns:a16="http://schemas.microsoft.com/office/drawing/2014/main" id="{8D529776-AA74-4F63-9DE8-F045F22B9936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6" name="Rechteck 435">
              <a:extLst>
                <a:ext uri="{FF2B5EF4-FFF2-40B4-BE49-F238E27FC236}">
                  <a16:creationId xmlns:a16="http://schemas.microsoft.com/office/drawing/2014/main" id="{F7C64EA8-998D-23C9-BBB4-EF54BD9C4546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7" name="Rechteck 436">
              <a:extLst>
                <a:ext uri="{FF2B5EF4-FFF2-40B4-BE49-F238E27FC236}">
                  <a16:creationId xmlns:a16="http://schemas.microsoft.com/office/drawing/2014/main" id="{9679AE58-8DF7-7DDE-43E9-9C5CE58E1B8D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8" name="Rechteck 437">
              <a:extLst>
                <a:ext uri="{FF2B5EF4-FFF2-40B4-BE49-F238E27FC236}">
                  <a16:creationId xmlns:a16="http://schemas.microsoft.com/office/drawing/2014/main" id="{7FB540AD-CBA6-2EE3-9FBF-16ABD1BE4A73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9" name="Rechteck 438">
              <a:extLst>
                <a:ext uri="{FF2B5EF4-FFF2-40B4-BE49-F238E27FC236}">
                  <a16:creationId xmlns:a16="http://schemas.microsoft.com/office/drawing/2014/main" id="{516F418C-CAB2-F758-F9E6-47872DF90956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0" name="Rechteck 439">
              <a:extLst>
                <a:ext uri="{FF2B5EF4-FFF2-40B4-BE49-F238E27FC236}">
                  <a16:creationId xmlns:a16="http://schemas.microsoft.com/office/drawing/2014/main" id="{4158DECC-8940-7168-BC46-E6342DA624E9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1" name="Rechteck 440">
              <a:extLst>
                <a:ext uri="{FF2B5EF4-FFF2-40B4-BE49-F238E27FC236}">
                  <a16:creationId xmlns:a16="http://schemas.microsoft.com/office/drawing/2014/main" id="{60979196-FE3D-B00B-9226-9BAB6D3BBB46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2" name="Rechteck 441">
              <a:extLst>
                <a:ext uri="{FF2B5EF4-FFF2-40B4-BE49-F238E27FC236}">
                  <a16:creationId xmlns:a16="http://schemas.microsoft.com/office/drawing/2014/main" id="{37A9D8C3-F88F-6717-09FB-ED0542677BC7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3" name="Rechteck 442">
              <a:extLst>
                <a:ext uri="{FF2B5EF4-FFF2-40B4-BE49-F238E27FC236}">
                  <a16:creationId xmlns:a16="http://schemas.microsoft.com/office/drawing/2014/main" id="{4FDFE6C8-1C9E-2BBC-1B7F-94A9E3F7837D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4" name="Rechteck 443">
              <a:extLst>
                <a:ext uri="{FF2B5EF4-FFF2-40B4-BE49-F238E27FC236}">
                  <a16:creationId xmlns:a16="http://schemas.microsoft.com/office/drawing/2014/main" id="{877693BD-B93B-6249-93AC-52849B18522E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5" name="Rechteck 444">
              <a:extLst>
                <a:ext uri="{FF2B5EF4-FFF2-40B4-BE49-F238E27FC236}">
                  <a16:creationId xmlns:a16="http://schemas.microsoft.com/office/drawing/2014/main" id="{F4E47DB2-B4F9-06C0-F2BE-0506199FD928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6" name="Rechteck 445">
              <a:extLst>
                <a:ext uri="{FF2B5EF4-FFF2-40B4-BE49-F238E27FC236}">
                  <a16:creationId xmlns:a16="http://schemas.microsoft.com/office/drawing/2014/main" id="{71A88E64-4BCF-B40C-68B9-B8E9F93687CF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7" name="Rechteck 446">
              <a:extLst>
                <a:ext uri="{FF2B5EF4-FFF2-40B4-BE49-F238E27FC236}">
                  <a16:creationId xmlns:a16="http://schemas.microsoft.com/office/drawing/2014/main" id="{89267D17-3939-89EE-0444-310C67434B5D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8" name="Rechteck 447">
              <a:extLst>
                <a:ext uri="{FF2B5EF4-FFF2-40B4-BE49-F238E27FC236}">
                  <a16:creationId xmlns:a16="http://schemas.microsoft.com/office/drawing/2014/main" id="{76DE4728-5E92-A77A-073F-B83A4B4C0BA5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9" name="Rechteck 448">
              <a:extLst>
                <a:ext uri="{FF2B5EF4-FFF2-40B4-BE49-F238E27FC236}">
                  <a16:creationId xmlns:a16="http://schemas.microsoft.com/office/drawing/2014/main" id="{0B6EFD28-67E6-EB95-09EA-CB355C461927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0" name="Rechteck 449">
              <a:extLst>
                <a:ext uri="{FF2B5EF4-FFF2-40B4-BE49-F238E27FC236}">
                  <a16:creationId xmlns:a16="http://schemas.microsoft.com/office/drawing/2014/main" id="{8B584D13-9B6E-8266-35C0-CD6D624DCED4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1" name="Rechteck 450">
              <a:extLst>
                <a:ext uri="{FF2B5EF4-FFF2-40B4-BE49-F238E27FC236}">
                  <a16:creationId xmlns:a16="http://schemas.microsoft.com/office/drawing/2014/main" id="{23E74D8E-3AD4-0314-3970-89AA063D4467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2" name="Rechteck 451">
              <a:extLst>
                <a:ext uri="{FF2B5EF4-FFF2-40B4-BE49-F238E27FC236}">
                  <a16:creationId xmlns:a16="http://schemas.microsoft.com/office/drawing/2014/main" id="{20AF288A-B182-C940-45FD-6F6772DB1C0B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3" name="Rechteck 452">
              <a:extLst>
                <a:ext uri="{FF2B5EF4-FFF2-40B4-BE49-F238E27FC236}">
                  <a16:creationId xmlns:a16="http://schemas.microsoft.com/office/drawing/2014/main" id="{96A3B0F1-13F1-D8EB-D3CB-20046F43EBDD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4" name="Rechteck 453">
              <a:extLst>
                <a:ext uri="{FF2B5EF4-FFF2-40B4-BE49-F238E27FC236}">
                  <a16:creationId xmlns:a16="http://schemas.microsoft.com/office/drawing/2014/main" id="{F5D69ADC-ED8F-EFED-AC1A-5FF54F6671D3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5" name="Rechteck 454">
              <a:extLst>
                <a:ext uri="{FF2B5EF4-FFF2-40B4-BE49-F238E27FC236}">
                  <a16:creationId xmlns:a16="http://schemas.microsoft.com/office/drawing/2014/main" id="{9AB7805D-078D-E8C0-21AF-3D2EE29A81AE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6" name="Rechteck 455">
              <a:extLst>
                <a:ext uri="{FF2B5EF4-FFF2-40B4-BE49-F238E27FC236}">
                  <a16:creationId xmlns:a16="http://schemas.microsoft.com/office/drawing/2014/main" id="{B3909E2E-4849-A1E2-C1AE-B13E7C8E9448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7" name="Rechteck 456">
              <a:extLst>
                <a:ext uri="{FF2B5EF4-FFF2-40B4-BE49-F238E27FC236}">
                  <a16:creationId xmlns:a16="http://schemas.microsoft.com/office/drawing/2014/main" id="{C80CE572-1EBB-445E-CAD9-ED8F454C5B85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8" name="Rechteck 457">
              <a:extLst>
                <a:ext uri="{FF2B5EF4-FFF2-40B4-BE49-F238E27FC236}">
                  <a16:creationId xmlns:a16="http://schemas.microsoft.com/office/drawing/2014/main" id="{41B2BDED-31F3-9FF4-11D8-2384A284A410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9" name="Rechteck 458">
              <a:extLst>
                <a:ext uri="{FF2B5EF4-FFF2-40B4-BE49-F238E27FC236}">
                  <a16:creationId xmlns:a16="http://schemas.microsoft.com/office/drawing/2014/main" id="{5098BE76-A245-EE01-1A73-D08BA5291F77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0" name="Rechteck 459">
              <a:extLst>
                <a:ext uri="{FF2B5EF4-FFF2-40B4-BE49-F238E27FC236}">
                  <a16:creationId xmlns:a16="http://schemas.microsoft.com/office/drawing/2014/main" id="{D0EFB9E7-772C-607C-BF9F-4A9EF2F9B29A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cxnSp>
        <p:nvCxnSpPr>
          <p:cNvPr id="254" name="Line">
            <a:extLst>
              <a:ext uri="{FF2B5EF4-FFF2-40B4-BE49-F238E27FC236}">
                <a16:creationId xmlns:a16="http://schemas.microsoft.com/office/drawing/2014/main" id="{3C362275-2F3D-4002-8641-A07536B78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11424" y="908720"/>
            <a:ext cx="2304256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Title">
            <a:extLst>
              <a:ext uri="{FF2B5EF4-FFF2-40B4-BE49-F238E27FC236}">
                <a16:creationId xmlns:a16="http://schemas.microsoft.com/office/drawing/2014/main" id="{9258FB6E-C910-44A9-A44D-172431214D3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695400" y="1355786"/>
            <a:ext cx="2808312" cy="1440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tIns="0" rIns="216000" bIns="396000" anchor="b">
            <a:noAutofit/>
          </a:bodyPr>
          <a:lstStyle>
            <a:lvl1pPr algn="l">
              <a:lnSpc>
                <a:spcPct val="90000"/>
              </a:lnSpc>
              <a:defRPr sz="3000" baseline="0"/>
            </a:lvl1pPr>
          </a:lstStyle>
          <a:p>
            <a:r>
              <a:rPr lang="en-GB"/>
              <a:t>[Thank You]</a:t>
            </a:r>
          </a:p>
        </p:txBody>
      </p:sp>
      <p:sp>
        <p:nvSpPr>
          <p:cNvPr id="271" name="Subtitle">
            <a:extLst>
              <a:ext uri="{FF2B5EF4-FFF2-40B4-BE49-F238E27FC236}">
                <a16:creationId xmlns:a16="http://schemas.microsoft.com/office/drawing/2014/main" id="{9D8B1ACD-0D77-D763-CE04-A05AF5D42782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695400" y="5877304"/>
            <a:ext cx="2808312" cy="288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none" lIns="216000" tIns="0" rIns="216000" bIns="3600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pPr lvl="0"/>
            <a:r>
              <a:rPr lang="en-GB"/>
              <a:t>gfk.com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9EA69A1-4C82-EDD3-020E-1DEB4E9DF7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28448" y="335757"/>
            <a:ext cx="1365736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8705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BA3D5077-9B7E-7724-D9D3-945B7856EF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FC8F0747-D2B9-9C69-7610-E2BD2EFC8B25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B0AA2A1E-23FE-92FE-C7C4-29929312C782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1847C1AF-7CA7-5A4D-0AF8-C4BFC0CF08A3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6D5360A6-957F-5917-F189-1C9F1011CEE3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E43B47E5-2148-A509-2746-0CF482C264C3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962D4F53-A18B-00D3-4670-21E6DFD18054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23A62B33-E5FC-8E76-5668-C55163DB5FF0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595BC0B5-5F66-B937-AEEC-323520D55CDB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9C1106C1-B34E-A692-10C1-4F00FEFC644E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9705481E-68D1-068D-B5F2-7F1FE6545F30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59285C40-B342-7821-6FAB-DB1D7B2352CF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4544A6DF-78A6-07C7-59CD-41D0FC1E883D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8E567715-24D2-262E-1A34-40CBB5D02310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1894A824-9907-6513-A8E8-1B14387A1874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80245634-1E65-633F-19D0-FAFF5EAFF13E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B3DC6ABE-2824-B073-56CB-CE22FBE2AEB5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25451F4C-B902-0706-9879-07B6EE90E134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30B63979-959C-8449-22FB-F23A5A24F161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00A7106E-3DF6-E40A-DA3C-67670B598B6F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B0FBFB94-C965-55E6-63D8-12556665668A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DD3D1E7D-CE82-9FBE-923C-734E7DCB3DDB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FCC158CB-9187-3038-C37A-E7CA8A5F266F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9C55774F-5D9E-9D9E-F618-3A7AC531E950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1" name="Rechteck 270">
              <a:extLst>
                <a:ext uri="{FF2B5EF4-FFF2-40B4-BE49-F238E27FC236}">
                  <a16:creationId xmlns:a16="http://schemas.microsoft.com/office/drawing/2014/main" id="{42358AE8-14F1-7A8D-88BE-29F98A821D74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0A759728-80FE-5B0D-C3A9-E6BF3767DB19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4D282FD7-AF74-0DBD-208F-1F85DC964A98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5316D914-E49E-41DA-478B-4670F30D8152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3F910A23-1D66-AC30-2341-F8C281D890A5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FE414133-D4B6-F3FE-FE68-9E9114EAC361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4CB83CA7-F9F2-D71F-E9A5-622F2349921F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9FE16A68-DC09-9857-2758-3F26BAADF38C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25240E12-3A07-F85F-996B-4E7E007FA930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BA7AC4A8-9289-896E-F3AB-690B66203797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047447A1-9AAD-802E-70AA-DC819CD9BF9D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D6166C1E-F14B-C238-F6DD-BDBC91736CCE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86769C67-46D4-3D7D-C274-51A2E51DAE0E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2590EB2F-6C23-E1E2-3EA1-CAA4079D6EF3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1A0660A1-8826-DD73-B0A2-EBE50E54323B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6D62FF2A-8899-DF96-E5D4-26C7591A265F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E0A6A6F7-B24F-0BC8-4F7A-291E226BB054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87BE13AC-7CC3-7DF1-B358-2155FBA3BD41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A15C4238-BA9C-79F0-EC53-1D55DBEF4A85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D984FD10-52FB-1339-196A-9C1073313056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CBD7BC47-5891-AA86-4907-6BF0BB1949F6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E154F46B-0BA3-5260-F7BE-99885D7E0C66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6B09909E-5B82-2459-A244-F0C58EDF44BF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9C253E74-C542-58E5-4721-4A2873BA7D49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42A8FC51-5D2C-419C-9520-DBBFB1A4E80E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4BDFB5B8-381A-D69B-CCC3-512E0D88FB4D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81590F6A-1B2E-227F-DA18-1FDD43819191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7CA7D60B-9F1F-FFD2-23DB-77F7936CC4AF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6D73F32B-F262-5900-ED15-0BC41A151548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67C70F0D-FBBF-3E3C-C019-2CE2E0073716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3C8BECFF-E490-52A2-FB23-6EC90532C8CD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2C9128F4-FEBD-275A-E98A-E72BEF9A619D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2E71DC1C-6AAA-9334-1E2A-E47BCEB42AB4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59B0A64E-527F-EA0D-E8FD-55D5FF53415D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A0898DFA-CE4E-83C3-6E53-03E927DB04BD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E9B2874E-8D89-CE1D-15EE-B6D85945D0BE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31FA3C88-34F5-45C0-37B7-4981B29133FC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B354F436-1DE7-171E-A759-86A3F69C706E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B339F93C-2CDC-7A82-E210-864B95AC1261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72529F09-18F5-EF39-90BF-15C18657B663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013FD637-C28D-62A3-2248-BE230DC55FF9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430F1B93-5417-DF24-FB3D-8E2D8997941B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E39AF9DC-E56C-E7A2-397C-224FE8F05743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4C112AAE-6F8B-D9D4-8667-A073D7736008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AAEE3EE4-9BAB-46D8-594B-AC3EAD6BA564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B0294A61-6714-D75A-DBB1-3999B38CFBE1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0486BBB5-619D-C832-596F-D02221C356A8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ECD2E5E7-01DF-25DF-322F-C6FDEE0BD854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569C8203-6CAD-C32A-23E4-4AE79492D324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9ECAB31D-53F2-045C-2F9B-E5FC2F90B66E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EEBA4ED0-5442-EA89-CE43-50696E43E676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AFF95A04-D85E-8E47-0B60-AAF9C52B8255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83BA628C-E254-A8AE-F5A3-83625E013402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25D8CAF8-D16C-DA5C-7554-586FFD819E3A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39B29F7F-8957-BD46-235E-DFC22A6EE911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ACA4501F-7FE1-6D9D-DE2E-4DF9E6F50D4F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E5DAF2ED-B13D-FE08-B127-EBABB6F7C76F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DB57D708-EC37-6BE8-0E5A-921318FFC26D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5FF445C3-01C9-E40D-D98C-7E2839A9389D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8E1C7914-250B-D446-2803-F29678050365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642F4276-661B-823D-19A9-01272BFBF804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EC3FD384-41F1-EDCE-381D-429D276F2FE7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6A41DF58-F91E-5493-9BE8-654228E8F5BF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BFE8D6FA-2509-114A-C470-CDBB331367DD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861E8CD7-DCF4-53D8-C49D-14FC93490138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587499ED-0024-90C6-8721-125AA23AFAC7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318A548B-6102-2C54-3F4E-8472C84E2239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109C93C8-E72D-9EC4-E6DF-C7D27998E516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B41741AE-6624-ED91-E2B7-828F4EE7513E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ADE529B1-5C5A-2795-05A7-31288DCB92A7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DF29DA3B-DBD8-E6AB-3ED1-072E28231797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F8D92DC5-F259-1548-0EAE-81F3153EEEBA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CE089345-6A95-CF5B-839B-73FA84B651A8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D7086AA2-BA69-C633-9C61-FB91BB7D5874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4AD1A7D0-C020-D51E-41AB-27569BBC60FA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4B039648-0108-945C-8D53-385A2EF16498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D6A806CA-D947-AFD5-B555-B104E51A8485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FFCDC0FE-A72B-18FC-13F9-AAB2F4676E91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2FCB8E76-DFFC-7F87-032D-1F8EB923C880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31195F61-ECA5-C05C-C3EF-8FE01D3C3279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503D6F12-4C4E-4CE4-53BA-6C9A31AD750F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0BB393E3-4F4A-391D-485E-0E212F294C7E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72BF92C2-0E22-BCC0-620E-CCED5EC89F34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52A35E6F-4455-DBE6-F454-993165828BDE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BBB1F32D-2F15-C25F-9611-EB9C38393167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718BC064-D6EA-0EBC-0429-53CB650BA188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C0ED62B2-5739-63E1-5DEC-491B27A4C5D5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9F9F173F-34C8-8DBE-671D-B88CF52B6D6D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46A3FFDE-C9C8-92BE-F3B7-A97B2287588C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85268304-F7BD-22ED-761D-3876CB8551AE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44FE5DF3-18F8-6E24-AA5B-3BD2AFDBFF37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6E7C09D4-FECD-B01C-302D-1016F8DE3269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8ADACFBA-63EE-E791-E554-DE1D1FF7451A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81DCE88F-162D-693E-F64B-9AB383BC70E7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3235150F-39AD-FB02-40D2-645E909F4CEE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0" name="Rechteck 389">
              <a:extLst>
                <a:ext uri="{FF2B5EF4-FFF2-40B4-BE49-F238E27FC236}">
                  <a16:creationId xmlns:a16="http://schemas.microsoft.com/office/drawing/2014/main" id="{57937080-9CE2-6BBE-68CF-97D05F110042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1" name="Rechteck 390">
              <a:extLst>
                <a:ext uri="{FF2B5EF4-FFF2-40B4-BE49-F238E27FC236}">
                  <a16:creationId xmlns:a16="http://schemas.microsoft.com/office/drawing/2014/main" id="{9D228213-E963-8FAD-4817-3ECD7EB59FB6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2" name="Rechteck 391">
              <a:extLst>
                <a:ext uri="{FF2B5EF4-FFF2-40B4-BE49-F238E27FC236}">
                  <a16:creationId xmlns:a16="http://schemas.microsoft.com/office/drawing/2014/main" id="{37488C3E-8894-9855-8865-BF3FCB7F53A1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3" name="Rechteck 392">
              <a:extLst>
                <a:ext uri="{FF2B5EF4-FFF2-40B4-BE49-F238E27FC236}">
                  <a16:creationId xmlns:a16="http://schemas.microsoft.com/office/drawing/2014/main" id="{846EF00B-54AE-DD8E-6147-65485E3DBDDC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4" name="Rechteck 393">
              <a:extLst>
                <a:ext uri="{FF2B5EF4-FFF2-40B4-BE49-F238E27FC236}">
                  <a16:creationId xmlns:a16="http://schemas.microsoft.com/office/drawing/2014/main" id="{1D6EEA66-4056-CDD4-151A-27ECC4C0AD5E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5" name="Rechteck 394">
              <a:extLst>
                <a:ext uri="{FF2B5EF4-FFF2-40B4-BE49-F238E27FC236}">
                  <a16:creationId xmlns:a16="http://schemas.microsoft.com/office/drawing/2014/main" id="{8FE40CC4-4D39-9F84-BF3D-BC22B905EC49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6" name="Rechteck 395">
              <a:extLst>
                <a:ext uri="{FF2B5EF4-FFF2-40B4-BE49-F238E27FC236}">
                  <a16:creationId xmlns:a16="http://schemas.microsoft.com/office/drawing/2014/main" id="{FAC6F4AC-F67C-3833-0085-62826E98548F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7" name="Rechteck 396">
              <a:extLst>
                <a:ext uri="{FF2B5EF4-FFF2-40B4-BE49-F238E27FC236}">
                  <a16:creationId xmlns:a16="http://schemas.microsoft.com/office/drawing/2014/main" id="{69BAC108-6A5C-355C-C4EE-2E12681C7C16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842B057F-BADB-97EC-630C-A3541B3A24BF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5F7097FD-3FA4-0CB4-21AD-15EB2CC1DBBA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FA8100F1-6FF7-4CE8-0890-8878A23C4804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4B77B7C2-1998-484A-935B-1DCDAB52FDF2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670399C8-16B1-D414-A107-75FB21BB3DE3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3" name="Rechteck 402">
              <a:extLst>
                <a:ext uri="{FF2B5EF4-FFF2-40B4-BE49-F238E27FC236}">
                  <a16:creationId xmlns:a16="http://schemas.microsoft.com/office/drawing/2014/main" id="{33EC8804-7998-A79A-48A7-9DC995D49A48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4C031839-72C9-1FF9-9644-70B99BEC3DCF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5" name="Rechteck 404">
              <a:extLst>
                <a:ext uri="{FF2B5EF4-FFF2-40B4-BE49-F238E27FC236}">
                  <a16:creationId xmlns:a16="http://schemas.microsoft.com/office/drawing/2014/main" id="{E767DF6B-38A1-CB8B-72E2-9B2328992B99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6" name="Rechteck 405">
              <a:extLst>
                <a:ext uri="{FF2B5EF4-FFF2-40B4-BE49-F238E27FC236}">
                  <a16:creationId xmlns:a16="http://schemas.microsoft.com/office/drawing/2014/main" id="{BEADDA1E-42A5-5481-0122-BCB2CE5C13A9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47D0A313-9B00-F4DD-4420-8E9AECEA673F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D43EFCFD-A271-7B49-659B-93AB1C9D534A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1829E42D-22A7-1E32-BFB9-B7877A660D81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0" name="Rechteck 409">
              <a:extLst>
                <a:ext uri="{FF2B5EF4-FFF2-40B4-BE49-F238E27FC236}">
                  <a16:creationId xmlns:a16="http://schemas.microsoft.com/office/drawing/2014/main" id="{8B645E84-B81B-1C4A-265F-76DB2195BDEE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76B3D571-C237-27E2-83DC-1EEA9DC99530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BD4660CC-452E-B7CC-03F3-E85576BBECEE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A82E1845-F6CF-E15F-8203-E0450F5D7FAA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74D3AAF8-6DB4-8E4B-C6DB-3DB3B64580AA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4DBACD04-0A56-335E-0F31-0CFC263BE8BF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6" name="Rechteck 415">
              <a:extLst>
                <a:ext uri="{FF2B5EF4-FFF2-40B4-BE49-F238E27FC236}">
                  <a16:creationId xmlns:a16="http://schemas.microsoft.com/office/drawing/2014/main" id="{B8FB6948-9DCC-8785-D8DA-49CBB305EFE6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4EF6F17D-B537-76E5-2491-A055D8E47B2D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8" name="Rechteck 417">
              <a:extLst>
                <a:ext uri="{FF2B5EF4-FFF2-40B4-BE49-F238E27FC236}">
                  <a16:creationId xmlns:a16="http://schemas.microsoft.com/office/drawing/2014/main" id="{57AA3B61-79A9-6660-B0B9-480DBD178B25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9" name="Rechteck 418">
              <a:extLst>
                <a:ext uri="{FF2B5EF4-FFF2-40B4-BE49-F238E27FC236}">
                  <a16:creationId xmlns:a16="http://schemas.microsoft.com/office/drawing/2014/main" id="{ECE33E73-D0F9-3EC9-5BCA-8FD481BBEDE2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0" name="Rechteck 419">
              <a:extLst>
                <a:ext uri="{FF2B5EF4-FFF2-40B4-BE49-F238E27FC236}">
                  <a16:creationId xmlns:a16="http://schemas.microsoft.com/office/drawing/2014/main" id="{DDEFA436-AF55-9425-03BF-0C5A0B56DAD0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1" name="Rechteck 420">
              <a:extLst>
                <a:ext uri="{FF2B5EF4-FFF2-40B4-BE49-F238E27FC236}">
                  <a16:creationId xmlns:a16="http://schemas.microsoft.com/office/drawing/2014/main" id="{63C60DD6-3B15-A3CC-63F6-BCC4543C0A03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2" name="Rechteck 421">
              <a:extLst>
                <a:ext uri="{FF2B5EF4-FFF2-40B4-BE49-F238E27FC236}">
                  <a16:creationId xmlns:a16="http://schemas.microsoft.com/office/drawing/2014/main" id="{872DC567-2399-A307-66CB-FDE90E37D16F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3" name="Rechteck 422">
              <a:extLst>
                <a:ext uri="{FF2B5EF4-FFF2-40B4-BE49-F238E27FC236}">
                  <a16:creationId xmlns:a16="http://schemas.microsoft.com/office/drawing/2014/main" id="{666240B3-67F8-1A19-2DA0-47F1A8870FFB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4" name="Rechteck 423">
              <a:extLst>
                <a:ext uri="{FF2B5EF4-FFF2-40B4-BE49-F238E27FC236}">
                  <a16:creationId xmlns:a16="http://schemas.microsoft.com/office/drawing/2014/main" id="{F8080C7A-555E-1556-192F-ED4CBFDC1B46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5" name="Rechteck 424">
              <a:extLst>
                <a:ext uri="{FF2B5EF4-FFF2-40B4-BE49-F238E27FC236}">
                  <a16:creationId xmlns:a16="http://schemas.microsoft.com/office/drawing/2014/main" id="{BFF435F6-1630-F507-5618-5556E4C6D297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6" name="Rechteck 425">
              <a:extLst>
                <a:ext uri="{FF2B5EF4-FFF2-40B4-BE49-F238E27FC236}">
                  <a16:creationId xmlns:a16="http://schemas.microsoft.com/office/drawing/2014/main" id="{C14E9C37-066A-82E2-34C1-9DCE35A79486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7" name="Rechteck 426">
              <a:extLst>
                <a:ext uri="{FF2B5EF4-FFF2-40B4-BE49-F238E27FC236}">
                  <a16:creationId xmlns:a16="http://schemas.microsoft.com/office/drawing/2014/main" id="{227F8298-23FF-6C55-F992-FB019084155F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8" name="Rechteck 427">
              <a:extLst>
                <a:ext uri="{FF2B5EF4-FFF2-40B4-BE49-F238E27FC236}">
                  <a16:creationId xmlns:a16="http://schemas.microsoft.com/office/drawing/2014/main" id="{7733A452-129C-0695-4E6E-66F886C29981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9" name="Rechteck 428">
              <a:extLst>
                <a:ext uri="{FF2B5EF4-FFF2-40B4-BE49-F238E27FC236}">
                  <a16:creationId xmlns:a16="http://schemas.microsoft.com/office/drawing/2014/main" id="{E16C8A4A-D03D-7135-A658-0C4A4CCE0D28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0" name="Rechteck 429">
              <a:extLst>
                <a:ext uri="{FF2B5EF4-FFF2-40B4-BE49-F238E27FC236}">
                  <a16:creationId xmlns:a16="http://schemas.microsoft.com/office/drawing/2014/main" id="{05BA0F73-AB60-ED81-A08B-3536E5957A9A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1" name="Rechteck 430">
              <a:extLst>
                <a:ext uri="{FF2B5EF4-FFF2-40B4-BE49-F238E27FC236}">
                  <a16:creationId xmlns:a16="http://schemas.microsoft.com/office/drawing/2014/main" id="{8908C174-94CA-CCD5-D7EA-947B6E6F335B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2" name="Rechteck 431">
              <a:extLst>
                <a:ext uri="{FF2B5EF4-FFF2-40B4-BE49-F238E27FC236}">
                  <a16:creationId xmlns:a16="http://schemas.microsoft.com/office/drawing/2014/main" id="{084B9745-05DA-0673-A866-19CA50B48F97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3" name="Rechteck 432">
              <a:extLst>
                <a:ext uri="{FF2B5EF4-FFF2-40B4-BE49-F238E27FC236}">
                  <a16:creationId xmlns:a16="http://schemas.microsoft.com/office/drawing/2014/main" id="{ADE21F54-526A-7DB6-2E06-A782D1426EBD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4" name="Rechteck 433">
              <a:extLst>
                <a:ext uri="{FF2B5EF4-FFF2-40B4-BE49-F238E27FC236}">
                  <a16:creationId xmlns:a16="http://schemas.microsoft.com/office/drawing/2014/main" id="{5FE53ED2-9C4B-B9EE-BC27-7388C183203B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5" name="Rechteck 434">
              <a:extLst>
                <a:ext uri="{FF2B5EF4-FFF2-40B4-BE49-F238E27FC236}">
                  <a16:creationId xmlns:a16="http://schemas.microsoft.com/office/drawing/2014/main" id="{FA028A4E-1E95-7517-3994-187DCF42CA53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6" name="Rechteck 435">
              <a:extLst>
                <a:ext uri="{FF2B5EF4-FFF2-40B4-BE49-F238E27FC236}">
                  <a16:creationId xmlns:a16="http://schemas.microsoft.com/office/drawing/2014/main" id="{3177DDE8-9180-38F3-0604-AC2F17AAF29E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7" name="Rechteck 436">
              <a:extLst>
                <a:ext uri="{FF2B5EF4-FFF2-40B4-BE49-F238E27FC236}">
                  <a16:creationId xmlns:a16="http://schemas.microsoft.com/office/drawing/2014/main" id="{D3229F96-ED67-422E-C4ED-C5178C4763AB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8" name="Rechteck 437">
              <a:extLst>
                <a:ext uri="{FF2B5EF4-FFF2-40B4-BE49-F238E27FC236}">
                  <a16:creationId xmlns:a16="http://schemas.microsoft.com/office/drawing/2014/main" id="{300AE594-11FE-B59E-9404-133A1B062799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9" name="Rechteck 438">
              <a:extLst>
                <a:ext uri="{FF2B5EF4-FFF2-40B4-BE49-F238E27FC236}">
                  <a16:creationId xmlns:a16="http://schemas.microsoft.com/office/drawing/2014/main" id="{FF35C556-83C2-7B88-EA33-4CD364815344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0" name="Rechteck 439">
              <a:extLst>
                <a:ext uri="{FF2B5EF4-FFF2-40B4-BE49-F238E27FC236}">
                  <a16:creationId xmlns:a16="http://schemas.microsoft.com/office/drawing/2014/main" id="{68F1D457-B543-20DD-A6CE-90F53EB31E55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1" name="Rechteck 440">
              <a:extLst>
                <a:ext uri="{FF2B5EF4-FFF2-40B4-BE49-F238E27FC236}">
                  <a16:creationId xmlns:a16="http://schemas.microsoft.com/office/drawing/2014/main" id="{C57B9369-3D57-9645-6E31-528F2CA3D6AD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2" name="Rechteck 441">
              <a:extLst>
                <a:ext uri="{FF2B5EF4-FFF2-40B4-BE49-F238E27FC236}">
                  <a16:creationId xmlns:a16="http://schemas.microsoft.com/office/drawing/2014/main" id="{7CD95588-C9CE-D212-C495-73968B8D0543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3" name="Rechteck 442">
              <a:extLst>
                <a:ext uri="{FF2B5EF4-FFF2-40B4-BE49-F238E27FC236}">
                  <a16:creationId xmlns:a16="http://schemas.microsoft.com/office/drawing/2014/main" id="{A3EAFE36-1896-1A79-F47D-576C40DBC064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4" name="Rechteck 443">
              <a:extLst>
                <a:ext uri="{FF2B5EF4-FFF2-40B4-BE49-F238E27FC236}">
                  <a16:creationId xmlns:a16="http://schemas.microsoft.com/office/drawing/2014/main" id="{8C4711C3-0D43-4309-1FAA-B2FEDCAF90A4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5" name="Rechteck 444">
              <a:extLst>
                <a:ext uri="{FF2B5EF4-FFF2-40B4-BE49-F238E27FC236}">
                  <a16:creationId xmlns:a16="http://schemas.microsoft.com/office/drawing/2014/main" id="{3FE8F66D-F324-494C-0677-0683B165C0E1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6" name="Rechteck 445">
              <a:extLst>
                <a:ext uri="{FF2B5EF4-FFF2-40B4-BE49-F238E27FC236}">
                  <a16:creationId xmlns:a16="http://schemas.microsoft.com/office/drawing/2014/main" id="{80FF9229-26ED-2391-CDF1-891696E01EE6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7" name="Rechteck 446">
              <a:extLst>
                <a:ext uri="{FF2B5EF4-FFF2-40B4-BE49-F238E27FC236}">
                  <a16:creationId xmlns:a16="http://schemas.microsoft.com/office/drawing/2014/main" id="{6317ACAE-FA99-AA67-B40A-D4D77E8FD875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8" name="Rechteck 447">
              <a:extLst>
                <a:ext uri="{FF2B5EF4-FFF2-40B4-BE49-F238E27FC236}">
                  <a16:creationId xmlns:a16="http://schemas.microsoft.com/office/drawing/2014/main" id="{622A7063-1D74-03D6-EF38-30660F676858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9" name="Rechteck 448">
              <a:extLst>
                <a:ext uri="{FF2B5EF4-FFF2-40B4-BE49-F238E27FC236}">
                  <a16:creationId xmlns:a16="http://schemas.microsoft.com/office/drawing/2014/main" id="{14A59C85-37FB-E396-D871-9CB18EBA2964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0" name="Rechteck 449">
              <a:extLst>
                <a:ext uri="{FF2B5EF4-FFF2-40B4-BE49-F238E27FC236}">
                  <a16:creationId xmlns:a16="http://schemas.microsoft.com/office/drawing/2014/main" id="{5F3377ED-0E9D-7149-7471-C6E736F1CC56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1" name="Rechteck 450">
              <a:extLst>
                <a:ext uri="{FF2B5EF4-FFF2-40B4-BE49-F238E27FC236}">
                  <a16:creationId xmlns:a16="http://schemas.microsoft.com/office/drawing/2014/main" id="{50ECEC52-C0BA-98B5-28CF-8A05F70755A6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2" name="Rechteck 451">
              <a:extLst>
                <a:ext uri="{FF2B5EF4-FFF2-40B4-BE49-F238E27FC236}">
                  <a16:creationId xmlns:a16="http://schemas.microsoft.com/office/drawing/2014/main" id="{972982EE-D079-A950-2CE9-8145FB560208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3" name="Rechteck 452">
              <a:extLst>
                <a:ext uri="{FF2B5EF4-FFF2-40B4-BE49-F238E27FC236}">
                  <a16:creationId xmlns:a16="http://schemas.microsoft.com/office/drawing/2014/main" id="{FC9A1FE0-F34E-195C-72B8-5D8328F37874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4" name="Rechteck 453">
              <a:extLst>
                <a:ext uri="{FF2B5EF4-FFF2-40B4-BE49-F238E27FC236}">
                  <a16:creationId xmlns:a16="http://schemas.microsoft.com/office/drawing/2014/main" id="{450737BA-77E0-F144-FB42-E2961358BF33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5" name="Rechteck 454">
              <a:extLst>
                <a:ext uri="{FF2B5EF4-FFF2-40B4-BE49-F238E27FC236}">
                  <a16:creationId xmlns:a16="http://schemas.microsoft.com/office/drawing/2014/main" id="{B53A59C7-7F09-D504-F816-FC7FCA34FB66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6" name="Rechteck 455">
              <a:extLst>
                <a:ext uri="{FF2B5EF4-FFF2-40B4-BE49-F238E27FC236}">
                  <a16:creationId xmlns:a16="http://schemas.microsoft.com/office/drawing/2014/main" id="{3799A264-B361-6685-6985-6BFD1C46376A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7" name="Rechteck 456">
              <a:extLst>
                <a:ext uri="{FF2B5EF4-FFF2-40B4-BE49-F238E27FC236}">
                  <a16:creationId xmlns:a16="http://schemas.microsoft.com/office/drawing/2014/main" id="{9CA62DC5-74F3-0722-462A-E8CF7ADFD85C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8" name="Rechteck 457">
              <a:extLst>
                <a:ext uri="{FF2B5EF4-FFF2-40B4-BE49-F238E27FC236}">
                  <a16:creationId xmlns:a16="http://schemas.microsoft.com/office/drawing/2014/main" id="{0EBDF8F3-82B8-59AF-B86D-F63C0135EAFF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9" name="Rechteck 458">
              <a:extLst>
                <a:ext uri="{FF2B5EF4-FFF2-40B4-BE49-F238E27FC236}">
                  <a16:creationId xmlns:a16="http://schemas.microsoft.com/office/drawing/2014/main" id="{51A74D5C-2434-250A-35DD-BAE618AA6BA9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0" name="Rechteck 459">
              <a:extLst>
                <a:ext uri="{FF2B5EF4-FFF2-40B4-BE49-F238E27FC236}">
                  <a16:creationId xmlns:a16="http://schemas.microsoft.com/office/drawing/2014/main" id="{33C9AE2C-AE30-0068-1C7E-3CDACB6A3905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cxnSp>
        <p:nvCxnSpPr>
          <p:cNvPr id="254" name="Line">
            <a:extLst>
              <a:ext uri="{FF2B5EF4-FFF2-40B4-BE49-F238E27FC236}">
                <a16:creationId xmlns:a16="http://schemas.microsoft.com/office/drawing/2014/main" id="{3C362275-2F3D-4002-8641-A07536B78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11424" y="908720"/>
            <a:ext cx="2304256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Title">
            <a:extLst>
              <a:ext uri="{FF2B5EF4-FFF2-40B4-BE49-F238E27FC236}">
                <a16:creationId xmlns:a16="http://schemas.microsoft.com/office/drawing/2014/main" id="{9258FB6E-C910-44A9-A44D-172431214D3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695400" y="1772816"/>
            <a:ext cx="5112568" cy="1440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tIns="36000" rIns="216000" bIns="396000" anchor="b">
            <a:noAutofit/>
          </a:bodyPr>
          <a:lstStyle>
            <a:lvl1pPr algn="l">
              <a:lnSpc>
                <a:spcPct val="90000"/>
              </a:lnSpc>
              <a:defRPr sz="3000" baseline="0"/>
            </a:lvl1pPr>
          </a:lstStyle>
          <a:p>
            <a:r>
              <a:rPr lang="en-GB"/>
              <a:t>[Thank You and Call to action]</a:t>
            </a:r>
          </a:p>
        </p:txBody>
      </p:sp>
      <p:sp>
        <p:nvSpPr>
          <p:cNvPr id="270" name="Subtitle">
            <a:extLst>
              <a:ext uri="{FF2B5EF4-FFF2-40B4-BE49-F238E27FC236}">
                <a16:creationId xmlns:a16="http://schemas.microsoft.com/office/drawing/2014/main" id="{5DAA3EBD-B768-872B-90F6-2AC1D1A8C782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695400" y="2996952"/>
            <a:ext cx="5112568" cy="864096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none" lIns="216000" tIns="0" rIns="216000" bIns="3600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pPr lvl="0"/>
            <a:r>
              <a:rPr lang="en-GB"/>
              <a:t>gfk.com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9590BAC4-125C-A943-B3A8-8A6A1AD0A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28448" y="335757"/>
            <a:ext cx="1365736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0958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685CB47E-0D87-FCC4-3820-6D644C18DC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099298DE-E06A-9FA2-7AEA-6A250F303CCF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8B381971-309E-2E9A-A96D-037EC4E5CF8D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16E1DD3E-4521-00D5-D380-BFC5AEBB5E46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87E48DE2-796D-FBC9-F0BC-86C5F27E7238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A8F85A94-767C-44A5-FED9-D9D206D1CB35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FC0F09F5-1AC0-40E5-A01E-3A80E3EB4363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1A1E0839-633B-50EE-B501-EFC4CB5105F2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E36BD96D-BDAC-B5BC-4BE4-8AC1FB0CC9B7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89F65E21-EC3E-C13A-286C-0054A5FDA021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4" name="Rechteck 253">
              <a:extLst>
                <a:ext uri="{FF2B5EF4-FFF2-40B4-BE49-F238E27FC236}">
                  <a16:creationId xmlns:a16="http://schemas.microsoft.com/office/drawing/2014/main" id="{D1A664F7-90BA-DD40-8607-58B72FE337FB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A159685F-534C-DB45-E57F-337AF14CD226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18C9DB83-871D-B859-F8A9-1A8ABEC0833E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1C8F521F-D69C-418D-9F7B-1FA9FB7FCBAD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2A3E32CC-8B53-9A78-4FA6-30DA1175BC76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3365733C-47F3-5C37-3767-DC5E98381805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2FAC8B6D-9D9D-A6A5-F486-0EA98EDBDD18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988442DE-9290-E29D-B143-6096AA1691C0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036F0499-5A4C-6AE7-3426-A0629E0451F4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9EDE2596-F826-912A-68B5-753B8D66C208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BBDE65CF-3FAC-186C-639A-471487ECA306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34DC858E-0602-4528-E8B1-BBF73092538A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A2944826-C2A4-C81A-9C08-43CBC5CD1461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38370F80-2004-4084-AE05-95087B34556F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E0EF814A-B7DB-D765-5742-4F206BB98E60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F64384CE-4E9F-20FD-15FC-A1185B0AC2D0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74CFA62C-9CA5-8D64-138D-6811DF5C73F3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2DEFA520-E3B8-9CC9-676B-8558D99F2F2E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52181960-F8DD-5DB1-D989-5B2604F54772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D0869A8A-D397-CBA6-2D68-8BA69318E079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8A8EC649-05B2-E1D6-4515-3539678647C7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4189D382-0910-ACB4-5C5D-1D6C1E662EEB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4FA594FC-C073-6A44-963E-F5727E43F223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B71A43A9-1591-7F46-5362-3E3EC4ABCF8D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2DC07CE8-9B82-E662-3424-6984B03D126A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E1F0D3C6-F900-2852-FCD9-6AE9CCCF7BB9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EC240967-5967-D338-5C5F-03719260AE24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2D6CDAEF-52F6-A940-5F11-185F2B948855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33C107FB-BA41-403D-2E52-90CC8ECE32CB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6EFAB287-CBBD-568B-2FCF-0E25AC73AD99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94749BE4-C8DD-12B8-9887-4ED663A9C86F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AC8A3420-AEB2-4444-8A82-8E67F7942E56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5F70EEE9-AD52-D124-458F-0F480AD9CBDE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76ABFFED-FD8E-EFEF-185D-F9791112F3BE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C6DF02EF-E239-9E57-BAA0-A3BA5A267936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6A93C050-C45B-655C-A8D5-81F45821F34F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DC127C89-E28B-FAFC-8EE6-8E51F10D3FC8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A18E2BA5-14CF-D4F1-331D-F17E88D9B0B9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5E2FE3C3-21CA-59CE-2C34-2622F9789687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F0C15979-FD42-25B2-9CFC-F1FD9AD46962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83D946BB-D316-222C-9688-31A7A0B36395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7EA09956-0411-3B44-0A6B-6E241AB12DDC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F5DC14F5-5FFD-8EB7-89C9-4BB5DC43F472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B1D5773B-6559-586A-37D8-F90F57CBE0D1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4F227C1D-F80A-E643-4F39-0E2806F65013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5565DB25-8540-FFE4-A0BF-A71133CCB316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E02D689C-4780-ACB7-D642-52262C76435C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08BBB852-C8FC-2974-23B1-A4703B376F84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60801002-4132-18D6-0CBD-EA3EE7FF77F6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D199CD04-F934-92F9-4FFC-F1F33884D9CE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B72DD046-0996-7D3F-2100-27478398B2CA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64D22EE3-6F98-BCC9-A392-80FC0EFA0DB8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A52A93B3-8FF4-167D-A9F4-B615F21F22D7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AFB9022E-CC5A-7D6E-0A43-880FCBD82793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4C1D5AC9-B747-BC0C-5038-004FD4D6E6E8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66BFDCB2-8771-8FCF-973C-2C38F3E8DDC3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964664A4-87DE-30F1-39CA-FBD1D9248CEF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107EF777-D452-5B27-AF58-CF67A945F5F2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5E0D9F7F-6B18-DF38-8F66-4D7586450301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8380F170-918F-8986-E7BD-1A80744248D5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8D1A9220-9D54-3DE9-1D1B-015A86E4798B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3876692B-C643-0442-1458-74C4446CA193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E1B79577-22BF-B4B2-64CA-4DA7492C2F33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B425E532-7DC5-3251-CC7D-BF4DCA4A63DD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D6F10C20-D90D-B010-F50D-97F1B36B4620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CD31FF1E-865A-1119-73F2-44AEB25F7E52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057378CC-5274-8417-6D56-E4DD72BC208D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DE01402A-1FE7-CD51-30B0-A7171C94EC49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EFE22E48-89D4-115F-2E01-750DF93ACA8F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C4BAD0D0-1DDE-D17F-A16E-FF43C7BA10CD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392781EE-9301-CD5C-07D3-923F7B683170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85DC5C1F-D7DB-6DCC-AEDA-8DFB4821F08D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0203E018-4C6C-A093-B794-7C63F27A7E77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D82CB250-6D11-A7C9-4A06-D1BB9D5D2BC9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85052836-228F-2F50-6403-A9DE748FD050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FD4C91E5-B971-38E4-D5D4-454B3B438361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B403208E-F3F0-4772-1E1D-BDC601AC2B44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76F1259A-219E-17D7-9F39-19C498FE59ED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0FF04C38-F9DD-B4E2-048C-B562C7EC03A1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6FE7AEEC-0F8F-8AFC-2076-D0AB39241B52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2F0819F7-FD0F-1965-142E-CED1666B2319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2B5CDF8A-F0B3-39B9-396F-2D55C9389CCF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15C4021A-98AF-2D21-149D-B27E0A20C8D3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C59BAF24-5E55-9B50-4C7D-83F4AD70BA4F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D450E0CD-0B6C-8C25-E487-CECA079C7E43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93121278-BD5F-C47C-48DC-297DCF113898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450092FF-0126-1FFB-372B-702ACD766B09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32AA5E24-B2E9-8F23-7A47-6FD8F24FE2B8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148FEAE9-5136-341D-2F61-1CE8B8E85789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4678B00D-CB83-F894-667F-AEE7D15D10F3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E4754A47-CFF1-16D2-E1F8-76A74E82C16F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ED4BB81D-9D49-F2FE-6EB2-41DBFF770B5D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911A7501-2C78-D74A-EE66-A4ADBA409FCD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2DAAEAFF-CA3B-4EF3-AC37-A33F389FDCCA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DBE24CA9-D7E8-128D-528E-27233F60FB9D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C80A07B7-7355-C947-953E-E9437F1197F8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33115933-5E0B-4810-3805-F6D8161F6A0A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8D6630F7-35BF-6009-FCED-CF3A7ECF60C8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28C7C701-0654-CAD4-53AC-BAAF68133B35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E09EF78C-2995-8026-B63F-12C6899F7753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27C62D65-3C42-2C1A-92B8-0A923E1CC81E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2117E66D-2EFF-1CB1-ADDE-21246D772E1B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F1B210AF-9AF3-EAB8-A497-FD845FE4AC9D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D0DB514A-09CB-EF03-F284-4C12282FB13B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28C74EE3-A63C-93F0-DA93-ACFACA9DAE4A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537D5C00-BF0F-0CA8-4596-750A1F5513B0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E997D750-8A32-0C54-46F2-70322B3CC145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B95D2E6D-5F62-7FD5-5323-45EA9AF3D419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0" name="Rechteck 389">
              <a:extLst>
                <a:ext uri="{FF2B5EF4-FFF2-40B4-BE49-F238E27FC236}">
                  <a16:creationId xmlns:a16="http://schemas.microsoft.com/office/drawing/2014/main" id="{372BF1A7-2D7F-D910-986F-5F490C0CAE5A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1" name="Rechteck 390">
              <a:extLst>
                <a:ext uri="{FF2B5EF4-FFF2-40B4-BE49-F238E27FC236}">
                  <a16:creationId xmlns:a16="http://schemas.microsoft.com/office/drawing/2014/main" id="{6153FC05-D790-68B9-E8AE-698A3257CEDA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2" name="Rechteck 391">
              <a:extLst>
                <a:ext uri="{FF2B5EF4-FFF2-40B4-BE49-F238E27FC236}">
                  <a16:creationId xmlns:a16="http://schemas.microsoft.com/office/drawing/2014/main" id="{EF1D21D2-F709-539D-DA9C-86780745C9ED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3" name="Rechteck 392">
              <a:extLst>
                <a:ext uri="{FF2B5EF4-FFF2-40B4-BE49-F238E27FC236}">
                  <a16:creationId xmlns:a16="http://schemas.microsoft.com/office/drawing/2014/main" id="{8F440F3F-9257-4024-170E-680474037D1C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4" name="Rechteck 393">
              <a:extLst>
                <a:ext uri="{FF2B5EF4-FFF2-40B4-BE49-F238E27FC236}">
                  <a16:creationId xmlns:a16="http://schemas.microsoft.com/office/drawing/2014/main" id="{6D339624-B7AE-1A58-6337-06597DD87CDA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5" name="Rechteck 394">
              <a:extLst>
                <a:ext uri="{FF2B5EF4-FFF2-40B4-BE49-F238E27FC236}">
                  <a16:creationId xmlns:a16="http://schemas.microsoft.com/office/drawing/2014/main" id="{6CB6E661-82D1-9965-2589-37F5DDFC9B7E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6" name="Rechteck 395">
              <a:extLst>
                <a:ext uri="{FF2B5EF4-FFF2-40B4-BE49-F238E27FC236}">
                  <a16:creationId xmlns:a16="http://schemas.microsoft.com/office/drawing/2014/main" id="{DAC38F8A-B4C4-4026-E353-E78C55225263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7" name="Rechteck 396">
              <a:extLst>
                <a:ext uri="{FF2B5EF4-FFF2-40B4-BE49-F238E27FC236}">
                  <a16:creationId xmlns:a16="http://schemas.microsoft.com/office/drawing/2014/main" id="{A340BA25-FAB6-834C-03FB-365D14D4252B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104BAA3F-85E1-4B0F-FE9E-59AAB946A9DE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DC6B7B5D-41A6-5226-8CFC-82705029BA98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426BCE23-BC42-FBED-00AF-57C9C65A03F6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B754AEF0-F4DB-E7BD-F6C4-B8C92D9D61BD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946DFB1C-70A9-31C5-DD51-7732DF3F3889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3" name="Rechteck 402">
              <a:extLst>
                <a:ext uri="{FF2B5EF4-FFF2-40B4-BE49-F238E27FC236}">
                  <a16:creationId xmlns:a16="http://schemas.microsoft.com/office/drawing/2014/main" id="{1C57CA21-A4A5-A06E-3553-16CA5DEB388B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5FECACD6-76A9-3953-BB43-714BA90932D8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5" name="Rechteck 404">
              <a:extLst>
                <a:ext uri="{FF2B5EF4-FFF2-40B4-BE49-F238E27FC236}">
                  <a16:creationId xmlns:a16="http://schemas.microsoft.com/office/drawing/2014/main" id="{948A9B39-BD7F-F3FD-61C3-040867624D78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6" name="Rechteck 405">
              <a:extLst>
                <a:ext uri="{FF2B5EF4-FFF2-40B4-BE49-F238E27FC236}">
                  <a16:creationId xmlns:a16="http://schemas.microsoft.com/office/drawing/2014/main" id="{6E6F791F-7BC6-9651-1B60-F72E0C784D0E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7980FF63-EFD0-56F9-97FA-3AD6E64BF8CD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07E145DD-7A3A-F22A-4BF7-0CEC1D029FDE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475178B4-7479-FA63-D991-0492C9E2C2F9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0" name="Rechteck 409">
              <a:extLst>
                <a:ext uri="{FF2B5EF4-FFF2-40B4-BE49-F238E27FC236}">
                  <a16:creationId xmlns:a16="http://schemas.microsoft.com/office/drawing/2014/main" id="{3D12DD6C-1E78-4D89-1F39-EBCFF0F939E7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A979C06A-567A-5BFF-831A-B7F899EFB9B8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4B9A181A-59D2-A741-F8A3-20DB7B2B7968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521CB164-C9A7-B6DA-14BF-03A994311B11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FBC73E5F-D3BB-45BC-5851-0BA3127DB570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1D49D96C-4FAF-F776-4D2D-F658D8D3FC91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6" name="Rechteck 415">
              <a:extLst>
                <a:ext uri="{FF2B5EF4-FFF2-40B4-BE49-F238E27FC236}">
                  <a16:creationId xmlns:a16="http://schemas.microsoft.com/office/drawing/2014/main" id="{74C0308F-506E-0C78-D2AE-80D122497785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3D6D0BA2-8FF9-1C7D-003D-96CAAA5B4899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8" name="Rechteck 417">
              <a:extLst>
                <a:ext uri="{FF2B5EF4-FFF2-40B4-BE49-F238E27FC236}">
                  <a16:creationId xmlns:a16="http://schemas.microsoft.com/office/drawing/2014/main" id="{DE998B6F-6977-A648-9588-4F72BC1800BB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9" name="Rechteck 418">
              <a:extLst>
                <a:ext uri="{FF2B5EF4-FFF2-40B4-BE49-F238E27FC236}">
                  <a16:creationId xmlns:a16="http://schemas.microsoft.com/office/drawing/2014/main" id="{4F0A0D47-E396-1710-F46C-EE812C03445F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0" name="Rechteck 419">
              <a:extLst>
                <a:ext uri="{FF2B5EF4-FFF2-40B4-BE49-F238E27FC236}">
                  <a16:creationId xmlns:a16="http://schemas.microsoft.com/office/drawing/2014/main" id="{269B6367-1EE3-5B7D-0C56-C4284833DF6F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1" name="Rechteck 420">
              <a:extLst>
                <a:ext uri="{FF2B5EF4-FFF2-40B4-BE49-F238E27FC236}">
                  <a16:creationId xmlns:a16="http://schemas.microsoft.com/office/drawing/2014/main" id="{FF2E12B5-3A72-5462-4BEB-39297C98FA76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2" name="Rechteck 421">
              <a:extLst>
                <a:ext uri="{FF2B5EF4-FFF2-40B4-BE49-F238E27FC236}">
                  <a16:creationId xmlns:a16="http://schemas.microsoft.com/office/drawing/2014/main" id="{C207C1EA-2BF4-555F-2192-60782FA4D05A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3" name="Rechteck 422">
              <a:extLst>
                <a:ext uri="{FF2B5EF4-FFF2-40B4-BE49-F238E27FC236}">
                  <a16:creationId xmlns:a16="http://schemas.microsoft.com/office/drawing/2014/main" id="{75E56738-90C9-5A16-DD6E-BD92AE91A322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4" name="Rechteck 423">
              <a:extLst>
                <a:ext uri="{FF2B5EF4-FFF2-40B4-BE49-F238E27FC236}">
                  <a16:creationId xmlns:a16="http://schemas.microsoft.com/office/drawing/2014/main" id="{21227CEA-AA7A-2FB8-158F-0CD4E052B2CA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5" name="Rechteck 424">
              <a:extLst>
                <a:ext uri="{FF2B5EF4-FFF2-40B4-BE49-F238E27FC236}">
                  <a16:creationId xmlns:a16="http://schemas.microsoft.com/office/drawing/2014/main" id="{488180DC-CCCD-EAFF-5CC6-7D9AC3A7E714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6" name="Rechteck 425">
              <a:extLst>
                <a:ext uri="{FF2B5EF4-FFF2-40B4-BE49-F238E27FC236}">
                  <a16:creationId xmlns:a16="http://schemas.microsoft.com/office/drawing/2014/main" id="{4E5C0D5F-2681-D06E-9003-3435750F580B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7" name="Rechteck 426">
              <a:extLst>
                <a:ext uri="{FF2B5EF4-FFF2-40B4-BE49-F238E27FC236}">
                  <a16:creationId xmlns:a16="http://schemas.microsoft.com/office/drawing/2014/main" id="{78068C1E-9DEE-07FC-4D70-76708CB1BB78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8" name="Rechteck 427">
              <a:extLst>
                <a:ext uri="{FF2B5EF4-FFF2-40B4-BE49-F238E27FC236}">
                  <a16:creationId xmlns:a16="http://schemas.microsoft.com/office/drawing/2014/main" id="{25580309-E091-5DEF-6198-F9B43BB5901A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9" name="Rechteck 428">
              <a:extLst>
                <a:ext uri="{FF2B5EF4-FFF2-40B4-BE49-F238E27FC236}">
                  <a16:creationId xmlns:a16="http://schemas.microsoft.com/office/drawing/2014/main" id="{771A18D3-D213-016F-7140-79767BDAB3CA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0" name="Rechteck 429">
              <a:extLst>
                <a:ext uri="{FF2B5EF4-FFF2-40B4-BE49-F238E27FC236}">
                  <a16:creationId xmlns:a16="http://schemas.microsoft.com/office/drawing/2014/main" id="{3B0C3EBE-50E3-4E0A-45F5-3F744AE224F7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1" name="Rechteck 430">
              <a:extLst>
                <a:ext uri="{FF2B5EF4-FFF2-40B4-BE49-F238E27FC236}">
                  <a16:creationId xmlns:a16="http://schemas.microsoft.com/office/drawing/2014/main" id="{3753699C-C521-B0F0-9AC4-511A81DA9E83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2" name="Rechteck 431">
              <a:extLst>
                <a:ext uri="{FF2B5EF4-FFF2-40B4-BE49-F238E27FC236}">
                  <a16:creationId xmlns:a16="http://schemas.microsoft.com/office/drawing/2014/main" id="{3735E678-D9A7-CAE0-5FE7-B6EDD7EA2513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3" name="Rechteck 432">
              <a:extLst>
                <a:ext uri="{FF2B5EF4-FFF2-40B4-BE49-F238E27FC236}">
                  <a16:creationId xmlns:a16="http://schemas.microsoft.com/office/drawing/2014/main" id="{A0935690-F6B6-77C9-4627-54DF11198AEB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4" name="Rechteck 433">
              <a:extLst>
                <a:ext uri="{FF2B5EF4-FFF2-40B4-BE49-F238E27FC236}">
                  <a16:creationId xmlns:a16="http://schemas.microsoft.com/office/drawing/2014/main" id="{8C56C90D-CF2E-F1DB-73A8-78FCE07E3FFF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5" name="Rechteck 434">
              <a:extLst>
                <a:ext uri="{FF2B5EF4-FFF2-40B4-BE49-F238E27FC236}">
                  <a16:creationId xmlns:a16="http://schemas.microsoft.com/office/drawing/2014/main" id="{7E55CCAA-E29B-9813-55E4-BFDE63F58B62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6" name="Rechteck 435">
              <a:extLst>
                <a:ext uri="{FF2B5EF4-FFF2-40B4-BE49-F238E27FC236}">
                  <a16:creationId xmlns:a16="http://schemas.microsoft.com/office/drawing/2014/main" id="{00F1A35D-CCD7-0C39-FF05-D218B35E9F38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7" name="Rechteck 436">
              <a:extLst>
                <a:ext uri="{FF2B5EF4-FFF2-40B4-BE49-F238E27FC236}">
                  <a16:creationId xmlns:a16="http://schemas.microsoft.com/office/drawing/2014/main" id="{0DD7BBAD-50DE-8F8D-BBD3-C852127B64A5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8" name="Rechteck 437">
              <a:extLst>
                <a:ext uri="{FF2B5EF4-FFF2-40B4-BE49-F238E27FC236}">
                  <a16:creationId xmlns:a16="http://schemas.microsoft.com/office/drawing/2014/main" id="{54061CAC-67B3-0D76-F67A-CC5D9E55EAD9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9" name="Rechteck 438">
              <a:extLst>
                <a:ext uri="{FF2B5EF4-FFF2-40B4-BE49-F238E27FC236}">
                  <a16:creationId xmlns:a16="http://schemas.microsoft.com/office/drawing/2014/main" id="{1052BFCA-58E7-9854-3F4A-41366E30712A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0" name="Rechteck 439">
              <a:extLst>
                <a:ext uri="{FF2B5EF4-FFF2-40B4-BE49-F238E27FC236}">
                  <a16:creationId xmlns:a16="http://schemas.microsoft.com/office/drawing/2014/main" id="{4F6F27FC-8C04-EAFC-28B4-7EF11A4592A0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1" name="Rechteck 440">
              <a:extLst>
                <a:ext uri="{FF2B5EF4-FFF2-40B4-BE49-F238E27FC236}">
                  <a16:creationId xmlns:a16="http://schemas.microsoft.com/office/drawing/2014/main" id="{F2FE5B29-2E9E-8C87-5E29-84ACEAF8A60B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2" name="Rechteck 441">
              <a:extLst>
                <a:ext uri="{FF2B5EF4-FFF2-40B4-BE49-F238E27FC236}">
                  <a16:creationId xmlns:a16="http://schemas.microsoft.com/office/drawing/2014/main" id="{82B273B4-2EB4-C6B5-26B2-592F02348F17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3" name="Rechteck 442">
              <a:extLst>
                <a:ext uri="{FF2B5EF4-FFF2-40B4-BE49-F238E27FC236}">
                  <a16:creationId xmlns:a16="http://schemas.microsoft.com/office/drawing/2014/main" id="{BEAB903B-B0B2-0842-8FDA-2CDE2574B796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4" name="Rechteck 443">
              <a:extLst>
                <a:ext uri="{FF2B5EF4-FFF2-40B4-BE49-F238E27FC236}">
                  <a16:creationId xmlns:a16="http://schemas.microsoft.com/office/drawing/2014/main" id="{5F31BAD2-55AC-1546-F9EE-311BCC0FF561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5" name="Rechteck 444">
              <a:extLst>
                <a:ext uri="{FF2B5EF4-FFF2-40B4-BE49-F238E27FC236}">
                  <a16:creationId xmlns:a16="http://schemas.microsoft.com/office/drawing/2014/main" id="{310D3E2B-0F7F-29D8-8A3D-2428CECCD084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6" name="Rechteck 445">
              <a:extLst>
                <a:ext uri="{FF2B5EF4-FFF2-40B4-BE49-F238E27FC236}">
                  <a16:creationId xmlns:a16="http://schemas.microsoft.com/office/drawing/2014/main" id="{6EBD042D-0ADD-C157-03E5-98982E0516A4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7" name="Rechteck 446">
              <a:extLst>
                <a:ext uri="{FF2B5EF4-FFF2-40B4-BE49-F238E27FC236}">
                  <a16:creationId xmlns:a16="http://schemas.microsoft.com/office/drawing/2014/main" id="{2010A626-BCF8-C159-80B5-68E849F01D16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8" name="Rechteck 447">
              <a:extLst>
                <a:ext uri="{FF2B5EF4-FFF2-40B4-BE49-F238E27FC236}">
                  <a16:creationId xmlns:a16="http://schemas.microsoft.com/office/drawing/2014/main" id="{4D5FD3D6-B8FA-516A-4F1D-2EA6D99DFF70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9" name="Rechteck 448">
              <a:extLst>
                <a:ext uri="{FF2B5EF4-FFF2-40B4-BE49-F238E27FC236}">
                  <a16:creationId xmlns:a16="http://schemas.microsoft.com/office/drawing/2014/main" id="{4D806E1A-63F3-9494-62B4-0958EFA17C86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0" name="Rechteck 449">
              <a:extLst>
                <a:ext uri="{FF2B5EF4-FFF2-40B4-BE49-F238E27FC236}">
                  <a16:creationId xmlns:a16="http://schemas.microsoft.com/office/drawing/2014/main" id="{1142A6DF-AB07-BCE1-83DC-DE56C9EF3EE0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1" name="Rechteck 450">
              <a:extLst>
                <a:ext uri="{FF2B5EF4-FFF2-40B4-BE49-F238E27FC236}">
                  <a16:creationId xmlns:a16="http://schemas.microsoft.com/office/drawing/2014/main" id="{552C3958-3A32-89A3-8190-0D723A7A8AB4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2" name="Rechteck 451">
              <a:extLst>
                <a:ext uri="{FF2B5EF4-FFF2-40B4-BE49-F238E27FC236}">
                  <a16:creationId xmlns:a16="http://schemas.microsoft.com/office/drawing/2014/main" id="{40A3CBAC-2625-2568-F3AF-9523DEC7A348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3" name="Rechteck 452">
              <a:extLst>
                <a:ext uri="{FF2B5EF4-FFF2-40B4-BE49-F238E27FC236}">
                  <a16:creationId xmlns:a16="http://schemas.microsoft.com/office/drawing/2014/main" id="{933B9B03-6FE6-F602-FB77-61E370821A6D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4" name="Rechteck 453">
              <a:extLst>
                <a:ext uri="{FF2B5EF4-FFF2-40B4-BE49-F238E27FC236}">
                  <a16:creationId xmlns:a16="http://schemas.microsoft.com/office/drawing/2014/main" id="{7BD01AD6-9503-9EDA-08B4-2469A090EF31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5" name="Rechteck 454">
              <a:extLst>
                <a:ext uri="{FF2B5EF4-FFF2-40B4-BE49-F238E27FC236}">
                  <a16:creationId xmlns:a16="http://schemas.microsoft.com/office/drawing/2014/main" id="{3627B657-15A6-F424-3E5E-DA213B3FB346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6" name="Rechteck 455">
              <a:extLst>
                <a:ext uri="{FF2B5EF4-FFF2-40B4-BE49-F238E27FC236}">
                  <a16:creationId xmlns:a16="http://schemas.microsoft.com/office/drawing/2014/main" id="{25A94974-A378-6CE9-0829-3646BB7521F3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7" name="Rechteck 456">
              <a:extLst>
                <a:ext uri="{FF2B5EF4-FFF2-40B4-BE49-F238E27FC236}">
                  <a16:creationId xmlns:a16="http://schemas.microsoft.com/office/drawing/2014/main" id="{FDE4239B-6AED-82DE-6BC0-377D4AA55262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8" name="Rechteck 457">
              <a:extLst>
                <a:ext uri="{FF2B5EF4-FFF2-40B4-BE49-F238E27FC236}">
                  <a16:creationId xmlns:a16="http://schemas.microsoft.com/office/drawing/2014/main" id="{66D6B586-C2ED-EA78-C3A7-D44949D57410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9" name="Rechteck 458">
              <a:extLst>
                <a:ext uri="{FF2B5EF4-FFF2-40B4-BE49-F238E27FC236}">
                  <a16:creationId xmlns:a16="http://schemas.microsoft.com/office/drawing/2014/main" id="{F21DD981-C90D-D10D-48EE-F39AA0315F9A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0" name="Rechteck 459">
              <a:extLst>
                <a:ext uri="{FF2B5EF4-FFF2-40B4-BE49-F238E27FC236}">
                  <a16:creationId xmlns:a16="http://schemas.microsoft.com/office/drawing/2014/main" id="{084F56CA-1232-A3EC-9DF0-A5A2E0F937CC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1" name="Rechteck 460">
              <a:extLst>
                <a:ext uri="{FF2B5EF4-FFF2-40B4-BE49-F238E27FC236}">
                  <a16:creationId xmlns:a16="http://schemas.microsoft.com/office/drawing/2014/main" id="{DCA994C7-F089-6336-D801-D5E32338D88E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sp>
        <p:nvSpPr>
          <p:cNvPr id="271" name="Shape">
            <a:extLst>
              <a:ext uri="{FF2B5EF4-FFF2-40B4-BE49-F238E27FC236}">
                <a16:creationId xmlns:a16="http://schemas.microsoft.com/office/drawing/2014/main" id="{EDC70E87-D333-4843-894B-F7329E01C1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839416" y="1988840"/>
            <a:ext cx="6480720" cy="4156745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7288205 w 8604028"/>
              <a:gd name="connsiteY2" fmla="*/ 427647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7288205 w 8604028"/>
              <a:gd name="connsiteY2" fmla="*/ 4306956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84708 w 8604028"/>
              <a:gd name="connsiteY2" fmla="*/ 4136122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984708" y="4136122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70" name="Shape">
            <a:extLst>
              <a:ext uri="{FF2B5EF4-FFF2-40B4-BE49-F238E27FC236}">
                <a16:creationId xmlns:a16="http://schemas.microsoft.com/office/drawing/2014/main" id="{CA04DA29-1BDE-4E17-8832-0715948621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911415" y="2060841"/>
            <a:ext cx="6336713" cy="4032000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7288205 w 8604028"/>
              <a:gd name="connsiteY2" fmla="*/ 427647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7288205 w 8604028"/>
              <a:gd name="connsiteY2" fmla="*/ 4306956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7003677 w 8604028"/>
              <a:gd name="connsiteY2" fmla="*/ 4117289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7003677" y="4117289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55" name="Title">
            <a:extLst>
              <a:ext uri="{FF2B5EF4-FFF2-40B4-BE49-F238E27FC236}">
                <a16:creationId xmlns:a16="http://schemas.microsoft.com/office/drawing/2014/main" id="{9258FB6E-C910-44A9-A44D-172431214D3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1199456" y="2349032"/>
            <a:ext cx="4823960" cy="1008000"/>
          </a:xfrm>
          <a:prstGeom prst="rect">
            <a:avLst/>
          </a:prstGeom>
          <a:noFill/>
          <a:ln w="127">
            <a:noFill/>
          </a:ln>
        </p:spPr>
        <p:txBody>
          <a:bodyPr lIns="0" tIns="0" rIns="0" bIns="0" anchor="t">
            <a:noAutofit/>
          </a:bodyPr>
          <a:lstStyle>
            <a:lvl1pPr algn="l">
              <a:lnSpc>
                <a:spcPct val="90000"/>
              </a:lnSpc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[Thank You and Call to action]</a:t>
            </a:r>
          </a:p>
        </p:txBody>
      </p:sp>
      <p:sp>
        <p:nvSpPr>
          <p:cNvPr id="274" name="Subtitle">
            <a:extLst>
              <a:ext uri="{FF2B5EF4-FFF2-40B4-BE49-F238E27FC236}">
                <a16:creationId xmlns:a16="http://schemas.microsoft.com/office/drawing/2014/main" id="{A8B8056C-BBE6-D8A0-F11F-1492BA40AB9A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1199456" y="3501040"/>
            <a:ext cx="4823968" cy="288000"/>
          </a:xfrm>
          <a:prstGeom prst="rect">
            <a:avLst/>
          </a:prstGeom>
          <a:noFill/>
          <a:ln w="127">
            <a:noFill/>
          </a:ln>
        </p:spPr>
        <p:txBody>
          <a:bodyPr wrap="none" lIns="0" tIns="0" r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pPr lvl="0"/>
            <a:r>
              <a:rPr lang="en-GB"/>
              <a:t>gfk.com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5DED0EB7-4EA9-C82F-4CCF-F5C3A023C8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28448" y="335757"/>
            <a:ext cx="1365736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81914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13467F1-BE30-FD72-7DD6-AE7ADF5042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E7423DED-F77B-5587-E0A4-6BBED86BC8C9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2060B532-D43E-D5D3-C445-1E3E67C3EC0D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66472FC1-A984-A4DA-CE20-6C4052E59D5F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C0C2DBEA-D492-21F2-6EB6-AD2A2993D1F3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D48B2931-B59E-D74A-0382-4A9635427A80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91BB8759-DD0A-A19F-5DE5-E15934772F2E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C49D43D0-A61D-E89C-96B4-1CC3B797BF14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901E8FFB-AC2E-21BE-52C4-7D3A86D69A75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D2146B3C-D9F9-E241-02E4-CB108C5EB781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4" name="Rechteck 253">
              <a:extLst>
                <a:ext uri="{FF2B5EF4-FFF2-40B4-BE49-F238E27FC236}">
                  <a16:creationId xmlns:a16="http://schemas.microsoft.com/office/drawing/2014/main" id="{DF6ACB3C-E092-63F5-0B2D-A0F7CEB0DD41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4963E757-6917-CDCE-3E3C-6FFC0D9AE149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3A47800C-5742-1DAF-0B8A-F3F72701AB96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A6BB1644-8BC2-875D-C041-E73FE1E6124A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95BE4E2E-6A98-C6E8-6B8A-BF5056DE6ACC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701FAB0E-1D91-6B3F-DCDB-DAD89DC30318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1BBA7413-7067-D9CB-5209-637E7652EB31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73E03A6E-0C53-9CBA-E72A-4D323DDD3E83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04D474B5-CC6E-9B25-C93D-76668D8989BE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91A4C33F-5DF6-C1D0-BEDF-DFFBDE1A2FA3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E3CA1DC6-3090-9CE7-9FAB-FD07F6F6AE49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48848D33-41C0-18C4-0129-FAED00CDDB9F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FA30762F-350F-E567-CDF0-683E6801635F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926DA330-1A53-78F8-BD99-B3EC8BEAE4C7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451DF817-1010-DAAF-40CC-E000D40EA314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0" name="Rechteck 269">
              <a:extLst>
                <a:ext uri="{FF2B5EF4-FFF2-40B4-BE49-F238E27FC236}">
                  <a16:creationId xmlns:a16="http://schemas.microsoft.com/office/drawing/2014/main" id="{ED3448D2-075D-A1A5-0CC2-FAE9C0B3B847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88FBD3D2-2A91-C554-0C94-7FF8DF2C8366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41004D7A-5BF2-4178-0CB7-B0462D26F4C7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1573AC0F-2DAB-9495-2842-A8E91151CE8E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C3647F7F-E68F-E878-6BC0-211E3441FE0B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1C1BB745-15C6-9EF8-398F-2083404681DB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6E516459-E671-7385-A7B8-E69DDDE36591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0772D9AC-42AF-23DC-7672-096FE5FBD020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32448726-04AE-D527-D4BA-DE7C1678B972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DED17F50-D917-EE19-E81A-F6246EAEBC3B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93DB758B-A89C-82E8-148A-9AEC4332158F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F743F08D-81E2-E824-1D29-23AC898B280B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242065BD-14E1-08AD-7D0E-0BCEC4CF7E57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A5B137C1-EF0C-8A28-DD4C-267116AC4EF0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135DA7A6-5E86-A86F-606E-7DDDF9A65287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99982506-A775-2599-57EF-9578179D2F1E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7F6B88A1-E3D5-1D6A-834C-FAF6D78BA99D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5D84D400-269D-ADFA-4041-0901C08EFC68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75DC0CD8-1D7E-FE10-9FF5-60F4FE01E04C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294EBB81-5C48-B480-8259-13AD2410AD56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2C9ABC6D-FC4E-1EE9-2460-A4572083B651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22940873-566B-2B28-BDD0-3036E8B1F4AA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A166E38C-C20D-525C-2533-A6DAD530C073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18E67A5E-842D-1789-AEA7-6BA4D2BB6FB3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AA5CF0B4-42AE-D1B4-652F-9130A901EBAB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1920040C-F7BE-34EC-D136-88E87298EC37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16983F46-985D-77AC-64DC-C94DC800A7D7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C9C8E4F4-3530-5062-BA11-A7AD23C40E88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B0466958-9B10-80A4-EA88-CC9A13607532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3A60FDFB-DD66-2FE9-4D6F-A98026EEBA85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E61045B2-A0FC-B5DF-60EE-C998E25E5F0D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51741F11-AD4F-E759-76AF-4E06010DAF6F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99DE6A5A-0063-D00F-5F4F-FF7F6CD13812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93173961-9777-73DE-50AA-981E4B67F4DB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65D090A3-5F80-4184-6127-30B7DC979F6E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3EEEFC00-B4C1-50C2-0E91-A282E5EA6778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CB5946F5-540C-7D70-2FE9-F4EDF6056F6A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0789032A-B87A-9D6D-A8F1-A8488F627E1A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A2068A85-FDA3-156F-F8AF-63DCFD4808E5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1CBD2FA3-0587-9BB3-E48A-2B164F8497E9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8310D755-7204-5835-281C-37DCB5942A29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B11A1E2F-BD65-4541-D39A-972904518742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A5BD8D93-559F-D802-7647-D53B820F1675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966ABFF6-70B6-6E4A-E667-47EC1A32812D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54E57B5A-3956-4785-FC91-7D473D94DE67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F428F29E-3FF5-FE09-44AB-F594C87679BB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1DC23505-A3B9-C928-3E37-05F5D045EBE0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375303D8-D737-7526-5BE2-D615495B96CA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702745FC-D77E-1A28-3083-026ECAEB441D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70CDF4BA-F613-E431-3CD8-D235929E1D35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270E4007-780E-DEA4-BC46-0A5AD0541B97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83FD5ADC-954B-B5D9-EEBE-C08A802D8598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5FD77969-F7B4-2748-B2AE-8311EE6EF2CD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9A6F7713-E774-E331-E646-95E0C41DEA06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2AF238E8-AED8-5B9F-0E9D-32A5744D34DB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FB815BA1-0829-6BF7-23C0-1F75701C5350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9F273434-48FF-328C-54E1-AAC8ABFB91A9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BFA83060-D893-68FF-740B-2CACDC0AC04B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10F185B2-AE63-D92A-95DC-97757789F10F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48F2640F-E09C-4EEA-26E9-530C3BAAD24E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C772412B-1524-ACF8-CC3E-7421D87DF787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37F8D13B-CD16-CD37-D0B9-300C31268589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DD2CFC35-4052-7B0D-A409-A607FFB1D41E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504B2F9F-8720-0FA2-4D5A-17632B6BDBA3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5F120347-3EA9-74C6-B7EC-F47FB116576D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D5803117-F54E-6D04-8986-3AE82A99839E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E2F73A8B-24BE-C14F-4CBF-E7E97F983245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AE2BCCDE-DC41-2832-15FA-ED90FCC89289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F0FCDFD5-8C02-472A-6C59-2D3FA1D02DF2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21849AE7-5CA6-5732-436C-6FBC47369A51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3E93462A-0E30-3F29-62CA-141BBE14ACCE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B787E128-6E91-FCD9-065B-8217A8DA70BF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4941A868-7D1C-FFD9-5A19-BF20DD312402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EADBEDB9-849A-6949-24AC-3537733FDD63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67205EDB-0C75-77C5-4234-F9A3F88DD602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4792A158-8530-C9D8-CAAF-A6495AE0CF62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5B0E8EC8-C1D0-07A9-7156-B10389ECDF83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88B0034C-535E-A243-8C6B-33A43560B578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4454193D-737A-3A15-C7CE-1B6AF6E396D8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967FA7F2-5207-1DDB-E6C9-54105B4C50AF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58B342C3-BD5D-F5BD-C55F-06AF437B9503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E8A1B713-2C8C-A75F-53EF-D6908AA04F50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E0BD645E-2114-0AA9-182C-9B2B1B12EFDA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D3288DA2-929C-0E13-9576-20BBD1FFA4F1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CB06518C-A092-7935-5BF4-44673BFF57F5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6ED7F1EA-F493-EFB9-E708-63403564F167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7650424E-808F-CE28-D08C-0C053905EB48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8DA2DF58-05DA-DE11-ABB2-7C7157779DBB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C23FC7C7-14B5-0393-6C83-A9CB957E94DF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9C1C0ED2-923A-5132-A1DA-1EE28FC335E8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1E07D847-CB35-44D7-DA99-2005167CBF44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AE83271C-0DB8-F19F-6649-0A6F52F70985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2D8BAF9E-E87C-04B4-0CED-1168F3B14878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0" name="Rechteck 389">
              <a:extLst>
                <a:ext uri="{FF2B5EF4-FFF2-40B4-BE49-F238E27FC236}">
                  <a16:creationId xmlns:a16="http://schemas.microsoft.com/office/drawing/2014/main" id="{717DF1DC-EABB-CD2B-8DC3-E77B5F4B8746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1" name="Rechteck 390">
              <a:extLst>
                <a:ext uri="{FF2B5EF4-FFF2-40B4-BE49-F238E27FC236}">
                  <a16:creationId xmlns:a16="http://schemas.microsoft.com/office/drawing/2014/main" id="{FEB9697A-A2DD-EB7C-4820-F11EF7AEDBAF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2" name="Rechteck 391">
              <a:extLst>
                <a:ext uri="{FF2B5EF4-FFF2-40B4-BE49-F238E27FC236}">
                  <a16:creationId xmlns:a16="http://schemas.microsoft.com/office/drawing/2014/main" id="{6C77E67F-71A3-2778-99C5-782E779B86C3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3" name="Rechteck 392">
              <a:extLst>
                <a:ext uri="{FF2B5EF4-FFF2-40B4-BE49-F238E27FC236}">
                  <a16:creationId xmlns:a16="http://schemas.microsoft.com/office/drawing/2014/main" id="{2CFA2DE6-FC0C-86C2-4AF5-18A53BBD5D56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4" name="Rechteck 393">
              <a:extLst>
                <a:ext uri="{FF2B5EF4-FFF2-40B4-BE49-F238E27FC236}">
                  <a16:creationId xmlns:a16="http://schemas.microsoft.com/office/drawing/2014/main" id="{3054A794-A875-F1A7-B441-F930DCFAD3B4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5" name="Rechteck 394">
              <a:extLst>
                <a:ext uri="{FF2B5EF4-FFF2-40B4-BE49-F238E27FC236}">
                  <a16:creationId xmlns:a16="http://schemas.microsoft.com/office/drawing/2014/main" id="{3A0B63BD-B348-FFF4-0E71-7A55ED8FABBC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6" name="Rechteck 395">
              <a:extLst>
                <a:ext uri="{FF2B5EF4-FFF2-40B4-BE49-F238E27FC236}">
                  <a16:creationId xmlns:a16="http://schemas.microsoft.com/office/drawing/2014/main" id="{6CD12FB2-1FCB-6F86-9468-20E803B999C9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7" name="Rechteck 396">
              <a:extLst>
                <a:ext uri="{FF2B5EF4-FFF2-40B4-BE49-F238E27FC236}">
                  <a16:creationId xmlns:a16="http://schemas.microsoft.com/office/drawing/2014/main" id="{8EE1D0B4-034D-8DF7-86B7-4DEA4C774770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5622053B-17A7-F1EC-7C82-D454F6FE337F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5284C8C2-1823-C1AF-91B9-9DEF66F175AE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2A309D02-91C1-344B-1943-1122020E404C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37C9A05F-AD5B-9FE7-FE9C-8955CDED97B8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6AFBC0FE-2C80-DCC6-7390-007E4C804F31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3" name="Rechteck 402">
              <a:extLst>
                <a:ext uri="{FF2B5EF4-FFF2-40B4-BE49-F238E27FC236}">
                  <a16:creationId xmlns:a16="http://schemas.microsoft.com/office/drawing/2014/main" id="{77684F37-FA49-1915-46A3-87526FA554E4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D24C95A2-ABDD-8193-93BC-BE1FAE13A80D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5" name="Rechteck 404">
              <a:extLst>
                <a:ext uri="{FF2B5EF4-FFF2-40B4-BE49-F238E27FC236}">
                  <a16:creationId xmlns:a16="http://schemas.microsoft.com/office/drawing/2014/main" id="{753BD046-3765-801D-0454-E2430E8A4C9D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6" name="Rechteck 405">
              <a:extLst>
                <a:ext uri="{FF2B5EF4-FFF2-40B4-BE49-F238E27FC236}">
                  <a16:creationId xmlns:a16="http://schemas.microsoft.com/office/drawing/2014/main" id="{AAD3E089-5A59-F388-05A2-B2DCADE795C3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3025646E-9355-E0D7-E52B-11B02E0B453A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9E66D3BC-3D05-1C9F-0176-51E9CB1D81FD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8FD4FD3C-56DB-9458-CA49-8EE6B89D3F9F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0" name="Rechteck 409">
              <a:extLst>
                <a:ext uri="{FF2B5EF4-FFF2-40B4-BE49-F238E27FC236}">
                  <a16:creationId xmlns:a16="http://schemas.microsoft.com/office/drawing/2014/main" id="{A5463FF5-BB97-749D-952A-4D4CCD9348C7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40D07749-038B-0D51-CD6F-03A6111B36FC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ACBD5972-7FD1-850A-0838-BE3378B2956B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12603CB2-4EE1-DC54-E279-F7D74447DE95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23E4A52C-A98F-B108-046E-FFC950B2EAFD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939C80ED-3B6E-5C02-9691-77910AF97143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6" name="Rechteck 415">
              <a:extLst>
                <a:ext uri="{FF2B5EF4-FFF2-40B4-BE49-F238E27FC236}">
                  <a16:creationId xmlns:a16="http://schemas.microsoft.com/office/drawing/2014/main" id="{49A1C6E8-DEDB-D184-F8AF-3B31B70CDDCF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D32A219D-8F4A-EA98-0954-EE826A95F539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8" name="Rechteck 417">
              <a:extLst>
                <a:ext uri="{FF2B5EF4-FFF2-40B4-BE49-F238E27FC236}">
                  <a16:creationId xmlns:a16="http://schemas.microsoft.com/office/drawing/2014/main" id="{E6A96948-DE53-C251-D167-1F2B73D174C1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9" name="Rechteck 418">
              <a:extLst>
                <a:ext uri="{FF2B5EF4-FFF2-40B4-BE49-F238E27FC236}">
                  <a16:creationId xmlns:a16="http://schemas.microsoft.com/office/drawing/2014/main" id="{BD745677-2FD0-DEF3-280A-4E793189982D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0" name="Rechteck 419">
              <a:extLst>
                <a:ext uri="{FF2B5EF4-FFF2-40B4-BE49-F238E27FC236}">
                  <a16:creationId xmlns:a16="http://schemas.microsoft.com/office/drawing/2014/main" id="{491A5F00-45A6-7488-5392-16348DC40A22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1" name="Rechteck 420">
              <a:extLst>
                <a:ext uri="{FF2B5EF4-FFF2-40B4-BE49-F238E27FC236}">
                  <a16:creationId xmlns:a16="http://schemas.microsoft.com/office/drawing/2014/main" id="{A1AE0E94-619A-F192-98EF-EDF9F505495D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2" name="Rechteck 421">
              <a:extLst>
                <a:ext uri="{FF2B5EF4-FFF2-40B4-BE49-F238E27FC236}">
                  <a16:creationId xmlns:a16="http://schemas.microsoft.com/office/drawing/2014/main" id="{59062921-96A7-EFDA-82FA-A6DF4D1D4F8D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3" name="Rechteck 422">
              <a:extLst>
                <a:ext uri="{FF2B5EF4-FFF2-40B4-BE49-F238E27FC236}">
                  <a16:creationId xmlns:a16="http://schemas.microsoft.com/office/drawing/2014/main" id="{665D7D14-049B-C526-BEB9-B6B36B42A8E0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4" name="Rechteck 423">
              <a:extLst>
                <a:ext uri="{FF2B5EF4-FFF2-40B4-BE49-F238E27FC236}">
                  <a16:creationId xmlns:a16="http://schemas.microsoft.com/office/drawing/2014/main" id="{8E8A048A-6697-C616-49CA-26AA164D1EB0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5" name="Rechteck 424">
              <a:extLst>
                <a:ext uri="{FF2B5EF4-FFF2-40B4-BE49-F238E27FC236}">
                  <a16:creationId xmlns:a16="http://schemas.microsoft.com/office/drawing/2014/main" id="{8000DCA7-04ED-9592-2999-13ECCAA5D05F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6" name="Rechteck 425">
              <a:extLst>
                <a:ext uri="{FF2B5EF4-FFF2-40B4-BE49-F238E27FC236}">
                  <a16:creationId xmlns:a16="http://schemas.microsoft.com/office/drawing/2014/main" id="{D3C6F6C5-9A1D-B210-9D3D-4275EFD94DEA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7" name="Rechteck 426">
              <a:extLst>
                <a:ext uri="{FF2B5EF4-FFF2-40B4-BE49-F238E27FC236}">
                  <a16:creationId xmlns:a16="http://schemas.microsoft.com/office/drawing/2014/main" id="{0906C8A7-2C31-F684-B82B-47E312B4D5F3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8" name="Rechteck 427">
              <a:extLst>
                <a:ext uri="{FF2B5EF4-FFF2-40B4-BE49-F238E27FC236}">
                  <a16:creationId xmlns:a16="http://schemas.microsoft.com/office/drawing/2014/main" id="{109CED36-448B-FD83-92BE-C67F9E4E83C1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9" name="Rechteck 428">
              <a:extLst>
                <a:ext uri="{FF2B5EF4-FFF2-40B4-BE49-F238E27FC236}">
                  <a16:creationId xmlns:a16="http://schemas.microsoft.com/office/drawing/2014/main" id="{5740C2A5-C601-6FB3-9BBD-E955CF72A898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0" name="Rechteck 429">
              <a:extLst>
                <a:ext uri="{FF2B5EF4-FFF2-40B4-BE49-F238E27FC236}">
                  <a16:creationId xmlns:a16="http://schemas.microsoft.com/office/drawing/2014/main" id="{7DA783E9-7B5A-581A-B883-D6A945AE59CA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1" name="Rechteck 430">
              <a:extLst>
                <a:ext uri="{FF2B5EF4-FFF2-40B4-BE49-F238E27FC236}">
                  <a16:creationId xmlns:a16="http://schemas.microsoft.com/office/drawing/2014/main" id="{A9E6376B-B750-82E4-B230-730BBA14CF36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2" name="Rechteck 431">
              <a:extLst>
                <a:ext uri="{FF2B5EF4-FFF2-40B4-BE49-F238E27FC236}">
                  <a16:creationId xmlns:a16="http://schemas.microsoft.com/office/drawing/2014/main" id="{4DCAB17B-692E-002D-68D8-ED50B2CDC83F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3" name="Rechteck 432">
              <a:extLst>
                <a:ext uri="{FF2B5EF4-FFF2-40B4-BE49-F238E27FC236}">
                  <a16:creationId xmlns:a16="http://schemas.microsoft.com/office/drawing/2014/main" id="{0445DFA1-EB1D-9845-74A4-CA6F42A01372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4" name="Rechteck 433">
              <a:extLst>
                <a:ext uri="{FF2B5EF4-FFF2-40B4-BE49-F238E27FC236}">
                  <a16:creationId xmlns:a16="http://schemas.microsoft.com/office/drawing/2014/main" id="{54256315-C447-9FF7-D6D1-7D04F989DDEE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5" name="Rechteck 434">
              <a:extLst>
                <a:ext uri="{FF2B5EF4-FFF2-40B4-BE49-F238E27FC236}">
                  <a16:creationId xmlns:a16="http://schemas.microsoft.com/office/drawing/2014/main" id="{DD5A3098-8BD9-BB54-3FDA-6818AE5629DB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6" name="Rechteck 435">
              <a:extLst>
                <a:ext uri="{FF2B5EF4-FFF2-40B4-BE49-F238E27FC236}">
                  <a16:creationId xmlns:a16="http://schemas.microsoft.com/office/drawing/2014/main" id="{F3388114-849B-7105-CEB6-63E0C63E4039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7" name="Rechteck 436">
              <a:extLst>
                <a:ext uri="{FF2B5EF4-FFF2-40B4-BE49-F238E27FC236}">
                  <a16:creationId xmlns:a16="http://schemas.microsoft.com/office/drawing/2014/main" id="{0773F36D-4DD7-F453-8C9E-06D9DCB8444B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8" name="Rechteck 437">
              <a:extLst>
                <a:ext uri="{FF2B5EF4-FFF2-40B4-BE49-F238E27FC236}">
                  <a16:creationId xmlns:a16="http://schemas.microsoft.com/office/drawing/2014/main" id="{5CC7F65E-0F73-4C4F-7E30-D45B46C80D28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9" name="Rechteck 438">
              <a:extLst>
                <a:ext uri="{FF2B5EF4-FFF2-40B4-BE49-F238E27FC236}">
                  <a16:creationId xmlns:a16="http://schemas.microsoft.com/office/drawing/2014/main" id="{A7DDA776-1E0C-3223-5641-5A65E87C81E4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0" name="Rechteck 439">
              <a:extLst>
                <a:ext uri="{FF2B5EF4-FFF2-40B4-BE49-F238E27FC236}">
                  <a16:creationId xmlns:a16="http://schemas.microsoft.com/office/drawing/2014/main" id="{FD025CEA-A2A9-7F19-091E-DAAAE9639D80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1" name="Rechteck 440">
              <a:extLst>
                <a:ext uri="{FF2B5EF4-FFF2-40B4-BE49-F238E27FC236}">
                  <a16:creationId xmlns:a16="http://schemas.microsoft.com/office/drawing/2014/main" id="{78CE09F1-191C-56CE-E067-B3DE32A7E726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2" name="Rechteck 441">
              <a:extLst>
                <a:ext uri="{FF2B5EF4-FFF2-40B4-BE49-F238E27FC236}">
                  <a16:creationId xmlns:a16="http://schemas.microsoft.com/office/drawing/2014/main" id="{DC78922B-50F8-FAFF-6590-35F60BA2F9B0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3" name="Rechteck 442">
              <a:extLst>
                <a:ext uri="{FF2B5EF4-FFF2-40B4-BE49-F238E27FC236}">
                  <a16:creationId xmlns:a16="http://schemas.microsoft.com/office/drawing/2014/main" id="{0F02CEAD-27F9-76E6-65F1-F5C28941D2E2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4" name="Rechteck 443">
              <a:extLst>
                <a:ext uri="{FF2B5EF4-FFF2-40B4-BE49-F238E27FC236}">
                  <a16:creationId xmlns:a16="http://schemas.microsoft.com/office/drawing/2014/main" id="{2C27E6F0-2835-0935-1AB2-981297EF32E3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5" name="Rechteck 444">
              <a:extLst>
                <a:ext uri="{FF2B5EF4-FFF2-40B4-BE49-F238E27FC236}">
                  <a16:creationId xmlns:a16="http://schemas.microsoft.com/office/drawing/2014/main" id="{92553365-5D46-8BD5-3542-3C406EBB16B9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6" name="Rechteck 445">
              <a:extLst>
                <a:ext uri="{FF2B5EF4-FFF2-40B4-BE49-F238E27FC236}">
                  <a16:creationId xmlns:a16="http://schemas.microsoft.com/office/drawing/2014/main" id="{B46DE53C-EBC9-500D-F566-42A642A3994C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7" name="Rechteck 446">
              <a:extLst>
                <a:ext uri="{FF2B5EF4-FFF2-40B4-BE49-F238E27FC236}">
                  <a16:creationId xmlns:a16="http://schemas.microsoft.com/office/drawing/2014/main" id="{73AE972C-B0D1-E1EF-9231-F75A714B4963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8" name="Rechteck 447">
              <a:extLst>
                <a:ext uri="{FF2B5EF4-FFF2-40B4-BE49-F238E27FC236}">
                  <a16:creationId xmlns:a16="http://schemas.microsoft.com/office/drawing/2014/main" id="{77C561AA-DE93-AB88-62EC-F091B1675AB7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9" name="Rechteck 448">
              <a:extLst>
                <a:ext uri="{FF2B5EF4-FFF2-40B4-BE49-F238E27FC236}">
                  <a16:creationId xmlns:a16="http://schemas.microsoft.com/office/drawing/2014/main" id="{1FEA5B8E-4718-E53C-DC33-71206A4B5733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0" name="Rechteck 449">
              <a:extLst>
                <a:ext uri="{FF2B5EF4-FFF2-40B4-BE49-F238E27FC236}">
                  <a16:creationId xmlns:a16="http://schemas.microsoft.com/office/drawing/2014/main" id="{F810EA55-028E-A191-5051-AAD6BD2916A8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1" name="Rechteck 450">
              <a:extLst>
                <a:ext uri="{FF2B5EF4-FFF2-40B4-BE49-F238E27FC236}">
                  <a16:creationId xmlns:a16="http://schemas.microsoft.com/office/drawing/2014/main" id="{8C6D6F39-9FB2-AD4B-FFB4-C73EBAC0E6B9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2" name="Rechteck 451">
              <a:extLst>
                <a:ext uri="{FF2B5EF4-FFF2-40B4-BE49-F238E27FC236}">
                  <a16:creationId xmlns:a16="http://schemas.microsoft.com/office/drawing/2014/main" id="{F7A70FFA-EE19-2A3E-B40F-46107B95D633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3" name="Rechteck 452">
              <a:extLst>
                <a:ext uri="{FF2B5EF4-FFF2-40B4-BE49-F238E27FC236}">
                  <a16:creationId xmlns:a16="http://schemas.microsoft.com/office/drawing/2014/main" id="{FAF5E6AE-4C2E-C254-0526-099EE8498D45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4" name="Rechteck 453">
              <a:extLst>
                <a:ext uri="{FF2B5EF4-FFF2-40B4-BE49-F238E27FC236}">
                  <a16:creationId xmlns:a16="http://schemas.microsoft.com/office/drawing/2014/main" id="{4636C050-94CF-3DEA-DC37-7BFC71F3ECCC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5" name="Rechteck 454">
              <a:extLst>
                <a:ext uri="{FF2B5EF4-FFF2-40B4-BE49-F238E27FC236}">
                  <a16:creationId xmlns:a16="http://schemas.microsoft.com/office/drawing/2014/main" id="{FE3CFBAC-AE76-9731-CBF2-9F892F210DBC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6" name="Rechteck 455">
              <a:extLst>
                <a:ext uri="{FF2B5EF4-FFF2-40B4-BE49-F238E27FC236}">
                  <a16:creationId xmlns:a16="http://schemas.microsoft.com/office/drawing/2014/main" id="{8E8D8792-562E-B2F0-FAF3-132D00689DAB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7" name="Rechteck 456">
              <a:extLst>
                <a:ext uri="{FF2B5EF4-FFF2-40B4-BE49-F238E27FC236}">
                  <a16:creationId xmlns:a16="http://schemas.microsoft.com/office/drawing/2014/main" id="{46418CED-FD4C-B9FE-F95D-175F44D1080D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8" name="Rechteck 457">
              <a:extLst>
                <a:ext uri="{FF2B5EF4-FFF2-40B4-BE49-F238E27FC236}">
                  <a16:creationId xmlns:a16="http://schemas.microsoft.com/office/drawing/2014/main" id="{15755616-948D-9B30-4DB2-0590086C7F8E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9" name="Rechteck 458">
              <a:extLst>
                <a:ext uri="{FF2B5EF4-FFF2-40B4-BE49-F238E27FC236}">
                  <a16:creationId xmlns:a16="http://schemas.microsoft.com/office/drawing/2014/main" id="{7D096609-7436-972B-AFC7-EDB1A658882E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0" name="Rechteck 459">
              <a:extLst>
                <a:ext uri="{FF2B5EF4-FFF2-40B4-BE49-F238E27FC236}">
                  <a16:creationId xmlns:a16="http://schemas.microsoft.com/office/drawing/2014/main" id="{4C21D753-C1A0-557F-5434-695B4B801F6C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1" name="Rechteck 460">
              <a:extLst>
                <a:ext uri="{FF2B5EF4-FFF2-40B4-BE49-F238E27FC236}">
                  <a16:creationId xmlns:a16="http://schemas.microsoft.com/office/drawing/2014/main" id="{AC33DA15-B0CA-2461-11FB-671B20EBB9EA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sp>
        <p:nvSpPr>
          <p:cNvPr id="275" name="Shape">
            <a:extLst>
              <a:ext uri="{FF2B5EF4-FFF2-40B4-BE49-F238E27FC236}">
                <a16:creationId xmlns:a16="http://schemas.microsoft.com/office/drawing/2014/main" id="{C0816E57-F737-4DE9-B1EF-B6C527A347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839417" y="1988840"/>
            <a:ext cx="3024336" cy="3096344"/>
          </a:xfrm>
          <a:custGeom>
            <a:avLst/>
            <a:gdLst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517775 w 3022600"/>
              <a:gd name="connsiteY2" fmla="*/ 2520950 h 3024187"/>
              <a:gd name="connsiteX3" fmla="*/ 0 w 3022600"/>
              <a:gd name="connsiteY3" fmla="*/ 3024187 h 302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22600" h="3024187">
                <a:moveTo>
                  <a:pt x="0" y="0"/>
                </a:moveTo>
                <a:lnTo>
                  <a:pt x="3022600" y="0"/>
                </a:lnTo>
                <a:lnTo>
                  <a:pt x="2517775" y="2520950"/>
                </a:lnTo>
                <a:lnTo>
                  <a:pt x="0" y="3024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sp>
        <p:nvSpPr>
          <p:cNvPr id="274" name="Shape">
            <a:extLst>
              <a:ext uri="{FF2B5EF4-FFF2-40B4-BE49-F238E27FC236}">
                <a16:creationId xmlns:a16="http://schemas.microsoft.com/office/drawing/2014/main" id="{2EF2035B-25E2-4574-8A4A-D1A83A6485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909753" y="2059253"/>
            <a:ext cx="2881991" cy="2953923"/>
          </a:xfrm>
          <a:custGeom>
            <a:avLst/>
            <a:gdLst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517775 w 3022600"/>
              <a:gd name="connsiteY2" fmla="*/ 2520950 h 3024187"/>
              <a:gd name="connsiteX3" fmla="*/ 0 w 3022600"/>
              <a:gd name="connsiteY3" fmla="*/ 3024187 h 302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22600" h="3024187">
                <a:moveTo>
                  <a:pt x="0" y="0"/>
                </a:moveTo>
                <a:lnTo>
                  <a:pt x="3022600" y="0"/>
                </a:lnTo>
                <a:lnTo>
                  <a:pt x="2517775" y="2520950"/>
                </a:lnTo>
                <a:lnTo>
                  <a:pt x="0" y="302418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>
              <a:lnSpc>
                <a:spcPct val="125000"/>
              </a:lnSpc>
            </a:pPr>
            <a:endParaRPr lang="en-GB" sz="1600"/>
          </a:p>
        </p:txBody>
      </p:sp>
      <p:sp>
        <p:nvSpPr>
          <p:cNvPr id="255" name="Title">
            <a:extLst>
              <a:ext uri="{FF2B5EF4-FFF2-40B4-BE49-F238E27FC236}">
                <a16:creationId xmlns:a16="http://schemas.microsoft.com/office/drawing/2014/main" id="{9258FB6E-C910-44A9-A44D-172431214D3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1204143" y="2349032"/>
            <a:ext cx="2297610" cy="1296000"/>
          </a:xfrm>
          <a:prstGeom prst="rect">
            <a:avLst/>
          </a:prstGeom>
          <a:noFill/>
          <a:ln w="127">
            <a:noFill/>
          </a:ln>
        </p:spPr>
        <p:txBody>
          <a:bodyPr lIns="0" tIns="0" rIns="0" bIns="0" anchor="t">
            <a:noAutofit/>
          </a:bodyPr>
          <a:lstStyle>
            <a:lvl1pPr algn="l">
              <a:lnSpc>
                <a:spcPct val="90000"/>
              </a:lnSpc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[Thank You]</a:t>
            </a:r>
          </a:p>
        </p:txBody>
      </p:sp>
      <p:sp>
        <p:nvSpPr>
          <p:cNvPr id="271" name="Subtitle">
            <a:extLst>
              <a:ext uri="{FF2B5EF4-FFF2-40B4-BE49-F238E27FC236}">
                <a16:creationId xmlns:a16="http://schemas.microsoft.com/office/drawing/2014/main" id="{266E9096-0006-85D5-E288-890B63E2FBD3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1199456" y="3789040"/>
            <a:ext cx="2160240" cy="288000"/>
          </a:xfrm>
          <a:prstGeom prst="rect">
            <a:avLst/>
          </a:prstGeom>
          <a:noFill/>
          <a:ln w="127">
            <a:noFill/>
          </a:ln>
        </p:spPr>
        <p:txBody>
          <a:bodyPr wrap="none" lIns="0" tIns="0" r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+mj-lt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pPr lvl="0"/>
            <a:r>
              <a:rPr lang="en-GB"/>
              <a:t>gfk.com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5D797E83-24A9-0AE2-59FB-210C458E55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28448" y="335757"/>
            <a:ext cx="1365736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10012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with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" name="Picture">
            <a:extLst>
              <a:ext uri="{FF2B5EF4-FFF2-40B4-BE49-F238E27FC236}">
                <a16:creationId xmlns:a16="http://schemas.microsoft.com/office/drawing/2014/main" id="{7F971BB4-CECE-4C6B-9C8F-D4F40265C4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6D9DC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E2E39C7-465E-9D21-AFDA-CEF2A8645C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09754" y="2059254"/>
            <a:ext cx="2881991" cy="2953923"/>
          </a:xfrm>
          <a:custGeom>
            <a:avLst/>
            <a:gdLst>
              <a:gd name="connsiteX0" fmla="*/ 0 w 2881991"/>
              <a:gd name="connsiteY0" fmla="*/ 0 h 2953923"/>
              <a:gd name="connsiteX1" fmla="*/ 2881991 w 2881991"/>
              <a:gd name="connsiteY1" fmla="*/ 0 h 2953923"/>
              <a:gd name="connsiteX2" fmla="*/ 2400650 w 2881991"/>
              <a:gd name="connsiteY2" fmla="*/ 2462378 h 2953923"/>
              <a:gd name="connsiteX3" fmla="*/ 0 w 2881991"/>
              <a:gd name="connsiteY3" fmla="*/ 2953923 h 2953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81991" h="2953923">
                <a:moveTo>
                  <a:pt x="0" y="0"/>
                </a:moveTo>
                <a:lnTo>
                  <a:pt x="2881991" y="0"/>
                </a:lnTo>
                <a:lnTo>
                  <a:pt x="2400650" y="2462378"/>
                </a:lnTo>
                <a:lnTo>
                  <a:pt x="0" y="2953923"/>
                </a:lnTo>
                <a:close/>
              </a:path>
            </a:pathLst>
          </a:custGeom>
          <a:solidFill>
            <a:schemeClr val="tx1"/>
          </a:solidFill>
          <a:ln w="127">
            <a:solidFill>
              <a:schemeClr val="tx1"/>
            </a:solidFill>
          </a:ln>
        </p:spPr>
        <p:txBody>
          <a:bodyPr wrap="square" lIns="288000" tIns="216000" rIns="216000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/>
              <a:t>[Thank You]</a:t>
            </a:r>
          </a:p>
        </p:txBody>
      </p:sp>
      <p:sp>
        <p:nvSpPr>
          <p:cNvPr id="277" name="Subtitle 2">
            <a:extLst>
              <a:ext uri="{FF2B5EF4-FFF2-40B4-BE49-F238E27FC236}">
                <a16:creationId xmlns:a16="http://schemas.microsoft.com/office/drawing/2014/main" id="{ACF2BA01-68EA-4B41-8EA0-32D3161DE7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911424" y="3789040"/>
            <a:ext cx="2448272" cy="575960"/>
          </a:xfrm>
          <a:prstGeom prst="rect">
            <a:avLst/>
          </a:prstGeom>
          <a:noFill/>
          <a:ln w="0">
            <a:noFill/>
          </a:ln>
        </p:spPr>
        <p:txBody>
          <a:bodyPr lIns="28800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</a:defRPr>
            </a:lvl9pPr>
          </a:lstStyle>
          <a:p>
            <a:r>
              <a:rPr lang="en-GB"/>
              <a:t>gfk.com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4A8FF40C-1D56-9F91-822E-EF0D7C4BE7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28448" y="335757"/>
            <a:ext cx="1365736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54977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87979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|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4A98B3A1-E20F-7595-D185-1C8EEA342A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B8B20137-F199-E393-5EE0-ACB8BEC6434F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1478830E-F887-0E62-E477-EF06E64C42E4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53830D0-69AC-0346-FABB-A68224761B99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FDD70874-AFC2-EA49-92A6-28C10D9CC3FB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3643FEF-E927-9C23-CA3E-0DC181BF9615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5EA9197A-CFCE-3A9D-0830-3226CA353AFD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89E22CCE-64F9-AC14-3A1C-01888BAD1969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935B6BB8-BDA7-2955-3E94-834864910D53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731F925A-7223-6A59-FB44-50204326ECFA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6374A56E-2DFA-93F6-BCAE-12DE28631539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E1125EB4-D5E5-21F4-B182-2970CCE94B4E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4B8AF29A-5758-0F50-A86C-0CC07BBD72B6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000BEE2A-C063-4A3F-7DA0-2E756C538091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CBD8DD2F-074C-CC0C-A015-3BC7AF8919B6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E6D7E17F-8202-4A11-53A1-99491A662D62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0DD34B65-2971-619F-1815-2A33E51E2FBF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D46CA613-00E1-B106-3EE3-0C0553D5DBD0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86CEC51C-EE4F-6905-1AAB-72E349178996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669D5474-0EBB-78E1-34B1-35BCA7B98D18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1F9A4FDE-7152-0615-D67D-0C69D414EF3B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CBFF41FF-00C3-1596-DE0F-F8FDC581BEA5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BB114486-CF3E-C523-0AA5-68C8AE111281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037A9DB-ED27-D216-6C90-49CCB42F4476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DE8E6E09-F976-644F-1051-C8B58FF3834C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E0A05E19-ABEC-2669-5916-0F22FB06A0F2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C6746B12-7EE1-E764-796A-45C88E4F35BF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93928A5C-3789-575D-85AA-135EFD43C3E3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ACEA6C11-6BEE-EDC5-EBA3-C4791587E1AA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B4BFF23C-8665-6012-E22A-0D343495AB2A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99C72F9E-9E0B-0BA9-2E5F-CE9146718743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A46015E3-65FC-9E67-97E1-07AEC5DE8FD7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6A03D7DE-FD69-8928-C3DF-0DAF2AF0D65B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3BFED124-7C09-B7F0-625E-3CB4363042C6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5112D53E-966E-3253-6AE2-B9D834530880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60B76A44-CE6A-F303-A373-DF1E39BC425C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1D8FFE0E-29FE-8E1C-AD16-25B3DF09421C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71CDECB8-9D66-A033-61C7-CDFCC5F37F08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F09A9374-8058-21F1-013D-18DBFD342980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9289E1F1-8E4D-A39D-C936-1180B5546BAB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9097477B-B9A0-4A3A-BD83-9443D8200971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0CA17FA4-AD11-7662-D245-1BF12D28E8E1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3C92C836-880E-1359-5C27-16C4962CFF47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DCA0A69C-F699-5590-EB6B-EECA27132FCE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EBBC6D11-5F7E-4215-9502-47AAE60D5541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8FBE57D3-427C-D032-1CE4-BF2922E437F3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777EA34D-A7D8-AEBA-33EE-9C52B5489A58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4B7EB1F6-B237-3C68-061A-E6AD2CC230B3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850F6509-DD2A-D663-0007-BD318F5F26D8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B34454E1-7CB7-C963-1B33-EF97D6F1F6A2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95F3DE75-1DB5-58D0-CDEB-5061B409987A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1F8B7AFA-70C8-798B-AE68-62672396D688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EE6F808D-EF6F-C010-2D1F-7431EE0AB1B9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970060C9-7B99-304E-80BB-6099690AD8CC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28" name="Rechteck 127">
              <a:extLst>
                <a:ext uri="{FF2B5EF4-FFF2-40B4-BE49-F238E27FC236}">
                  <a16:creationId xmlns:a16="http://schemas.microsoft.com/office/drawing/2014/main" id="{B0DB4CFC-5C43-DA54-3FA8-A708220026D2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29" name="Rechteck 128">
              <a:extLst>
                <a:ext uri="{FF2B5EF4-FFF2-40B4-BE49-F238E27FC236}">
                  <a16:creationId xmlns:a16="http://schemas.microsoft.com/office/drawing/2014/main" id="{36FED17E-59DB-98C8-BABB-D4F4E74471FC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415DD269-C4D3-861F-D933-657D11F47371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6500811C-5477-BED1-5D65-71FCB3AAA8A4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CCEE9FC7-CEDA-AB48-47BD-C70D7C42118B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B80971FC-1F7A-F824-A385-E0DB0D13E61C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17CC7E01-BABA-8FFA-2E00-BB0759DD31F2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35" name="Rechteck 134">
              <a:extLst>
                <a:ext uri="{FF2B5EF4-FFF2-40B4-BE49-F238E27FC236}">
                  <a16:creationId xmlns:a16="http://schemas.microsoft.com/office/drawing/2014/main" id="{BF1D2BB5-B9F0-8967-E282-6C4545B65AB0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36" name="Rechteck 135">
              <a:extLst>
                <a:ext uri="{FF2B5EF4-FFF2-40B4-BE49-F238E27FC236}">
                  <a16:creationId xmlns:a16="http://schemas.microsoft.com/office/drawing/2014/main" id="{6BD21AB0-B1CD-D519-63B9-38A4162C28CB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37" name="Rechteck 136">
              <a:extLst>
                <a:ext uri="{FF2B5EF4-FFF2-40B4-BE49-F238E27FC236}">
                  <a16:creationId xmlns:a16="http://schemas.microsoft.com/office/drawing/2014/main" id="{0893A34B-C893-F89A-8A89-4458E08BA262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38" name="Rechteck 137">
              <a:extLst>
                <a:ext uri="{FF2B5EF4-FFF2-40B4-BE49-F238E27FC236}">
                  <a16:creationId xmlns:a16="http://schemas.microsoft.com/office/drawing/2014/main" id="{1A92A88A-C263-DFEA-BF4D-B6B0A6751AA7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39" name="Rechteck 138">
              <a:extLst>
                <a:ext uri="{FF2B5EF4-FFF2-40B4-BE49-F238E27FC236}">
                  <a16:creationId xmlns:a16="http://schemas.microsoft.com/office/drawing/2014/main" id="{8E66EA36-DE78-5C37-ADE2-B83AB8A91113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0" name="Rechteck 139">
              <a:extLst>
                <a:ext uri="{FF2B5EF4-FFF2-40B4-BE49-F238E27FC236}">
                  <a16:creationId xmlns:a16="http://schemas.microsoft.com/office/drawing/2014/main" id="{74482D1A-3034-E422-DDC3-DB22AB9D01AA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1" name="Rechteck 140">
              <a:extLst>
                <a:ext uri="{FF2B5EF4-FFF2-40B4-BE49-F238E27FC236}">
                  <a16:creationId xmlns:a16="http://schemas.microsoft.com/office/drawing/2014/main" id="{552B159F-9A52-ED42-B5CD-2B1528B26580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099D8A44-7D47-9FA5-EB3A-6DC92ECC743E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3" name="Rechteck 142">
              <a:extLst>
                <a:ext uri="{FF2B5EF4-FFF2-40B4-BE49-F238E27FC236}">
                  <a16:creationId xmlns:a16="http://schemas.microsoft.com/office/drawing/2014/main" id="{0F732500-8F14-EEFA-0E55-9E5DD0DA8798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4" name="Rechteck 143">
              <a:extLst>
                <a:ext uri="{FF2B5EF4-FFF2-40B4-BE49-F238E27FC236}">
                  <a16:creationId xmlns:a16="http://schemas.microsoft.com/office/drawing/2014/main" id="{0979B12F-BCE6-7C0C-665F-964A3EA3BA34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5" name="Rechteck 144">
              <a:extLst>
                <a:ext uri="{FF2B5EF4-FFF2-40B4-BE49-F238E27FC236}">
                  <a16:creationId xmlns:a16="http://schemas.microsoft.com/office/drawing/2014/main" id="{84D0E12F-214B-631F-35E2-62858FCC8E0B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6" name="Rechteck 145">
              <a:extLst>
                <a:ext uri="{FF2B5EF4-FFF2-40B4-BE49-F238E27FC236}">
                  <a16:creationId xmlns:a16="http://schemas.microsoft.com/office/drawing/2014/main" id="{84C49CF8-BCF0-1B10-4892-7514EA906C4B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7" name="Rechteck 146">
              <a:extLst>
                <a:ext uri="{FF2B5EF4-FFF2-40B4-BE49-F238E27FC236}">
                  <a16:creationId xmlns:a16="http://schemas.microsoft.com/office/drawing/2014/main" id="{F018000E-6DDD-7A20-17CB-3CD63FC7DE01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8" name="Rechteck 147">
              <a:extLst>
                <a:ext uri="{FF2B5EF4-FFF2-40B4-BE49-F238E27FC236}">
                  <a16:creationId xmlns:a16="http://schemas.microsoft.com/office/drawing/2014/main" id="{AD715E30-8A5A-A4F7-BF0F-0F00385D3902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49" name="Rechteck 148">
              <a:extLst>
                <a:ext uri="{FF2B5EF4-FFF2-40B4-BE49-F238E27FC236}">
                  <a16:creationId xmlns:a16="http://schemas.microsoft.com/office/drawing/2014/main" id="{FB499F2E-528C-0A1A-10CB-17B005CBC7FA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50" name="Rechteck 149">
              <a:extLst>
                <a:ext uri="{FF2B5EF4-FFF2-40B4-BE49-F238E27FC236}">
                  <a16:creationId xmlns:a16="http://schemas.microsoft.com/office/drawing/2014/main" id="{25355802-BC23-BB7D-ACEE-478D5DA6BB35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51" name="Rechteck 150">
              <a:extLst>
                <a:ext uri="{FF2B5EF4-FFF2-40B4-BE49-F238E27FC236}">
                  <a16:creationId xmlns:a16="http://schemas.microsoft.com/office/drawing/2014/main" id="{19D1BD8D-9C95-A810-99E0-74708A2CAEE6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52" name="Rechteck 151">
              <a:extLst>
                <a:ext uri="{FF2B5EF4-FFF2-40B4-BE49-F238E27FC236}">
                  <a16:creationId xmlns:a16="http://schemas.microsoft.com/office/drawing/2014/main" id="{EBD23B6E-A32F-FC28-2BE2-75D33E899959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53" name="Rechteck 152">
              <a:extLst>
                <a:ext uri="{FF2B5EF4-FFF2-40B4-BE49-F238E27FC236}">
                  <a16:creationId xmlns:a16="http://schemas.microsoft.com/office/drawing/2014/main" id="{0D286319-C3D2-C750-A0DE-1EADFB4F50F9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54" name="Rechteck 153">
              <a:extLst>
                <a:ext uri="{FF2B5EF4-FFF2-40B4-BE49-F238E27FC236}">
                  <a16:creationId xmlns:a16="http://schemas.microsoft.com/office/drawing/2014/main" id="{80084DE4-F4E8-19FD-3EE3-88A6B967DA65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55" name="Rechteck 154">
              <a:extLst>
                <a:ext uri="{FF2B5EF4-FFF2-40B4-BE49-F238E27FC236}">
                  <a16:creationId xmlns:a16="http://schemas.microsoft.com/office/drawing/2014/main" id="{E6130D82-7DF3-63F9-0589-1BE327BB6DEB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56" name="Rechteck 155">
              <a:extLst>
                <a:ext uri="{FF2B5EF4-FFF2-40B4-BE49-F238E27FC236}">
                  <a16:creationId xmlns:a16="http://schemas.microsoft.com/office/drawing/2014/main" id="{CAAF93A6-5EE8-2FE1-5CBA-9FDF45961D52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57" name="Rechteck 156">
              <a:extLst>
                <a:ext uri="{FF2B5EF4-FFF2-40B4-BE49-F238E27FC236}">
                  <a16:creationId xmlns:a16="http://schemas.microsoft.com/office/drawing/2014/main" id="{1B785EAB-6599-B203-2DC2-611DD0177CD3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58" name="Rechteck 157">
              <a:extLst>
                <a:ext uri="{FF2B5EF4-FFF2-40B4-BE49-F238E27FC236}">
                  <a16:creationId xmlns:a16="http://schemas.microsoft.com/office/drawing/2014/main" id="{329C1211-2EC5-9DC6-AB47-FD7B393A6767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59" name="Rechteck 158">
              <a:extLst>
                <a:ext uri="{FF2B5EF4-FFF2-40B4-BE49-F238E27FC236}">
                  <a16:creationId xmlns:a16="http://schemas.microsoft.com/office/drawing/2014/main" id="{489DADCA-9233-2830-D32C-129CEC67AAF5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0" name="Rechteck 159">
              <a:extLst>
                <a:ext uri="{FF2B5EF4-FFF2-40B4-BE49-F238E27FC236}">
                  <a16:creationId xmlns:a16="http://schemas.microsoft.com/office/drawing/2014/main" id="{74A59AB0-3F20-DC1A-A1EA-FDAFB6841DBE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1" name="Rechteck 160">
              <a:extLst>
                <a:ext uri="{FF2B5EF4-FFF2-40B4-BE49-F238E27FC236}">
                  <a16:creationId xmlns:a16="http://schemas.microsoft.com/office/drawing/2014/main" id="{5FAE1927-024F-AFE6-F58E-B3D4D41264E8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2" name="Rechteck 161">
              <a:extLst>
                <a:ext uri="{FF2B5EF4-FFF2-40B4-BE49-F238E27FC236}">
                  <a16:creationId xmlns:a16="http://schemas.microsoft.com/office/drawing/2014/main" id="{4E49C5E4-CB14-644B-BB85-6099FF2A2653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3" name="Rechteck 162">
              <a:extLst>
                <a:ext uri="{FF2B5EF4-FFF2-40B4-BE49-F238E27FC236}">
                  <a16:creationId xmlns:a16="http://schemas.microsoft.com/office/drawing/2014/main" id="{B166F63C-1038-F2C3-C0C4-B318433C96B8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4" name="Rechteck 163">
              <a:extLst>
                <a:ext uri="{FF2B5EF4-FFF2-40B4-BE49-F238E27FC236}">
                  <a16:creationId xmlns:a16="http://schemas.microsoft.com/office/drawing/2014/main" id="{A49C998F-5C93-DF4F-F56E-FD949F4C9214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5" name="Rechteck 164">
              <a:extLst>
                <a:ext uri="{FF2B5EF4-FFF2-40B4-BE49-F238E27FC236}">
                  <a16:creationId xmlns:a16="http://schemas.microsoft.com/office/drawing/2014/main" id="{1602AF14-1946-86CB-E0BE-40F2ADDF4B10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6" name="Rechteck 165">
              <a:extLst>
                <a:ext uri="{FF2B5EF4-FFF2-40B4-BE49-F238E27FC236}">
                  <a16:creationId xmlns:a16="http://schemas.microsoft.com/office/drawing/2014/main" id="{0EC2807C-EE40-B606-CC8C-687EE03EBDAB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7" name="Rechteck 166">
              <a:extLst>
                <a:ext uri="{FF2B5EF4-FFF2-40B4-BE49-F238E27FC236}">
                  <a16:creationId xmlns:a16="http://schemas.microsoft.com/office/drawing/2014/main" id="{90C83BFF-07B8-F3B8-E237-9DCBC851469C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8" name="Rechteck 167">
              <a:extLst>
                <a:ext uri="{FF2B5EF4-FFF2-40B4-BE49-F238E27FC236}">
                  <a16:creationId xmlns:a16="http://schemas.microsoft.com/office/drawing/2014/main" id="{7D3F85A2-00FC-39E0-BBF9-E46C7DC4FEFE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69" name="Rechteck 168">
              <a:extLst>
                <a:ext uri="{FF2B5EF4-FFF2-40B4-BE49-F238E27FC236}">
                  <a16:creationId xmlns:a16="http://schemas.microsoft.com/office/drawing/2014/main" id="{0929C0EB-60C0-8B8E-7F04-0BF110DD181A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70" name="Rechteck 169">
              <a:extLst>
                <a:ext uri="{FF2B5EF4-FFF2-40B4-BE49-F238E27FC236}">
                  <a16:creationId xmlns:a16="http://schemas.microsoft.com/office/drawing/2014/main" id="{54402504-4CBE-767B-51DC-7EC6D78AF76A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71" name="Rechteck 170">
              <a:extLst>
                <a:ext uri="{FF2B5EF4-FFF2-40B4-BE49-F238E27FC236}">
                  <a16:creationId xmlns:a16="http://schemas.microsoft.com/office/drawing/2014/main" id="{1A3390CB-C44B-3558-80AF-536DD8209729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72" name="Rechteck 171">
              <a:extLst>
                <a:ext uri="{FF2B5EF4-FFF2-40B4-BE49-F238E27FC236}">
                  <a16:creationId xmlns:a16="http://schemas.microsoft.com/office/drawing/2014/main" id="{BA5D4070-EAB8-89C5-BAF2-3C704D1EE889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73" name="Rechteck 172">
              <a:extLst>
                <a:ext uri="{FF2B5EF4-FFF2-40B4-BE49-F238E27FC236}">
                  <a16:creationId xmlns:a16="http://schemas.microsoft.com/office/drawing/2014/main" id="{9272FDCA-7777-B994-C5AB-0AD6A89C2B60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74" name="Rechteck 173">
              <a:extLst>
                <a:ext uri="{FF2B5EF4-FFF2-40B4-BE49-F238E27FC236}">
                  <a16:creationId xmlns:a16="http://schemas.microsoft.com/office/drawing/2014/main" id="{D459284C-2702-444C-B8F7-CEF21FBC4E44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75" name="Rechteck 174">
              <a:extLst>
                <a:ext uri="{FF2B5EF4-FFF2-40B4-BE49-F238E27FC236}">
                  <a16:creationId xmlns:a16="http://schemas.microsoft.com/office/drawing/2014/main" id="{EA045C2D-8CB2-13E6-F4CF-84815D9A6D29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86" name="Rechteck 185">
              <a:extLst>
                <a:ext uri="{FF2B5EF4-FFF2-40B4-BE49-F238E27FC236}">
                  <a16:creationId xmlns:a16="http://schemas.microsoft.com/office/drawing/2014/main" id="{53E11837-33EE-43D2-7BC3-3E26681054FA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87" name="Rechteck 186">
              <a:extLst>
                <a:ext uri="{FF2B5EF4-FFF2-40B4-BE49-F238E27FC236}">
                  <a16:creationId xmlns:a16="http://schemas.microsoft.com/office/drawing/2014/main" id="{68CD82A8-5574-3627-BCB2-CFC4C98FF248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88" name="Rechteck 187">
              <a:extLst>
                <a:ext uri="{FF2B5EF4-FFF2-40B4-BE49-F238E27FC236}">
                  <a16:creationId xmlns:a16="http://schemas.microsoft.com/office/drawing/2014/main" id="{AB1F08A5-6CEE-FF81-F0AB-AD718DF42205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89" name="Rechteck 188">
              <a:extLst>
                <a:ext uri="{FF2B5EF4-FFF2-40B4-BE49-F238E27FC236}">
                  <a16:creationId xmlns:a16="http://schemas.microsoft.com/office/drawing/2014/main" id="{F3FAB1BA-25D3-2726-5EFB-92A441B436F8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0" name="Rechteck 189">
              <a:extLst>
                <a:ext uri="{FF2B5EF4-FFF2-40B4-BE49-F238E27FC236}">
                  <a16:creationId xmlns:a16="http://schemas.microsoft.com/office/drawing/2014/main" id="{DDEDF475-DA1D-5249-4333-E3360B3E7EF5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30E21277-CB4F-0286-B37A-BC7BCC9D2B74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2" name="Rechteck 191">
              <a:extLst>
                <a:ext uri="{FF2B5EF4-FFF2-40B4-BE49-F238E27FC236}">
                  <a16:creationId xmlns:a16="http://schemas.microsoft.com/office/drawing/2014/main" id="{5BA84C0D-5DA6-5B8C-9998-9466C1A71E31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3" name="Rechteck 192">
              <a:extLst>
                <a:ext uri="{FF2B5EF4-FFF2-40B4-BE49-F238E27FC236}">
                  <a16:creationId xmlns:a16="http://schemas.microsoft.com/office/drawing/2014/main" id="{5D785DE4-8B5C-6317-1EF1-A33902AD8532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4" name="Rechteck 193">
              <a:extLst>
                <a:ext uri="{FF2B5EF4-FFF2-40B4-BE49-F238E27FC236}">
                  <a16:creationId xmlns:a16="http://schemas.microsoft.com/office/drawing/2014/main" id="{D5451349-4FE5-EA61-410A-EF8800698DB2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5" name="Rechteck 194">
              <a:extLst>
                <a:ext uri="{FF2B5EF4-FFF2-40B4-BE49-F238E27FC236}">
                  <a16:creationId xmlns:a16="http://schemas.microsoft.com/office/drawing/2014/main" id="{296101F6-0D8C-19E9-CC29-574D0C540BBF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6" name="Rechteck 195">
              <a:extLst>
                <a:ext uri="{FF2B5EF4-FFF2-40B4-BE49-F238E27FC236}">
                  <a16:creationId xmlns:a16="http://schemas.microsoft.com/office/drawing/2014/main" id="{912AC51C-A3E0-14C0-4C5F-D3147BCE73B8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7" name="Rechteck 196">
              <a:extLst>
                <a:ext uri="{FF2B5EF4-FFF2-40B4-BE49-F238E27FC236}">
                  <a16:creationId xmlns:a16="http://schemas.microsoft.com/office/drawing/2014/main" id="{0FABC33B-D737-C744-67D9-E5A0A6B4D7B1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EF42BA31-27AF-CACE-4B3D-D95669204E29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40467052-1243-52B8-BF51-3B4D3BCB0586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BEC1F705-47C4-9139-8893-01317A50013D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E592C99F-A7F3-09FA-7CC6-D79C38B1393F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3" name="Rechteck 212">
              <a:extLst>
                <a:ext uri="{FF2B5EF4-FFF2-40B4-BE49-F238E27FC236}">
                  <a16:creationId xmlns:a16="http://schemas.microsoft.com/office/drawing/2014/main" id="{65C0C616-63E3-D194-CB20-99DDFBC38089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66B18F05-F5EC-493F-995C-A3D1049FA71F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5" name="Rechteck 214">
              <a:extLst>
                <a:ext uri="{FF2B5EF4-FFF2-40B4-BE49-F238E27FC236}">
                  <a16:creationId xmlns:a16="http://schemas.microsoft.com/office/drawing/2014/main" id="{F9C0680E-4A9E-8DA2-CD84-C47B53B4DE65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6" name="Rechteck 215">
              <a:extLst>
                <a:ext uri="{FF2B5EF4-FFF2-40B4-BE49-F238E27FC236}">
                  <a16:creationId xmlns:a16="http://schemas.microsoft.com/office/drawing/2014/main" id="{4C58B4E0-BD4E-A870-4C87-F5EA7F9EADB0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7" name="Rechteck 216">
              <a:extLst>
                <a:ext uri="{FF2B5EF4-FFF2-40B4-BE49-F238E27FC236}">
                  <a16:creationId xmlns:a16="http://schemas.microsoft.com/office/drawing/2014/main" id="{72B3D559-F282-C66C-E96E-4749B9876E15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8" name="Rechteck 217">
              <a:extLst>
                <a:ext uri="{FF2B5EF4-FFF2-40B4-BE49-F238E27FC236}">
                  <a16:creationId xmlns:a16="http://schemas.microsoft.com/office/drawing/2014/main" id="{6008748E-C38D-3525-1EE2-289E043925EF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9" name="Rechteck 218">
              <a:extLst>
                <a:ext uri="{FF2B5EF4-FFF2-40B4-BE49-F238E27FC236}">
                  <a16:creationId xmlns:a16="http://schemas.microsoft.com/office/drawing/2014/main" id="{5740F1CA-6ED3-4559-B3CE-87D786DA31DB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0" name="Rechteck 219">
              <a:extLst>
                <a:ext uri="{FF2B5EF4-FFF2-40B4-BE49-F238E27FC236}">
                  <a16:creationId xmlns:a16="http://schemas.microsoft.com/office/drawing/2014/main" id="{73C80838-9467-CDDE-610F-A5422C9B28D0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3" name="Rechteck 232">
              <a:extLst>
                <a:ext uri="{FF2B5EF4-FFF2-40B4-BE49-F238E27FC236}">
                  <a16:creationId xmlns:a16="http://schemas.microsoft.com/office/drawing/2014/main" id="{BD259AE9-B717-8BBB-431A-70D911332E9A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4" name="Rechteck 233">
              <a:extLst>
                <a:ext uri="{FF2B5EF4-FFF2-40B4-BE49-F238E27FC236}">
                  <a16:creationId xmlns:a16="http://schemas.microsoft.com/office/drawing/2014/main" id="{FBA34CF0-55B9-9794-8BDB-1831AAE69020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5" name="Rechteck 234">
              <a:extLst>
                <a:ext uri="{FF2B5EF4-FFF2-40B4-BE49-F238E27FC236}">
                  <a16:creationId xmlns:a16="http://schemas.microsoft.com/office/drawing/2014/main" id="{9544C0ED-CABB-CB28-BA4E-DFA1334B7C76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6" name="Rechteck 235">
              <a:extLst>
                <a:ext uri="{FF2B5EF4-FFF2-40B4-BE49-F238E27FC236}">
                  <a16:creationId xmlns:a16="http://schemas.microsoft.com/office/drawing/2014/main" id="{49AB8CF0-6C89-C850-174A-39D0C93C84F5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7" name="Rechteck 236">
              <a:extLst>
                <a:ext uri="{FF2B5EF4-FFF2-40B4-BE49-F238E27FC236}">
                  <a16:creationId xmlns:a16="http://schemas.microsoft.com/office/drawing/2014/main" id="{8FA93304-E1BD-C84E-B8CF-06EC437E10C5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8" name="Rechteck 237">
              <a:extLst>
                <a:ext uri="{FF2B5EF4-FFF2-40B4-BE49-F238E27FC236}">
                  <a16:creationId xmlns:a16="http://schemas.microsoft.com/office/drawing/2014/main" id="{5095509E-7388-3B33-FA2B-D5BB75264E4F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9" name="Rechteck 238">
              <a:extLst>
                <a:ext uri="{FF2B5EF4-FFF2-40B4-BE49-F238E27FC236}">
                  <a16:creationId xmlns:a16="http://schemas.microsoft.com/office/drawing/2014/main" id="{C4F5902A-DFCA-1575-C765-BF96F1DF7C33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0" name="Rechteck 239">
              <a:extLst>
                <a:ext uri="{FF2B5EF4-FFF2-40B4-BE49-F238E27FC236}">
                  <a16:creationId xmlns:a16="http://schemas.microsoft.com/office/drawing/2014/main" id="{875E63A8-0487-8F2B-F910-7247A2BDDA8B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1" name="Rechteck 240">
              <a:extLst>
                <a:ext uri="{FF2B5EF4-FFF2-40B4-BE49-F238E27FC236}">
                  <a16:creationId xmlns:a16="http://schemas.microsoft.com/office/drawing/2014/main" id="{72AE98C3-2A91-89BB-FE25-E47AD1FB1181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2" name="Rechteck 241">
              <a:extLst>
                <a:ext uri="{FF2B5EF4-FFF2-40B4-BE49-F238E27FC236}">
                  <a16:creationId xmlns:a16="http://schemas.microsoft.com/office/drawing/2014/main" id="{9503688D-81C2-1FBA-0693-07C74EC09478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3" name="Rechteck 242">
              <a:extLst>
                <a:ext uri="{FF2B5EF4-FFF2-40B4-BE49-F238E27FC236}">
                  <a16:creationId xmlns:a16="http://schemas.microsoft.com/office/drawing/2014/main" id="{58E40D0A-4E9D-9791-7174-86CE2E05DD0E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4" name="Rechteck 243">
              <a:extLst>
                <a:ext uri="{FF2B5EF4-FFF2-40B4-BE49-F238E27FC236}">
                  <a16:creationId xmlns:a16="http://schemas.microsoft.com/office/drawing/2014/main" id="{1BB3A9E6-970B-8973-9E68-ED2C5AC14C36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5" name="Rechteck 244">
              <a:extLst>
                <a:ext uri="{FF2B5EF4-FFF2-40B4-BE49-F238E27FC236}">
                  <a16:creationId xmlns:a16="http://schemas.microsoft.com/office/drawing/2014/main" id="{24304A77-AD63-F9ED-9508-ECD4A17B5C77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6" name="Rechteck 245">
              <a:extLst>
                <a:ext uri="{FF2B5EF4-FFF2-40B4-BE49-F238E27FC236}">
                  <a16:creationId xmlns:a16="http://schemas.microsoft.com/office/drawing/2014/main" id="{45692114-B459-C47E-2331-A65001BB7BBD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7" name="Rechteck 246">
              <a:extLst>
                <a:ext uri="{FF2B5EF4-FFF2-40B4-BE49-F238E27FC236}">
                  <a16:creationId xmlns:a16="http://schemas.microsoft.com/office/drawing/2014/main" id="{CB8E9975-3576-9861-C664-FBEA227A89A7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8" name="Rechteck 247">
              <a:extLst>
                <a:ext uri="{FF2B5EF4-FFF2-40B4-BE49-F238E27FC236}">
                  <a16:creationId xmlns:a16="http://schemas.microsoft.com/office/drawing/2014/main" id="{D2BD38D3-7B43-83B3-6FF0-F712EE886FAC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9" name="Rechteck 248">
              <a:extLst>
                <a:ext uri="{FF2B5EF4-FFF2-40B4-BE49-F238E27FC236}">
                  <a16:creationId xmlns:a16="http://schemas.microsoft.com/office/drawing/2014/main" id="{A0AC1FC1-4A6C-3AA9-58CB-87961349F6F6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0" name="Rechteck 249">
              <a:extLst>
                <a:ext uri="{FF2B5EF4-FFF2-40B4-BE49-F238E27FC236}">
                  <a16:creationId xmlns:a16="http://schemas.microsoft.com/office/drawing/2014/main" id="{ADB448D9-7F9A-3AF4-0AA3-C43275EBBEF9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1" name="Rechteck 250">
              <a:extLst>
                <a:ext uri="{FF2B5EF4-FFF2-40B4-BE49-F238E27FC236}">
                  <a16:creationId xmlns:a16="http://schemas.microsoft.com/office/drawing/2014/main" id="{1F50700B-6DD1-B6B6-58AC-199FF3DE389A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2" name="Rechteck 251">
              <a:extLst>
                <a:ext uri="{FF2B5EF4-FFF2-40B4-BE49-F238E27FC236}">
                  <a16:creationId xmlns:a16="http://schemas.microsoft.com/office/drawing/2014/main" id="{4F001094-C890-63D8-4084-98BCF75EBA42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3" name="Rechteck 252">
              <a:extLst>
                <a:ext uri="{FF2B5EF4-FFF2-40B4-BE49-F238E27FC236}">
                  <a16:creationId xmlns:a16="http://schemas.microsoft.com/office/drawing/2014/main" id="{99304326-3269-324F-F4E7-7933810BBDF0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4" name="Rechteck 253">
              <a:extLst>
                <a:ext uri="{FF2B5EF4-FFF2-40B4-BE49-F238E27FC236}">
                  <a16:creationId xmlns:a16="http://schemas.microsoft.com/office/drawing/2014/main" id="{A0AE5923-EC7C-1B96-BDCE-B24651E3C6D0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5" name="Rechteck 254">
              <a:extLst>
                <a:ext uri="{FF2B5EF4-FFF2-40B4-BE49-F238E27FC236}">
                  <a16:creationId xmlns:a16="http://schemas.microsoft.com/office/drawing/2014/main" id="{8EE18455-9B8B-3110-FD2F-7A4A5CEAE08B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CCDEC7E3-1DDC-FF77-7860-4BB5BB44BA57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EB77FBAE-687B-8717-E2B8-EA1C15A61638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8838A9A0-770F-8429-4F2C-ABE22D0299F9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9098063D-196F-50ED-0F73-EDBC4D66A11D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D3B7A1CB-A2D7-D2BB-E078-D1B024646325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3A796ED1-1FFF-90DB-B6B6-13F20225AA86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609BFB31-C5B2-5DDF-B7C7-085D089ABFE5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0" name="Rechteck 409">
              <a:extLst>
                <a:ext uri="{FF2B5EF4-FFF2-40B4-BE49-F238E27FC236}">
                  <a16:creationId xmlns:a16="http://schemas.microsoft.com/office/drawing/2014/main" id="{1B53DD90-6493-5417-43FD-EFC7F0F74321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A2B63D19-A8F8-9D1C-0E98-6EF3A5A3C89B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73712A81-6E2D-B507-8B83-AEEBAF2D602C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A2A56C45-6109-75EF-CA48-1F424AB2216A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C7871684-610F-94D2-7346-1ECBBF9E420C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C96F0494-166E-6EFC-96FD-81E388AB75DD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6" name="Rechteck 415">
              <a:extLst>
                <a:ext uri="{FF2B5EF4-FFF2-40B4-BE49-F238E27FC236}">
                  <a16:creationId xmlns:a16="http://schemas.microsoft.com/office/drawing/2014/main" id="{7CD24995-E891-9797-54FE-721560EF5A59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C2F87D98-69BC-BCA1-941D-A5426EA61D49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8" name="Rechteck 417">
              <a:extLst>
                <a:ext uri="{FF2B5EF4-FFF2-40B4-BE49-F238E27FC236}">
                  <a16:creationId xmlns:a16="http://schemas.microsoft.com/office/drawing/2014/main" id="{B177DF16-DE3A-4B8D-5CC0-330EA22D43EA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9" name="Rechteck 418">
              <a:extLst>
                <a:ext uri="{FF2B5EF4-FFF2-40B4-BE49-F238E27FC236}">
                  <a16:creationId xmlns:a16="http://schemas.microsoft.com/office/drawing/2014/main" id="{A292A115-0C83-4473-3FEE-B7E564BCC6B5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0" name="Rechteck 419">
              <a:extLst>
                <a:ext uri="{FF2B5EF4-FFF2-40B4-BE49-F238E27FC236}">
                  <a16:creationId xmlns:a16="http://schemas.microsoft.com/office/drawing/2014/main" id="{5D5C11D3-A1D7-89C9-5DE6-760692876280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1" name="Rechteck 420">
              <a:extLst>
                <a:ext uri="{FF2B5EF4-FFF2-40B4-BE49-F238E27FC236}">
                  <a16:creationId xmlns:a16="http://schemas.microsoft.com/office/drawing/2014/main" id="{C34B84DD-2618-186E-95CC-850F98757E7A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2" name="Rechteck 421">
              <a:extLst>
                <a:ext uri="{FF2B5EF4-FFF2-40B4-BE49-F238E27FC236}">
                  <a16:creationId xmlns:a16="http://schemas.microsoft.com/office/drawing/2014/main" id="{24DED307-8F4C-20AF-22D3-EE502BF8ADB7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3" name="Rechteck 422">
              <a:extLst>
                <a:ext uri="{FF2B5EF4-FFF2-40B4-BE49-F238E27FC236}">
                  <a16:creationId xmlns:a16="http://schemas.microsoft.com/office/drawing/2014/main" id="{08870CBE-035A-3C58-6BFF-DF75293134F6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4" name="Rechteck 423">
              <a:extLst>
                <a:ext uri="{FF2B5EF4-FFF2-40B4-BE49-F238E27FC236}">
                  <a16:creationId xmlns:a16="http://schemas.microsoft.com/office/drawing/2014/main" id="{FBE8440A-E7C3-1F13-1296-B69AF71C517A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5" name="Rechteck 424">
              <a:extLst>
                <a:ext uri="{FF2B5EF4-FFF2-40B4-BE49-F238E27FC236}">
                  <a16:creationId xmlns:a16="http://schemas.microsoft.com/office/drawing/2014/main" id="{C42048B3-D774-7B3E-35B3-5F647E60CE3A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6" name="Rechteck 425">
              <a:extLst>
                <a:ext uri="{FF2B5EF4-FFF2-40B4-BE49-F238E27FC236}">
                  <a16:creationId xmlns:a16="http://schemas.microsoft.com/office/drawing/2014/main" id="{45E1A82D-10D8-2BC1-AB8E-7F963F97AD10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7" name="Rechteck 426">
              <a:extLst>
                <a:ext uri="{FF2B5EF4-FFF2-40B4-BE49-F238E27FC236}">
                  <a16:creationId xmlns:a16="http://schemas.microsoft.com/office/drawing/2014/main" id="{AF346ABF-461C-E17F-4EE5-793C01E1A631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8" name="Rechteck 427">
              <a:extLst>
                <a:ext uri="{FF2B5EF4-FFF2-40B4-BE49-F238E27FC236}">
                  <a16:creationId xmlns:a16="http://schemas.microsoft.com/office/drawing/2014/main" id="{996EF72D-77ED-2942-83AD-08D7183F1579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9" name="Rechteck 428">
              <a:extLst>
                <a:ext uri="{FF2B5EF4-FFF2-40B4-BE49-F238E27FC236}">
                  <a16:creationId xmlns:a16="http://schemas.microsoft.com/office/drawing/2014/main" id="{0631EC10-D54D-7B10-7404-EFC2E1BC4D78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0" name="Rechteck 429">
              <a:extLst>
                <a:ext uri="{FF2B5EF4-FFF2-40B4-BE49-F238E27FC236}">
                  <a16:creationId xmlns:a16="http://schemas.microsoft.com/office/drawing/2014/main" id="{CCA997D9-D344-2D0A-D222-2FEE2B8D7A15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1" name="Rechteck 430">
              <a:extLst>
                <a:ext uri="{FF2B5EF4-FFF2-40B4-BE49-F238E27FC236}">
                  <a16:creationId xmlns:a16="http://schemas.microsoft.com/office/drawing/2014/main" id="{F72E513D-CA70-E03D-5E7D-2314CA362880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2" name="Rechteck 431">
              <a:extLst>
                <a:ext uri="{FF2B5EF4-FFF2-40B4-BE49-F238E27FC236}">
                  <a16:creationId xmlns:a16="http://schemas.microsoft.com/office/drawing/2014/main" id="{10B60DE1-666F-87BA-BACB-B0676BF1C96F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3" name="Rechteck 432">
              <a:extLst>
                <a:ext uri="{FF2B5EF4-FFF2-40B4-BE49-F238E27FC236}">
                  <a16:creationId xmlns:a16="http://schemas.microsoft.com/office/drawing/2014/main" id="{FCA2B3EC-EB8A-2CA4-6E48-44E2EC63EEE3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4" name="Rechteck 433">
              <a:extLst>
                <a:ext uri="{FF2B5EF4-FFF2-40B4-BE49-F238E27FC236}">
                  <a16:creationId xmlns:a16="http://schemas.microsoft.com/office/drawing/2014/main" id="{252ABFC4-EFC3-000C-5AA2-11A006BFA3F7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5" name="Rechteck 434">
              <a:extLst>
                <a:ext uri="{FF2B5EF4-FFF2-40B4-BE49-F238E27FC236}">
                  <a16:creationId xmlns:a16="http://schemas.microsoft.com/office/drawing/2014/main" id="{27092503-557F-D776-DED7-2732FE6D0263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6" name="Rechteck 435">
              <a:extLst>
                <a:ext uri="{FF2B5EF4-FFF2-40B4-BE49-F238E27FC236}">
                  <a16:creationId xmlns:a16="http://schemas.microsoft.com/office/drawing/2014/main" id="{EF1C5E2C-DA16-6C0D-BA3B-AA076F00C448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7" name="Rechteck 436">
              <a:extLst>
                <a:ext uri="{FF2B5EF4-FFF2-40B4-BE49-F238E27FC236}">
                  <a16:creationId xmlns:a16="http://schemas.microsoft.com/office/drawing/2014/main" id="{8C8CA615-4D21-64D2-235A-2B75991C149F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8" name="Rechteck 437">
              <a:extLst>
                <a:ext uri="{FF2B5EF4-FFF2-40B4-BE49-F238E27FC236}">
                  <a16:creationId xmlns:a16="http://schemas.microsoft.com/office/drawing/2014/main" id="{BED583A2-B635-BD52-307A-368D9C757A95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9" name="Rechteck 438">
              <a:extLst>
                <a:ext uri="{FF2B5EF4-FFF2-40B4-BE49-F238E27FC236}">
                  <a16:creationId xmlns:a16="http://schemas.microsoft.com/office/drawing/2014/main" id="{8BDAB217-CBAD-1185-D56E-6C247685BF90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0" name="Rechteck 439">
              <a:extLst>
                <a:ext uri="{FF2B5EF4-FFF2-40B4-BE49-F238E27FC236}">
                  <a16:creationId xmlns:a16="http://schemas.microsoft.com/office/drawing/2014/main" id="{F4C79D80-DB83-8C74-F89F-4191B507522B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1" name="Rechteck 440">
              <a:extLst>
                <a:ext uri="{FF2B5EF4-FFF2-40B4-BE49-F238E27FC236}">
                  <a16:creationId xmlns:a16="http://schemas.microsoft.com/office/drawing/2014/main" id="{821A838F-9907-5F7D-2E3D-4C196084BE81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2" name="Rechteck 441">
              <a:extLst>
                <a:ext uri="{FF2B5EF4-FFF2-40B4-BE49-F238E27FC236}">
                  <a16:creationId xmlns:a16="http://schemas.microsoft.com/office/drawing/2014/main" id="{1D7DF9D5-C0ED-3DD2-9ABB-C3789A3BAEEA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3" name="Rechteck 442">
              <a:extLst>
                <a:ext uri="{FF2B5EF4-FFF2-40B4-BE49-F238E27FC236}">
                  <a16:creationId xmlns:a16="http://schemas.microsoft.com/office/drawing/2014/main" id="{5AC73D31-377E-E09B-A2FC-C0FB8F62488D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grpSp>
        <p:nvGrpSpPr>
          <p:cNvPr id="447" name="Gruppieren 446">
            <a:extLst>
              <a:ext uri="{FF2B5EF4-FFF2-40B4-BE49-F238E27FC236}">
                <a16:creationId xmlns:a16="http://schemas.microsoft.com/office/drawing/2014/main" id="{9221AE83-A768-FF01-7E3B-1F4CCD5E25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1" y="2082829"/>
            <a:ext cx="2448000" cy="0"/>
            <a:chOff x="983432" y="2082829"/>
            <a:chExt cx="2448000" cy="0"/>
          </a:xfrm>
        </p:grpSpPr>
        <p:cxnSp>
          <p:nvCxnSpPr>
            <p:cNvPr id="448" name="Line">
              <a:extLst>
                <a:ext uri="{FF2B5EF4-FFF2-40B4-BE49-F238E27FC236}">
                  <a16:creationId xmlns:a16="http://schemas.microsoft.com/office/drawing/2014/main" id="{86031114-3701-5696-C982-5ABBF728528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9" name="Line">
              <a:extLst>
                <a:ext uri="{FF2B5EF4-FFF2-40B4-BE49-F238E27FC236}">
                  <a16:creationId xmlns:a16="http://schemas.microsoft.com/office/drawing/2014/main" id="{6F3E068D-F556-32C3-9957-7CB9998D428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rgbClr val="519FB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0" name="Shape">
            <a:extLst>
              <a:ext uri="{FF2B5EF4-FFF2-40B4-BE49-F238E27FC236}">
                <a16:creationId xmlns:a16="http://schemas.microsoft.com/office/drawing/2014/main" id="{837136DD-75B7-A9DA-2446-136A878556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0848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51" name="Shape">
            <a:extLst>
              <a:ext uri="{FF2B5EF4-FFF2-40B4-BE49-F238E27FC236}">
                <a16:creationId xmlns:a16="http://schemas.microsoft.com/office/drawing/2014/main" id="{7B55139D-F664-9DDA-93E0-37843A536C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9" y="2061400"/>
            <a:ext cx="5760640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rgbClr val="519FBC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52" name="Title">
            <a:extLst>
              <a:ext uri="{FF2B5EF4-FFF2-40B4-BE49-F238E27FC236}">
                <a16:creationId xmlns:a16="http://schemas.microsoft.com/office/drawing/2014/main" id="{774EE29A-906D-1695-B556-7921AE38B61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656384" y="2205159"/>
            <a:ext cx="4896000" cy="1368000"/>
          </a:xfrm>
          <a:prstGeom prst="rect">
            <a:avLst/>
          </a:prstGeom>
        </p:spPr>
        <p:txBody>
          <a:bodyPr tIns="54000" anchor="t">
            <a:noAutofit/>
          </a:bodyPr>
          <a:lstStyle>
            <a:lvl1pPr algn="l">
              <a:lnSpc>
                <a:spcPct val="90000"/>
              </a:lnSpc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Insert your long title of presentation here in maximal three lines</a:t>
            </a:r>
          </a:p>
        </p:txBody>
      </p:sp>
      <p:sp>
        <p:nvSpPr>
          <p:cNvPr id="453" name="Subtitle 2">
            <a:extLst>
              <a:ext uri="{FF2B5EF4-FFF2-40B4-BE49-F238E27FC236}">
                <a16:creationId xmlns:a16="http://schemas.microsoft.com/office/drawing/2014/main" id="{382A9A11-D3F4-D45B-BFB1-A6B1DFAB09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656384" y="3789160"/>
            <a:ext cx="432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445" name="Author">
            <a:extLst>
              <a:ext uri="{FF2B5EF4-FFF2-40B4-BE49-F238E27FC236}">
                <a16:creationId xmlns:a16="http://schemas.microsoft.com/office/drawing/2014/main" id="{931527DE-A27C-5CCB-6547-4533CCC98E2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400" y="2348992"/>
            <a:ext cx="2520280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GB"/>
              <a:t>First name Last name</a:t>
            </a:r>
          </a:p>
        </p:txBody>
      </p:sp>
      <p:sp>
        <p:nvSpPr>
          <p:cNvPr id="446" name="Department, Date">
            <a:extLst>
              <a:ext uri="{FF2B5EF4-FFF2-40B4-BE49-F238E27FC236}">
                <a16:creationId xmlns:a16="http://schemas.microsoft.com/office/drawing/2014/main" id="{BAD87A5D-873C-7705-7929-63D50E45AD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2564992"/>
            <a:ext cx="2520280" cy="792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GB"/>
              <a:t>Department</a:t>
            </a:r>
            <a:br>
              <a:rPr lang="en-GB"/>
            </a:br>
            <a:r>
              <a:rPr lang="en-GB"/>
              <a:t>DD/MM/YYYY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E5CBE011-BA7B-58D2-AF37-C6E667A671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28448" y="335757"/>
            <a:ext cx="1365736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7436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75061" y="288922"/>
            <a:ext cx="7910158" cy="648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contact 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1075061" y="964671"/>
            <a:ext cx="7910158" cy="490042"/>
          </a:xfrm>
          <a:prstGeom prst="rect">
            <a:avLst/>
          </a:prstGeom>
        </p:spPr>
        <p:txBody>
          <a:bodyPr wrap="none"/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grpSp>
        <p:nvGrpSpPr>
          <p:cNvPr id="48" name="Gruppieren 80">
            <a:extLst>
              <a:ext uri="{FF2B5EF4-FFF2-40B4-BE49-F238E27FC236}">
                <a16:creationId xmlns:a16="http://schemas.microsoft.com/office/drawing/2014/main" id="{96E48976-3D09-5242-8678-63B399D8533D}"/>
              </a:ext>
            </a:extLst>
          </p:cNvPr>
          <p:cNvGrpSpPr/>
          <p:nvPr userDrawn="1"/>
        </p:nvGrpSpPr>
        <p:grpSpPr>
          <a:xfrm>
            <a:off x="2485714" y="2703064"/>
            <a:ext cx="171180" cy="171180"/>
            <a:chOff x="3392092" y="1841122"/>
            <a:chExt cx="646508" cy="646508"/>
          </a:xfrm>
        </p:grpSpPr>
        <p:sp>
          <p:nvSpPr>
            <p:cNvPr id="49" name="Rechteck 14">
              <a:extLst>
                <a:ext uri="{FF2B5EF4-FFF2-40B4-BE49-F238E27FC236}">
                  <a16:creationId xmlns:a16="http://schemas.microsoft.com/office/drawing/2014/main" id="{BD5B29D7-33CD-2048-B79B-41E04DD20AA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392092" y="1841122"/>
              <a:ext cx="646508" cy="646508"/>
            </a:xfrm>
            <a:prstGeom prst="rect">
              <a:avLst/>
            </a:prstGeom>
            <a:solidFill>
              <a:srgbClr val="E55A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n-US" sz="100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0" name="Freeform 67">
              <a:extLst>
                <a:ext uri="{FF2B5EF4-FFF2-40B4-BE49-F238E27FC236}">
                  <a16:creationId xmlns:a16="http://schemas.microsoft.com/office/drawing/2014/main" id="{55F8AC22-39A2-9F47-A246-F85E611C05D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546638" y="1970424"/>
              <a:ext cx="337415" cy="387905"/>
            </a:xfrm>
            <a:custGeom>
              <a:avLst/>
              <a:gdLst>
                <a:gd name="T0" fmla="*/ 573 w 1624"/>
                <a:gd name="T1" fmla="*/ 1257 h 1867"/>
                <a:gd name="T2" fmla="*/ 662 w 1624"/>
                <a:gd name="T3" fmla="*/ 1288 h 1867"/>
                <a:gd name="T4" fmla="*/ 938 w 1624"/>
                <a:gd name="T5" fmla="*/ 1051 h 1867"/>
                <a:gd name="T6" fmla="*/ 1106 w 1624"/>
                <a:gd name="T7" fmla="*/ 731 h 1867"/>
                <a:gd name="T8" fmla="*/ 1059 w 1624"/>
                <a:gd name="T9" fmla="*/ 645 h 1867"/>
                <a:gd name="T10" fmla="*/ 1001 w 1624"/>
                <a:gd name="T11" fmla="*/ 613 h 1867"/>
                <a:gd name="T12" fmla="*/ 924 w 1624"/>
                <a:gd name="T13" fmla="*/ 432 h 1867"/>
                <a:gd name="T14" fmla="*/ 1114 w 1624"/>
                <a:gd name="T15" fmla="*/ 81 h 1867"/>
                <a:gd name="T16" fmla="*/ 1287 w 1624"/>
                <a:gd name="T17" fmla="*/ 35 h 1867"/>
                <a:gd name="T18" fmla="*/ 1350 w 1624"/>
                <a:gd name="T19" fmla="*/ 69 h 1867"/>
                <a:gd name="T20" fmla="*/ 1527 w 1624"/>
                <a:gd name="T21" fmla="*/ 235 h 1867"/>
                <a:gd name="T22" fmla="*/ 1583 w 1624"/>
                <a:gd name="T23" fmla="*/ 555 h 1867"/>
                <a:gd name="T24" fmla="*/ 1172 w 1624"/>
                <a:gd name="T25" fmla="*/ 1253 h 1867"/>
                <a:gd name="T26" fmla="*/ 586 w 1624"/>
                <a:gd name="T27" fmla="*/ 1803 h 1867"/>
                <a:gd name="T28" fmla="*/ 269 w 1624"/>
                <a:gd name="T29" fmla="*/ 1807 h 1867"/>
                <a:gd name="T30" fmla="*/ 33 w 1624"/>
                <a:gd name="T31" fmla="*/ 1602 h 1867"/>
                <a:gd name="T32" fmla="*/ 2 w 1624"/>
                <a:gd name="T33" fmla="*/ 1508 h 1867"/>
                <a:gd name="T34" fmla="*/ 45 w 1624"/>
                <a:gd name="T35" fmla="*/ 1421 h 1867"/>
                <a:gd name="T36" fmla="*/ 346 w 1624"/>
                <a:gd name="T37" fmla="*/ 1158 h 1867"/>
                <a:gd name="T38" fmla="*/ 448 w 1624"/>
                <a:gd name="T39" fmla="*/ 1145 h 1867"/>
                <a:gd name="T40" fmla="*/ 573 w 1624"/>
                <a:gd name="T41" fmla="*/ 1257 h 1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24" h="1867">
                  <a:moveTo>
                    <a:pt x="573" y="1257"/>
                  </a:moveTo>
                  <a:cubicBezTo>
                    <a:pt x="592" y="1282"/>
                    <a:pt x="630" y="1303"/>
                    <a:pt x="662" y="1288"/>
                  </a:cubicBezTo>
                  <a:cubicBezTo>
                    <a:pt x="753" y="1245"/>
                    <a:pt x="854" y="1156"/>
                    <a:pt x="938" y="1051"/>
                  </a:cubicBezTo>
                  <a:cubicBezTo>
                    <a:pt x="1020" y="948"/>
                    <a:pt x="1084" y="831"/>
                    <a:pt x="1106" y="731"/>
                  </a:cubicBezTo>
                  <a:cubicBezTo>
                    <a:pt x="1113" y="696"/>
                    <a:pt x="1089" y="661"/>
                    <a:pt x="1059" y="645"/>
                  </a:cubicBezTo>
                  <a:cubicBezTo>
                    <a:pt x="1001" y="613"/>
                    <a:pt x="1001" y="613"/>
                    <a:pt x="1001" y="613"/>
                  </a:cubicBezTo>
                  <a:cubicBezTo>
                    <a:pt x="942" y="580"/>
                    <a:pt x="888" y="499"/>
                    <a:pt x="924" y="432"/>
                  </a:cubicBezTo>
                  <a:cubicBezTo>
                    <a:pt x="1114" y="81"/>
                    <a:pt x="1114" y="81"/>
                    <a:pt x="1114" y="81"/>
                  </a:cubicBezTo>
                  <a:cubicBezTo>
                    <a:pt x="1150" y="16"/>
                    <a:pt x="1224" y="0"/>
                    <a:pt x="1287" y="35"/>
                  </a:cubicBezTo>
                  <a:cubicBezTo>
                    <a:pt x="1350" y="69"/>
                    <a:pt x="1350" y="69"/>
                    <a:pt x="1350" y="69"/>
                  </a:cubicBezTo>
                  <a:cubicBezTo>
                    <a:pt x="1415" y="105"/>
                    <a:pt x="1479" y="165"/>
                    <a:pt x="1527" y="235"/>
                  </a:cubicBezTo>
                  <a:cubicBezTo>
                    <a:pt x="1593" y="332"/>
                    <a:pt x="1624" y="442"/>
                    <a:pt x="1583" y="555"/>
                  </a:cubicBezTo>
                  <a:cubicBezTo>
                    <a:pt x="1500" y="781"/>
                    <a:pt x="1351" y="1030"/>
                    <a:pt x="1172" y="1253"/>
                  </a:cubicBezTo>
                  <a:cubicBezTo>
                    <a:pt x="994" y="1477"/>
                    <a:pt x="786" y="1676"/>
                    <a:pt x="586" y="1803"/>
                  </a:cubicBezTo>
                  <a:cubicBezTo>
                    <a:pt x="486" y="1867"/>
                    <a:pt x="375" y="1856"/>
                    <a:pt x="269" y="1807"/>
                  </a:cubicBezTo>
                  <a:cubicBezTo>
                    <a:pt x="157" y="1755"/>
                    <a:pt x="106" y="1695"/>
                    <a:pt x="33" y="1602"/>
                  </a:cubicBezTo>
                  <a:cubicBezTo>
                    <a:pt x="11" y="1573"/>
                    <a:pt x="0" y="1540"/>
                    <a:pt x="2" y="1508"/>
                  </a:cubicBezTo>
                  <a:cubicBezTo>
                    <a:pt x="4" y="1475"/>
                    <a:pt x="18" y="1444"/>
                    <a:pt x="45" y="1421"/>
                  </a:cubicBezTo>
                  <a:cubicBezTo>
                    <a:pt x="70" y="1399"/>
                    <a:pt x="346" y="1158"/>
                    <a:pt x="346" y="1158"/>
                  </a:cubicBezTo>
                  <a:cubicBezTo>
                    <a:pt x="376" y="1134"/>
                    <a:pt x="413" y="1133"/>
                    <a:pt x="448" y="1145"/>
                  </a:cubicBezTo>
                  <a:cubicBezTo>
                    <a:pt x="510" y="1166"/>
                    <a:pt x="536" y="1210"/>
                    <a:pt x="573" y="12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/>
            </a:p>
          </p:txBody>
        </p:sp>
      </p:grpSp>
      <p:grpSp>
        <p:nvGrpSpPr>
          <p:cNvPr id="51" name="Group 3">
            <a:extLst>
              <a:ext uri="{FF2B5EF4-FFF2-40B4-BE49-F238E27FC236}">
                <a16:creationId xmlns:a16="http://schemas.microsoft.com/office/drawing/2014/main" id="{06576B30-F9FA-DC44-8FC5-4DD49CCCA16B}"/>
              </a:ext>
            </a:extLst>
          </p:cNvPr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>
            <a:off x="2485715" y="2987952"/>
            <a:ext cx="171180" cy="171180"/>
            <a:chOff x="328396" y="5313940"/>
            <a:chExt cx="720000" cy="720000"/>
          </a:xfrm>
        </p:grpSpPr>
        <p:sp>
          <p:nvSpPr>
            <p:cNvPr id="52" name="Rectangle 4">
              <a:extLst>
                <a:ext uri="{FF2B5EF4-FFF2-40B4-BE49-F238E27FC236}">
                  <a16:creationId xmlns:a16="http://schemas.microsoft.com/office/drawing/2014/main" id="{91DC7BDE-4D9A-9043-95DE-41752086809F}"/>
                </a:ext>
              </a:extLst>
            </p:cNvPr>
            <p:cNvSpPr/>
            <p:nvPr/>
          </p:nvSpPr>
          <p:spPr bwMode="gray">
            <a:xfrm>
              <a:off x="328396" y="5313940"/>
              <a:ext cx="720000" cy="720000"/>
            </a:xfrm>
            <a:prstGeom prst="rect">
              <a:avLst/>
            </a:prstGeom>
            <a:solidFill>
              <a:srgbClr val="E55A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n-US" sz="100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" name="Freeform 76">
              <a:extLst>
                <a:ext uri="{FF2B5EF4-FFF2-40B4-BE49-F238E27FC236}">
                  <a16:creationId xmlns:a16="http://schemas.microsoft.com/office/drawing/2014/main" id="{AA69FE60-798E-454C-B054-3AA0C2850ED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56202" y="5509222"/>
              <a:ext cx="504000" cy="329436"/>
            </a:xfrm>
            <a:custGeom>
              <a:avLst/>
              <a:gdLst>
                <a:gd name="T0" fmla="*/ 0 w 2080"/>
                <a:gd name="T1" fmla="*/ 65 h 1360"/>
                <a:gd name="T2" fmla="*/ 0 w 2080"/>
                <a:gd name="T3" fmla="*/ 0 h 1360"/>
                <a:gd name="T4" fmla="*/ 2080 w 2080"/>
                <a:gd name="T5" fmla="*/ 0 h 1360"/>
                <a:gd name="T6" fmla="*/ 2080 w 2080"/>
                <a:gd name="T7" fmla="*/ 65 h 1360"/>
                <a:gd name="T8" fmla="*/ 1089 w 2080"/>
                <a:gd name="T9" fmla="*/ 862 h 1360"/>
                <a:gd name="T10" fmla="*/ 991 w 2080"/>
                <a:gd name="T11" fmla="*/ 862 h 1360"/>
                <a:gd name="T12" fmla="*/ 0 w 2080"/>
                <a:gd name="T13" fmla="*/ 65 h 1360"/>
                <a:gd name="T14" fmla="*/ 1139 w 2080"/>
                <a:gd name="T15" fmla="*/ 924 h 1360"/>
                <a:gd name="T16" fmla="*/ 1282 w 2080"/>
                <a:gd name="T17" fmla="*/ 810 h 1360"/>
                <a:gd name="T18" fmla="*/ 2076 w 2080"/>
                <a:gd name="T19" fmla="*/ 1360 h 1360"/>
                <a:gd name="T20" fmla="*/ 4 w 2080"/>
                <a:gd name="T21" fmla="*/ 1360 h 1360"/>
                <a:gd name="T22" fmla="*/ 798 w 2080"/>
                <a:gd name="T23" fmla="*/ 810 h 1360"/>
                <a:gd name="T24" fmla="*/ 941 w 2080"/>
                <a:gd name="T25" fmla="*/ 924 h 1360"/>
                <a:gd name="T26" fmla="*/ 1139 w 2080"/>
                <a:gd name="T27" fmla="*/ 924 h 1360"/>
                <a:gd name="T28" fmla="*/ 2 w 2080"/>
                <a:gd name="T29" fmla="*/ 137 h 1360"/>
                <a:gd name="T30" fmla="*/ 42 w 2080"/>
                <a:gd name="T31" fmla="*/ 201 h 1360"/>
                <a:gd name="T32" fmla="*/ 734 w 2080"/>
                <a:gd name="T33" fmla="*/ 758 h 1360"/>
                <a:gd name="T34" fmla="*/ 0 w 2080"/>
                <a:gd name="T35" fmla="*/ 1266 h 1360"/>
                <a:gd name="T36" fmla="*/ 0 w 2080"/>
                <a:gd name="T37" fmla="*/ 135 h 1360"/>
                <a:gd name="T38" fmla="*/ 2 w 2080"/>
                <a:gd name="T39" fmla="*/ 137 h 1360"/>
                <a:gd name="T40" fmla="*/ 2080 w 2080"/>
                <a:gd name="T41" fmla="*/ 136 h 1360"/>
                <a:gd name="T42" fmla="*/ 2080 w 2080"/>
                <a:gd name="T43" fmla="*/ 1265 h 1360"/>
                <a:gd name="T44" fmla="*/ 1346 w 2080"/>
                <a:gd name="T45" fmla="*/ 758 h 1360"/>
                <a:gd name="T46" fmla="*/ 2038 w 2080"/>
                <a:gd name="T47" fmla="*/ 201 h 1360"/>
                <a:gd name="T48" fmla="*/ 2080 w 2080"/>
                <a:gd name="T49" fmla="*/ 136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80" h="1360">
                  <a:moveTo>
                    <a:pt x="0" y="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80" y="0"/>
                    <a:pt x="2080" y="0"/>
                    <a:pt x="2080" y="0"/>
                  </a:cubicBezTo>
                  <a:cubicBezTo>
                    <a:pt x="2080" y="65"/>
                    <a:pt x="2080" y="65"/>
                    <a:pt x="2080" y="65"/>
                  </a:cubicBezTo>
                  <a:cubicBezTo>
                    <a:pt x="1089" y="862"/>
                    <a:pt x="1089" y="862"/>
                    <a:pt x="1089" y="862"/>
                  </a:cubicBezTo>
                  <a:cubicBezTo>
                    <a:pt x="1060" y="886"/>
                    <a:pt x="1020" y="886"/>
                    <a:pt x="991" y="862"/>
                  </a:cubicBezTo>
                  <a:lnTo>
                    <a:pt x="0" y="65"/>
                  </a:lnTo>
                  <a:close/>
                  <a:moveTo>
                    <a:pt x="1139" y="924"/>
                  </a:moveTo>
                  <a:cubicBezTo>
                    <a:pt x="1282" y="810"/>
                    <a:pt x="1282" y="810"/>
                    <a:pt x="1282" y="810"/>
                  </a:cubicBezTo>
                  <a:cubicBezTo>
                    <a:pt x="2076" y="1360"/>
                    <a:pt x="2076" y="1360"/>
                    <a:pt x="2076" y="1360"/>
                  </a:cubicBezTo>
                  <a:cubicBezTo>
                    <a:pt x="4" y="1360"/>
                    <a:pt x="4" y="1360"/>
                    <a:pt x="4" y="1360"/>
                  </a:cubicBezTo>
                  <a:cubicBezTo>
                    <a:pt x="798" y="810"/>
                    <a:pt x="798" y="810"/>
                    <a:pt x="798" y="810"/>
                  </a:cubicBezTo>
                  <a:cubicBezTo>
                    <a:pt x="941" y="924"/>
                    <a:pt x="941" y="924"/>
                    <a:pt x="941" y="924"/>
                  </a:cubicBezTo>
                  <a:cubicBezTo>
                    <a:pt x="1000" y="972"/>
                    <a:pt x="1080" y="972"/>
                    <a:pt x="1139" y="924"/>
                  </a:cubicBezTo>
                  <a:close/>
                  <a:moveTo>
                    <a:pt x="2" y="137"/>
                  </a:moveTo>
                  <a:cubicBezTo>
                    <a:pt x="8" y="163"/>
                    <a:pt x="22" y="185"/>
                    <a:pt x="42" y="201"/>
                  </a:cubicBezTo>
                  <a:cubicBezTo>
                    <a:pt x="734" y="758"/>
                    <a:pt x="734" y="758"/>
                    <a:pt x="734" y="758"/>
                  </a:cubicBezTo>
                  <a:cubicBezTo>
                    <a:pt x="0" y="1266"/>
                    <a:pt x="0" y="1266"/>
                    <a:pt x="0" y="1266"/>
                  </a:cubicBezTo>
                  <a:cubicBezTo>
                    <a:pt x="0" y="135"/>
                    <a:pt x="0" y="135"/>
                    <a:pt x="0" y="135"/>
                  </a:cubicBezTo>
                  <a:lnTo>
                    <a:pt x="2" y="137"/>
                  </a:lnTo>
                  <a:close/>
                  <a:moveTo>
                    <a:pt x="2080" y="136"/>
                  </a:moveTo>
                  <a:cubicBezTo>
                    <a:pt x="2080" y="1265"/>
                    <a:pt x="2080" y="1265"/>
                    <a:pt x="2080" y="1265"/>
                  </a:cubicBezTo>
                  <a:cubicBezTo>
                    <a:pt x="1346" y="758"/>
                    <a:pt x="1346" y="758"/>
                    <a:pt x="1346" y="758"/>
                  </a:cubicBezTo>
                  <a:cubicBezTo>
                    <a:pt x="2038" y="201"/>
                    <a:pt x="2038" y="201"/>
                    <a:pt x="2038" y="201"/>
                  </a:cubicBezTo>
                  <a:cubicBezTo>
                    <a:pt x="2060" y="182"/>
                    <a:pt x="2072" y="162"/>
                    <a:pt x="2080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</p:grp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2C30C845-ED81-944F-9DD9-C2FD5CA880FD}"/>
              </a:ext>
            </a:extLst>
          </p:cNvPr>
          <p:cNvCxnSpPr>
            <a:cxnSpLocks/>
          </p:cNvCxnSpPr>
          <p:nvPr userDrawn="1"/>
        </p:nvCxnSpPr>
        <p:spPr>
          <a:xfrm>
            <a:off x="1087374" y="3511263"/>
            <a:ext cx="4663431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6398343A-B03E-5241-AFF2-57844FA5069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71563" y="1643729"/>
            <a:ext cx="1188677" cy="154784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/>
              <a:t>Insert picture</a:t>
            </a:r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30077301-9F79-BD45-9405-E3DB875C835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485714" y="1643266"/>
            <a:ext cx="3243057" cy="1923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/>
              <a:t>Country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BD81C1CF-36D2-F449-A1CE-C88AACEAD4F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85713" y="1855082"/>
            <a:ext cx="3243057" cy="266182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/>
              <a:t>Name Surname</a:t>
            </a:r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E758619C-EB8E-594D-BD2A-B2C812E3F96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485713" y="2151657"/>
            <a:ext cx="3243057" cy="1923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/>
              <a:t>Job Position</a:t>
            </a:r>
          </a:p>
        </p:txBody>
      </p:sp>
      <p:sp>
        <p:nvSpPr>
          <p:cNvPr id="59" name="Text Placeholder 5">
            <a:extLst>
              <a:ext uri="{FF2B5EF4-FFF2-40B4-BE49-F238E27FC236}">
                <a16:creationId xmlns:a16="http://schemas.microsoft.com/office/drawing/2014/main" id="{997D1CF3-9720-DB4E-8464-5970E1D212F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730597" y="2680333"/>
            <a:ext cx="2920642" cy="1923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/>
              <a:t>Phone number</a:t>
            </a:r>
          </a:p>
        </p:txBody>
      </p:sp>
      <p:sp>
        <p:nvSpPr>
          <p:cNvPr id="60" name="Text Placeholder 5">
            <a:extLst>
              <a:ext uri="{FF2B5EF4-FFF2-40B4-BE49-F238E27FC236}">
                <a16:creationId xmlns:a16="http://schemas.microsoft.com/office/drawing/2014/main" id="{65209523-D762-3742-9C87-E30267D773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730597" y="2963140"/>
            <a:ext cx="2920642" cy="1923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/>
              <a:t>Email address</a:t>
            </a:r>
          </a:p>
        </p:txBody>
      </p:sp>
      <p:grpSp>
        <p:nvGrpSpPr>
          <p:cNvPr id="73" name="Gruppieren 80">
            <a:extLst>
              <a:ext uri="{FF2B5EF4-FFF2-40B4-BE49-F238E27FC236}">
                <a16:creationId xmlns:a16="http://schemas.microsoft.com/office/drawing/2014/main" id="{8C3D21E5-3A3A-534A-8438-08A076F65AE7}"/>
              </a:ext>
            </a:extLst>
          </p:cNvPr>
          <p:cNvGrpSpPr/>
          <p:nvPr userDrawn="1"/>
        </p:nvGrpSpPr>
        <p:grpSpPr>
          <a:xfrm>
            <a:off x="7913464" y="2703064"/>
            <a:ext cx="171180" cy="171180"/>
            <a:chOff x="3392092" y="1841122"/>
            <a:chExt cx="646508" cy="646508"/>
          </a:xfrm>
        </p:grpSpPr>
        <p:sp>
          <p:nvSpPr>
            <p:cNvPr id="74" name="Rechteck 14">
              <a:extLst>
                <a:ext uri="{FF2B5EF4-FFF2-40B4-BE49-F238E27FC236}">
                  <a16:creationId xmlns:a16="http://schemas.microsoft.com/office/drawing/2014/main" id="{E72A7009-462B-9C4D-A32D-4655327DBC1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392092" y="1841122"/>
              <a:ext cx="646508" cy="646508"/>
            </a:xfrm>
            <a:prstGeom prst="rect">
              <a:avLst/>
            </a:prstGeom>
            <a:solidFill>
              <a:srgbClr val="E55A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n-US" sz="100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5" name="Freeform 67">
              <a:extLst>
                <a:ext uri="{FF2B5EF4-FFF2-40B4-BE49-F238E27FC236}">
                  <a16:creationId xmlns:a16="http://schemas.microsoft.com/office/drawing/2014/main" id="{F251B8C6-EAE4-E94A-9BC8-9A764A464CC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546638" y="1970424"/>
              <a:ext cx="337415" cy="387905"/>
            </a:xfrm>
            <a:custGeom>
              <a:avLst/>
              <a:gdLst>
                <a:gd name="T0" fmla="*/ 573 w 1624"/>
                <a:gd name="T1" fmla="*/ 1257 h 1867"/>
                <a:gd name="T2" fmla="*/ 662 w 1624"/>
                <a:gd name="T3" fmla="*/ 1288 h 1867"/>
                <a:gd name="T4" fmla="*/ 938 w 1624"/>
                <a:gd name="T5" fmla="*/ 1051 h 1867"/>
                <a:gd name="T6" fmla="*/ 1106 w 1624"/>
                <a:gd name="T7" fmla="*/ 731 h 1867"/>
                <a:gd name="T8" fmla="*/ 1059 w 1624"/>
                <a:gd name="T9" fmla="*/ 645 h 1867"/>
                <a:gd name="T10" fmla="*/ 1001 w 1624"/>
                <a:gd name="T11" fmla="*/ 613 h 1867"/>
                <a:gd name="T12" fmla="*/ 924 w 1624"/>
                <a:gd name="T13" fmla="*/ 432 h 1867"/>
                <a:gd name="T14" fmla="*/ 1114 w 1624"/>
                <a:gd name="T15" fmla="*/ 81 h 1867"/>
                <a:gd name="T16" fmla="*/ 1287 w 1624"/>
                <a:gd name="T17" fmla="*/ 35 h 1867"/>
                <a:gd name="T18" fmla="*/ 1350 w 1624"/>
                <a:gd name="T19" fmla="*/ 69 h 1867"/>
                <a:gd name="T20" fmla="*/ 1527 w 1624"/>
                <a:gd name="T21" fmla="*/ 235 h 1867"/>
                <a:gd name="T22" fmla="*/ 1583 w 1624"/>
                <a:gd name="T23" fmla="*/ 555 h 1867"/>
                <a:gd name="T24" fmla="*/ 1172 w 1624"/>
                <a:gd name="T25" fmla="*/ 1253 h 1867"/>
                <a:gd name="T26" fmla="*/ 586 w 1624"/>
                <a:gd name="T27" fmla="*/ 1803 h 1867"/>
                <a:gd name="T28" fmla="*/ 269 w 1624"/>
                <a:gd name="T29" fmla="*/ 1807 h 1867"/>
                <a:gd name="T30" fmla="*/ 33 w 1624"/>
                <a:gd name="T31" fmla="*/ 1602 h 1867"/>
                <a:gd name="T32" fmla="*/ 2 w 1624"/>
                <a:gd name="T33" fmla="*/ 1508 h 1867"/>
                <a:gd name="T34" fmla="*/ 45 w 1624"/>
                <a:gd name="T35" fmla="*/ 1421 h 1867"/>
                <a:gd name="T36" fmla="*/ 346 w 1624"/>
                <a:gd name="T37" fmla="*/ 1158 h 1867"/>
                <a:gd name="T38" fmla="*/ 448 w 1624"/>
                <a:gd name="T39" fmla="*/ 1145 h 1867"/>
                <a:gd name="T40" fmla="*/ 573 w 1624"/>
                <a:gd name="T41" fmla="*/ 1257 h 1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24" h="1867">
                  <a:moveTo>
                    <a:pt x="573" y="1257"/>
                  </a:moveTo>
                  <a:cubicBezTo>
                    <a:pt x="592" y="1282"/>
                    <a:pt x="630" y="1303"/>
                    <a:pt x="662" y="1288"/>
                  </a:cubicBezTo>
                  <a:cubicBezTo>
                    <a:pt x="753" y="1245"/>
                    <a:pt x="854" y="1156"/>
                    <a:pt x="938" y="1051"/>
                  </a:cubicBezTo>
                  <a:cubicBezTo>
                    <a:pt x="1020" y="948"/>
                    <a:pt x="1084" y="831"/>
                    <a:pt x="1106" y="731"/>
                  </a:cubicBezTo>
                  <a:cubicBezTo>
                    <a:pt x="1113" y="696"/>
                    <a:pt x="1089" y="661"/>
                    <a:pt x="1059" y="645"/>
                  </a:cubicBezTo>
                  <a:cubicBezTo>
                    <a:pt x="1001" y="613"/>
                    <a:pt x="1001" y="613"/>
                    <a:pt x="1001" y="613"/>
                  </a:cubicBezTo>
                  <a:cubicBezTo>
                    <a:pt x="942" y="580"/>
                    <a:pt x="888" y="499"/>
                    <a:pt x="924" y="432"/>
                  </a:cubicBezTo>
                  <a:cubicBezTo>
                    <a:pt x="1114" y="81"/>
                    <a:pt x="1114" y="81"/>
                    <a:pt x="1114" y="81"/>
                  </a:cubicBezTo>
                  <a:cubicBezTo>
                    <a:pt x="1150" y="16"/>
                    <a:pt x="1224" y="0"/>
                    <a:pt x="1287" y="35"/>
                  </a:cubicBezTo>
                  <a:cubicBezTo>
                    <a:pt x="1350" y="69"/>
                    <a:pt x="1350" y="69"/>
                    <a:pt x="1350" y="69"/>
                  </a:cubicBezTo>
                  <a:cubicBezTo>
                    <a:pt x="1415" y="105"/>
                    <a:pt x="1479" y="165"/>
                    <a:pt x="1527" y="235"/>
                  </a:cubicBezTo>
                  <a:cubicBezTo>
                    <a:pt x="1593" y="332"/>
                    <a:pt x="1624" y="442"/>
                    <a:pt x="1583" y="555"/>
                  </a:cubicBezTo>
                  <a:cubicBezTo>
                    <a:pt x="1500" y="781"/>
                    <a:pt x="1351" y="1030"/>
                    <a:pt x="1172" y="1253"/>
                  </a:cubicBezTo>
                  <a:cubicBezTo>
                    <a:pt x="994" y="1477"/>
                    <a:pt x="786" y="1676"/>
                    <a:pt x="586" y="1803"/>
                  </a:cubicBezTo>
                  <a:cubicBezTo>
                    <a:pt x="486" y="1867"/>
                    <a:pt x="375" y="1856"/>
                    <a:pt x="269" y="1807"/>
                  </a:cubicBezTo>
                  <a:cubicBezTo>
                    <a:pt x="157" y="1755"/>
                    <a:pt x="106" y="1695"/>
                    <a:pt x="33" y="1602"/>
                  </a:cubicBezTo>
                  <a:cubicBezTo>
                    <a:pt x="11" y="1573"/>
                    <a:pt x="0" y="1540"/>
                    <a:pt x="2" y="1508"/>
                  </a:cubicBezTo>
                  <a:cubicBezTo>
                    <a:pt x="4" y="1475"/>
                    <a:pt x="18" y="1444"/>
                    <a:pt x="45" y="1421"/>
                  </a:cubicBezTo>
                  <a:cubicBezTo>
                    <a:pt x="70" y="1399"/>
                    <a:pt x="346" y="1158"/>
                    <a:pt x="346" y="1158"/>
                  </a:cubicBezTo>
                  <a:cubicBezTo>
                    <a:pt x="376" y="1134"/>
                    <a:pt x="413" y="1133"/>
                    <a:pt x="448" y="1145"/>
                  </a:cubicBezTo>
                  <a:cubicBezTo>
                    <a:pt x="510" y="1166"/>
                    <a:pt x="536" y="1210"/>
                    <a:pt x="573" y="12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/>
            </a:p>
          </p:txBody>
        </p:sp>
      </p:grpSp>
      <p:grpSp>
        <p:nvGrpSpPr>
          <p:cNvPr id="76" name="Group 3">
            <a:extLst>
              <a:ext uri="{FF2B5EF4-FFF2-40B4-BE49-F238E27FC236}">
                <a16:creationId xmlns:a16="http://schemas.microsoft.com/office/drawing/2014/main" id="{1977F4CE-846E-1143-B437-1F7D4215A43C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>
          <a:xfrm>
            <a:off x="7913465" y="2987952"/>
            <a:ext cx="171180" cy="171180"/>
            <a:chOff x="328396" y="5313940"/>
            <a:chExt cx="720000" cy="720000"/>
          </a:xfrm>
        </p:grpSpPr>
        <p:sp>
          <p:nvSpPr>
            <p:cNvPr id="77" name="Rectangle 4">
              <a:extLst>
                <a:ext uri="{FF2B5EF4-FFF2-40B4-BE49-F238E27FC236}">
                  <a16:creationId xmlns:a16="http://schemas.microsoft.com/office/drawing/2014/main" id="{B9A28393-48E2-F145-B2BF-80F28E7B7B8F}"/>
                </a:ext>
              </a:extLst>
            </p:cNvPr>
            <p:cNvSpPr/>
            <p:nvPr/>
          </p:nvSpPr>
          <p:spPr bwMode="gray">
            <a:xfrm>
              <a:off x="328396" y="5313940"/>
              <a:ext cx="720000" cy="720000"/>
            </a:xfrm>
            <a:prstGeom prst="rect">
              <a:avLst/>
            </a:prstGeom>
            <a:solidFill>
              <a:srgbClr val="E55A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n-US" sz="100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8" name="Freeform 76">
              <a:extLst>
                <a:ext uri="{FF2B5EF4-FFF2-40B4-BE49-F238E27FC236}">
                  <a16:creationId xmlns:a16="http://schemas.microsoft.com/office/drawing/2014/main" id="{DB8C6D49-071B-264C-B6BD-4B4F64587B4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56202" y="5509222"/>
              <a:ext cx="504000" cy="329436"/>
            </a:xfrm>
            <a:custGeom>
              <a:avLst/>
              <a:gdLst>
                <a:gd name="T0" fmla="*/ 0 w 2080"/>
                <a:gd name="T1" fmla="*/ 65 h 1360"/>
                <a:gd name="T2" fmla="*/ 0 w 2080"/>
                <a:gd name="T3" fmla="*/ 0 h 1360"/>
                <a:gd name="T4" fmla="*/ 2080 w 2080"/>
                <a:gd name="T5" fmla="*/ 0 h 1360"/>
                <a:gd name="T6" fmla="*/ 2080 w 2080"/>
                <a:gd name="T7" fmla="*/ 65 h 1360"/>
                <a:gd name="T8" fmla="*/ 1089 w 2080"/>
                <a:gd name="T9" fmla="*/ 862 h 1360"/>
                <a:gd name="T10" fmla="*/ 991 w 2080"/>
                <a:gd name="T11" fmla="*/ 862 h 1360"/>
                <a:gd name="T12" fmla="*/ 0 w 2080"/>
                <a:gd name="T13" fmla="*/ 65 h 1360"/>
                <a:gd name="T14" fmla="*/ 1139 w 2080"/>
                <a:gd name="T15" fmla="*/ 924 h 1360"/>
                <a:gd name="T16" fmla="*/ 1282 w 2080"/>
                <a:gd name="T17" fmla="*/ 810 h 1360"/>
                <a:gd name="T18" fmla="*/ 2076 w 2080"/>
                <a:gd name="T19" fmla="*/ 1360 h 1360"/>
                <a:gd name="T20" fmla="*/ 4 w 2080"/>
                <a:gd name="T21" fmla="*/ 1360 h 1360"/>
                <a:gd name="T22" fmla="*/ 798 w 2080"/>
                <a:gd name="T23" fmla="*/ 810 h 1360"/>
                <a:gd name="T24" fmla="*/ 941 w 2080"/>
                <a:gd name="T25" fmla="*/ 924 h 1360"/>
                <a:gd name="T26" fmla="*/ 1139 w 2080"/>
                <a:gd name="T27" fmla="*/ 924 h 1360"/>
                <a:gd name="T28" fmla="*/ 2 w 2080"/>
                <a:gd name="T29" fmla="*/ 137 h 1360"/>
                <a:gd name="T30" fmla="*/ 42 w 2080"/>
                <a:gd name="T31" fmla="*/ 201 h 1360"/>
                <a:gd name="T32" fmla="*/ 734 w 2080"/>
                <a:gd name="T33" fmla="*/ 758 h 1360"/>
                <a:gd name="T34" fmla="*/ 0 w 2080"/>
                <a:gd name="T35" fmla="*/ 1266 h 1360"/>
                <a:gd name="T36" fmla="*/ 0 w 2080"/>
                <a:gd name="T37" fmla="*/ 135 h 1360"/>
                <a:gd name="T38" fmla="*/ 2 w 2080"/>
                <a:gd name="T39" fmla="*/ 137 h 1360"/>
                <a:gd name="T40" fmla="*/ 2080 w 2080"/>
                <a:gd name="T41" fmla="*/ 136 h 1360"/>
                <a:gd name="T42" fmla="*/ 2080 w 2080"/>
                <a:gd name="T43" fmla="*/ 1265 h 1360"/>
                <a:gd name="T44" fmla="*/ 1346 w 2080"/>
                <a:gd name="T45" fmla="*/ 758 h 1360"/>
                <a:gd name="T46" fmla="*/ 2038 w 2080"/>
                <a:gd name="T47" fmla="*/ 201 h 1360"/>
                <a:gd name="T48" fmla="*/ 2080 w 2080"/>
                <a:gd name="T49" fmla="*/ 136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80" h="1360">
                  <a:moveTo>
                    <a:pt x="0" y="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80" y="0"/>
                    <a:pt x="2080" y="0"/>
                    <a:pt x="2080" y="0"/>
                  </a:cubicBezTo>
                  <a:cubicBezTo>
                    <a:pt x="2080" y="65"/>
                    <a:pt x="2080" y="65"/>
                    <a:pt x="2080" y="65"/>
                  </a:cubicBezTo>
                  <a:cubicBezTo>
                    <a:pt x="1089" y="862"/>
                    <a:pt x="1089" y="862"/>
                    <a:pt x="1089" y="862"/>
                  </a:cubicBezTo>
                  <a:cubicBezTo>
                    <a:pt x="1060" y="886"/>
                    <a:pt x="1020" y="886"/>
                    <a:pt x="991" y="862"/>
                  </a:cubicBezTo>
                  <a:lnTo>
                    <a:pt x="0" y="65"/>
                  </a:lnTo>
                  <a:close/>
                  <a:moveTo>
                    <a:pt x="1139" y="924"/>
                  </a:moveTo>
                  <a:cubicBezTo>
                    <a:pt x="1282" y="810"/>
                    <a:pt x="1282" y="810"/>
                    <a:pt x="1282" y="810"/>
                  </a:cubicBezTo>
                  <a:cubicBezTo>
                    <a:pt x="2076" y="1360"/>
                    <a:pt x="2076" y="1360"/>
                    <a:pt x="2076" y="1360"/>
                  </a:cubicBezTo>
                  <a:cubicBezTo>
                    <a:pt x="4" y="1360"/>
                    <a:pt x="4" y="1360"/>
                    <a:pt x="4" y="1360"/>
                  </a:cubicBezTo>
                  <a:cubicBezTo>
                    <a:pt x="798" y="810"/>
                    <a:pt x="798" y="810"/>
                    <a:pt x="798" y="810"/>
                  </a:cubicBezTo>
                  <a:cubicBezTo>
                    <a:pt x="941" y="924"/>
                    <a:pt x="941" y="924"/>
                    <a:pt x="941" y="924"/>
                  </a:cubicBezTo>
                  <a:cubicBezTo>
                    <a:pt x="1000" y="972"/>
                    <a:pt x="1080" y="972"/>
                    <a:pt x="1139" y="924"/>
                  </a:cubicBezTo>
                  <a:close/>
                  <a:moveTo>
                    <a:pt x="2" y="137"/>
                  </a:moveTo>
                  <a:cubicBezTo>
                    <a:pt x="8" y="163"/>
                    <a:pt x="22" y="185"/>
                    <a:pt x="42" y="201"/>
                  </a:cubicBezTo>
                  <a:cubicBezTo>
                    <a:pt x="734" y="758"/>
                    <a:pt x="734" y="758"/>
                    <a:pt x="734" y="758"/>
                  </a:cubicBezTo>
                  <a:cubicBezTo>
                    <a:pt x="0" y="1266"/>
                    <a:pt x="0" y="1266"/>
                    <a:pt x="0" y="1266"/>
                  </a:cubicBezTo>
                  <a:cubicBezTo>
                    <a:pt x="0" y="135"/>
                    <a:pt x="0" y="135"/>
                    <a:pt x="0" y="135"/>
                  </a:cubicBezTo>
                  <a:lnTo>
                    <a:pt x="2" y="137"/>
                  </a:lnTo>
                  <a:close/>
                  <a:moveTo>
                    <a:pt x="2080" y="136"/>
                  </a:moveTo>
                  <a:cubicBezTo>
                    <a:pt x="2080" y="1265"/>
                    <a:pt x="2080" y="1265"/>
                    <a:pt x="2080" y="1265"/>
                  </a:cubicBezTo>
                  <a:cubicBezTo>
                    <a:pt x="1346" y="758"/>
                    <a:pt x="1346" y="758"/>
                    <a:pt x="1346" y="758"/>
                  </a:cubicBezTo>
                  <a:cubicBezTo>
                    <a:pt x="2038" y="201"/>
                    <a:pt x="2038" y="201"/>
                    <a:pt x="2038" y="201"/>
                  </a:cubicBezTo>
                  <a:cubicBezTo>
                    <a:pt x="2060" y="182"/>
                    <a:pt x="2072" y="162"/>
                    <a:pt x="2080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</p:grp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756CD6B7-21B5-3243-B497-1F16AEE3E84C}"/>
              </a:ext>
            </a:extLst>
          </p:cNvPr>
          <p:cNvCxnSpPr>
            <a:cxnSpLocks/>
          </p:cNvCxnSpPr>
          <p:nvPr userDrawn="1"/>
        </p:nvCxnSpPr>
        <p:spPr>
          <a:xfrm>
            <a:off x="6515124" y="3511263"/>
            <a:ext cx="4663431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Picture Placeholder 3">
            <a:extLst>
              <a:ext uri="{FF2B5EF4-FFF2-40B4-BE49-F238E27FC236}">
                <a16:creationId xmlns:a16="http://schemas.microsoft.com/office/drawing/2014/main" id="{CAA49617-7468-D64E-BDF9-9699E89451DF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6499313" y="1643729"/>
            <a:ext cx="1188677" cy="1547840"/>
          </a:xfrm>
          <a:prstGeom prst="rect">
            <a:avLst/>
          </a:prstGeom>
          <a:solidFill>
            <a:srgbClr val="D9DADB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/>
              <a:t>Insert picture</a:t>
            </a:r>
          </a:p>
        </p:txBody>
      </p:sp>
      <p:sp>
        <p:nvSpPr>
          <p:cNvPr id="81" name="Text Placeholder 5">
            <a:extLst>
              <a:ext uri="{FF2B5EF4-FFF2-40B4-BE49-F238E27FC236}">
                <a16:creationId xmlns:a16="http://schemas.microsoft.com/office/drawing/2014/main" id="{532A916E-D9AB-7142-ABAA-77C46DE120C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913464" y="1643266"/>
            <a:ext cx="3243057" cy="1923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/>
              <a:t>Country</a:t>
            </a:r>
          </a:p>
        </p:txBody>
      </p:sp>
      <p:sp>
        <p:nvSpPr>
          <p:cNvPr id="82" name="Text Placeholder 5">
            <a:extLst>
              <a:ext uri="{FF2B5EF4-FFF2-40B4-BE49-F238E27FC236}">
                <a16:creationId xmlns:a16="http://schemas.microsoft.com/office/drawing/2014/main" id="{CB00051A-BAB0-6541-BEC3-3BFBF1514E8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913463" y="1855082"/>
            <a:ext cx="3243057" cy="266182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/>
              <a:t>Name Surname</a:t>
            </a:r>
          </a:p>
        </p:txBody>
      </p:sp>
      <p:sp>
        <p:nvSpPr>
          <p:cNvPr id="83" name="Text Placeholder 5">
            <a:extLst>
              <a:ext uri="{FF2B5EF4-FFF2-40B4-BE49-F238E27FC236}">
                <a16:creationId xmlns:a16="http://schemas.microsoft.com/office/drawing/2014/main" id="{FEEA327A-3CCE-CF45-A2E6-CF4F9923139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913463" y="2151657"/>
            <a:ext cx="3243057" cy="1923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/>
              <a:t>Job Position</a:t>
            </a:r>
          </a:p>
        </p:txBody>
      </p:sp>
      <p:sp>
        <p:nvSpPr>
          <p:cNvPr id="84" name="Text Placeholder 5">
            <a:extLst>
              <a:ext uri="{FF2B5EF4-FFF2-40B4-BE49-F238E27FC236}">
                <a16:creationId xmlns:a16="http://schemas.microsoft.com/office/drawing/2014/main" id="{F58A8C6C-A686-1449-9862-FE07AD9E9F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158347" y="2680333"/>
            <a:ext cx="2920642" cy="1923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/>
              <a:t>Phone number</a:t>
            </a:r>
          </a:p>
        </p:txBody>
      </p:sp>
      <p:sp>
        <p:nvSpPr>
          <p:cNvPr id="85" name="Text Placeholder 5">
            <a:extLst>
              <a:ext uri="{FF2B5EF4-FFF2-40B4-BE49-F238E27FC236}">
                <a16:creationId xmlns:a16="http://schemas.microsoft.com/office/drawing/2014/main" id="{43108A9A-1C9A-8844-BAFE-675F209323F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58347" y="2963140"/>
            <a:ext cx="2920642" cy="1923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/>
              <a:t>Email address</a:t>
            </a:r>
          </a:p>
        </p:txBody>
      </p:sp>
      <p:sp>
        <p:nvSpPr>
          <p:cNvPr id="33" name="Date Placeholder 27">
            <a:extLst>
              <a:ext uri="{FF2B5EF4-FFF2-40B4-BE49-F238E27FC236}">
                <a16:creationId xmlns:a16="http://schemas.microsoft.com/office/drawing/2014/main" id="{8787F161-B03C-B948-AEB2-3C95114923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2088" y="6461671"/>
            <a:ext cx="761512" cy="13379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85D48870-A1DA-403E-B305-4A859115FF99}" type="datetime5">
              <a:rPr lang="en-US" smtClean="0"/>
              <a:t>12-Feb-26</a:t>
            </a:fld>
            <a:endParaRPr lang="en-US"/>
          </a:p>
        </p:txBody>
      </p:sp>
      <p:sp>
        <p:nvSpPr>
          <p:cNvPr id="34" name="Footer Placeholder 28">
            <a:extLst>
              <a:ext uri="{FF2B5EF4-FFF2-40B4-BE49-F238E27FC236}">
                <a16:creationId xmlns:a16="http://schemas.microsoft.com/office/drawing/2014/main" id="{63A87B0D-73D6-4144-9E7C-5F556541A3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76400" y="6461671"/>
            <a:ext cx="8162717" cy="13379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144000" indent="-144000" algn="l">
              <a:buClr>
                <a:schemeClr val="tx2"/>
              </a:buClr>
              <a:buFont typeface="Wingdings" panose="05000000000000000000" pitchFamily="2" charset="2"/>
              <a:buChar char="§"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Title of presentation (Insert / Header &amp; Footer / Apply to All)</a:t>
            </a:r>
          </a:p>
        </p:txBody>
      </p:sp>
      <p:sp>
        <p:nvSpPr>
          <p:cNvPr id="35" name="Slide Number Placeholder 29">
            <a:extLst>
              <a:ext uri="{FF2B5EF4-FFF2-40B4-BE49-F238E27FC236}">
                <a16:creationId xmlns:a16="http://schemas.microsoft.com/office/drawing/2014/main" id="{C2E44692-2BB6-4C4E-A8A8-FC71141EC5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6669" y="6461671"/>
            <a:ext cx="648000" cy="13379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5F3E29E4-0979-4FCA-B4C5-5FC6044C982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FFE34E38-7866-401C-8D15-A8CD1228836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485713" y="3681413"/>
            <a:ext cx="3240000" cy="2087561"/>
          </a:xfrm>
          <a:prstGeom prst="rect">
            <a:avLst/>
          </a:prstGeom>
        </p:spPr>
        <p:txBody>
          <a:bodyPr/>
          <a:lstStyle>
            <a:lvl1pPr>
              <a:defRPr sz="140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Additional information (if needed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Text Placeholder 34">
            <a:extLst>
              <a:ext uri="{FF2B5EF4-FFF2-40B4-BE49-F238E27FC236}">
                <a16:creationId xmlns:a16="http://schemas.microsoft.com/office/drawing/2014/main" id="{0AEBFCD3-9C5D-46F6-A7E3-DECBC139C25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913463" y="3681413"/>
            <a:ext cx="3240000" cy="2087561"/>
          </a:xfrm>
          <a:prstGeom prst="rect">
            <a:avLst/>
          </a:prstGeom>
        </p:spPr>
        <p:txBody>
          <a:bodyPr/>
          <a:lstStyle>
            <a:lvl1pPr>
              <a:defRPr sz="140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Additional information (if needed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517726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| Yellow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1337BF3-B31C-138E-3AD3-5E617CEA4C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9522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1337BF3-B31C-138E-3AD3-5E617CEA4C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4" name="Gruppieren 593">
            <a:extLst>
              <a:ext uri="{FF2B5EF4-FFF2-40B4-BE49-F238E27FC236}">
                <a16:creationId xmlns:a16="http://schemas.microsoft.com/office/drawing/2014/main" id="{32616642-F936-7CA1-2F67-48BB14DCE5D7}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595" name="Rechteck 594">
              <a:extLst>
                <a:ext uri="{FF2B5EF4-FFF2-40B4-BE49-F238E27FC236}">
                  <a16:creationId xmlns:a16="http://schemas.microsoft.com/office/drawing/2014/main" id="{B71DFEA5-53F6-511C-7FB6-2E399A27FC82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6" name="Rechteck 595">
              <a:extLst>
                <a:ext uri="{FF2B5EF4-FFF2-40B4-BE49-F238E27FC236}">
                  <a16:creationId xmlns:a16="http://schemas.microsoft.com/office/drawing/2014/main" id="{66A6A02D-E817-C133-8ED6-AE8DE12B8B4B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7" name="Rechteck 596">
              <a:extLst>
                <a:ext uri="{FF2B5EF4-FFF2-40B4-BE49-F238E27FC236}">
                  <a16:creationId xmlns:a16="http://schemas.microsoft.com/office/drawing/2014/main" id="{979C1D3C-EE84-C9E8-76F0-323DC07387E8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8" name="Rechteck 597">
              <a:extLst>
                <a:ext uri="{FF2B5EF4-FFF2-40B4-BE49-F238E27FC236}">
                  <a16:creationId xmlns:a16="http://schemas.microsoft.com/office/drawing/2014/main" id="{3988E5F3-719D-2FD5-8478-2B353AA5AD39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9" name="Rechteck 598">
              <a:extLst>
                <a:ext uri="{FF2B5EF4-FFF2-40B4-BE49-F238E27FC236}">
                  <a16:creationId xmlns:a16="http://schemas.microsoft.com/office/drawing/2014/main" id="{CD5EA384-7EF4-8B00-9572-CB560198819F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0" name="Rechteck 599">
              <a:extLst>
                <a:ext uri="{FF2B5EF4-FFF2-40B4-BE49-F238E27FC236}">
                  <a16:creationId xmlns:a16="http://schemas.microsoft.com/office/drawing/2014/main" id="{4E51DA4C-4C79-F6A0-033D-C42349178235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1" name="Rechteck 600">
              <a:extLst>
                <a:ext uri="{FF2B5EF4-FFF2-40B4-BE49-F238E27FC236}">
                  <a16:creationId xmlns:a16="http://schemas.microsoft.com/office/drawing/2014/main" id="{9DF13808-95BF-81FC-F54C-3FCE6BB69378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2" name="Rechteck 601">
              <a:extLst>
                <a:ext uri="{FF2B5EF4-FFF2-40B4-BE49-F238E27FC236}">
                  <a16:creationId xmlns:a16="http://schemas.microsoft.com/office/drawing/2014/main" id="{E3311BA1-108A-1B4D-F2E8-FDD50A462460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3" name="Rechteck 602">
              <a:extLst>
                <a:ext uri="{FF2B5EF4-FFF2-40B4-BE49-F238E27FC236}">
                  <a16:creationId xmlns:a16="http://schemas.microsoft.com/office/drawing/2014/main" id="{B14342D1-A331-0CA8-DB2B-115C0F0D2C67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4" name="Rechteck 603">
              <a:extLst>
                <a:ext uri="{FF2B5EF4-FFF2-40B4-BE49-F238E27FC236}">
                  <a16:creationId xmlns:a16="http://schemas.microsoft.com/office/drawing/2014/main" id="{96B251C9-B2D5-A787-73BB-C45003CED6A2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5" name="Rechteck 604">
              <a:extLst>
                <a:ext uri="{FF2B5EF4-FFF2-40B4-BE49-F238E27FC236}">
                  <a16:creationId xmlns:a16="http://schemas.microsoft.com/office/drawing/2014/main" id="{C6788741-5A82-AD36-0D0B-57283DAA32A0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6" name="Rechteck 605">
              <a:extLst>
                <a:ext uri="{FF2B5EF4-FFF2-40B4-BE49-F238E27FC236}">
                  <a16:creationId xmlns:a16="http://schemas.microsoft.com/office/drawing/2014/main" id="{A8B7349A-B462-328F-A126-9BF39F386538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7" name="Rechteck 606">
              <a:extLst>
                <a:ext uri="{FF2B5EF4-FFF2-40B4-BE49-F238E27FC236}">
                  <a16:creationId xmlns:a16="http://schemas.microsoft.com/office/drawing/2014/main" id="{C7B086FD-5C1C-CAB5-887B-DA9CD3CC8879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8" name="Rechteck 607">
              <a:extLst>
                <a:ext uri="{FF2B5EF4-FFF2-40B4-BE49-F238E27FC236}">
                  <a16:creationId xmlns:a16="http://schemas.microsoft.com/office/drawing/2014/main" id="{1DEC48DC-FA5E-7CD8-E965-B4EB8D5E7CEC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9" name="Rechteck 608">
              <a:extLst>
                <a:ext uri="{FF2B5EF4-FFF2-40B4-BE49-F238E27FC236}">
                  <a16:creationId xmlns:a16="http://schemas.microsoft.com/office/drawing/2014/main" id="{F453417C-3C40-2DE4-9A4F-60A07A8F6985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0" name="Rechteck 609">
              <a:extLst>
                <a:ext uri="{FF2B5EF4-FFF2-40B4-BE49-F238E27FC236}">
                  <a16:creationId xmlns:a16="http://schemas.microsoft.com/office/drawing/2014/main" id="{D7CFC18C-9155-C79B-8C5A-81C532A66887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1" name="Rechteck 610">
              <a:extLst>
                <a:ext uri="{FF2B5EF4-FFF2-40B4-BE49-F238E27FC236}">
                  <a16:creationId xmlns:a16="http://schemas.microsoft.com/office/drawing/2014/main" id="{FE261F85-196B-1746-0EC8-50A6B2E3E870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2" name="Rechteck 611">
              <a:extLst>
                <a:ext uri="{FF2B5EF4-FFF2-40B4-BE49-F238E27FC236}">
                  <a16:creationId xmlns:a16="http://schemas.microsoft.com/office/drawing/2014/main" id="{3E7BBD25-8E83-C9DB-CC47-78FE82F60347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3" name="Rechteck 612">
              <a:extLst>
                <a:ext uri="{FF2B5EF4-FFF2-40B4-BE49-F238E27FC236}">
                  <a16:creationId xmlns:a16="http://schemas.microsoft.com/office/drawing/2014/main" id="{C2BA0D99-1B3D-C110-31A7-6882C571C010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4" name="Rechteck 613">
              <a:extLst>
                <a:ext uri="{FF2B5EF4-FFF2-40B4-BE49-F238E27FC236}">
                  <a16:creationId xmlns:a16="http://schemas.microsoft.com/office/drawing/2014/main" id="{797CE6DB-0C4E-E5A8-BEC5-C8E209276195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5" name="Rechteck 614">
              <a:extLst>
                <a:ext uri="{FF2B5EF4-FFF2-40B4-BE49-F238E27FC236}">
                  <a16:creationId xmlns:a16="http://schemas.microsoft.com/office/drawing/2014/main" id="{2391FD5E-EC3F-016B-A8DD-84CCBC4D7340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6" name="Rechteck 615">
              <a:extLst>
                <a:ext uri="{FF2B5EF4-FFF2-40B4-BE49-F238E27FC236}">
                  <a16:creationId xmlns:a16="http://schemas.microsoft.com/office/drawing/2014/main" id="{0BEE2C7F-BB3D-3294-65BD-96F687827A71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7" name="Rechteck 616">
              <a:extLst>
                <a:ext uri="{FF2B5EF4-FFF2-40B4-BE49-F238E27FC236}">
                  <a16:creationId xmlns:a16="http://schemas.microsoft.com/office/drawing/2014/main" id="{5E25DF93-1E56-9786-3D03-02D0C5130A3D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8" name="Rechteck 617">
              <a:extLst>
                <a:ext uri="{FF2B5EF4-FFF2-40B4-BE49-F238E27FC236}">
                  <a16:creationId xmlns:a16="http://schemas.microsoft.com/office/drawing/2014/main" id="{2F40D298-285B-ABB8-FC3D-84D2BB981A14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9" name="Rechteck 618">
              <a:extLst>
                <a:ext uri="{FF2B5EF4-FFF2-40B4-BE49-F238E27FC236}">
                  <a16:creationId xmlns:a16="http://schemas.microsoft.com/office/drawing/2014/main" id="{1A65ED63-D5E6-F68C-7960-971547B20C45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0" name="Rechteck 619">
              <a:extLst>
                <a:ext uri="{FF2B5EF4-FFF2-40B4-BE49-F238E27FC236}">
                  <a16:creationId xmlns:a16="http://schemas.microsoft.com/office/drawing/2014/main" id="{A7CAB645-434F-F1AE-E3C2-94C45B1E3EF3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1" name="Rechteck 620">
              <a:extLst>
                <a:ext uri="{FF2B5EF4-FFF2-40B4-BE49-F238E27FC236}">
                  <a16:creationId xmlns:a16="http://schemas.microsoft.com/office/drawing/2014/main" id="{892229B1-B39D-EF94-AD5B-918899A03E7B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2" name="Rechteck 621">
              <a:extLst>
                <a:ext uri="{FF2B5EF4-FFF2-40B4-BE49-F238E27FC236}">
                  <a16:creationId xmlns:a16="http://schemas.microsoft.com/office/drawing/2014/main" id="{CA01BD61-84AC-8AE4-2893-130E1073EB29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3" name="Rechteck 622">
              <a:extLst>
                <a:ext uri="{FF2B5EF4-FFF2-40B4-BE49-F238E27FC236}">
                  <a16:creationId xmlns:a16="http://schemas.microsoft.com/office/drawing/2014/main" id="{E2751E7A-4D98-2202-261F-A9703976E609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4" name="Rechteck 623">
              <a:extLst>
                <a:ext uri="{FF2B5EF4-FFF2-40B4-BE49-F238E27FC236}">
                  <a16:creationId xmlns:a16="http://schemas.microsoft.com/office/drawing/2014/main" id="{587D096C-DC5E-5156-DBD4-6E3DA2F71DDC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5" name="Rechteck 624">
              <a:extLst>
                <a:ext uri="{FF2B5EF4-FFF2-40B4-BE49-F238E27FC236}">
                  <a16:creationId xmlns:a16="http://schemas.microsoft.com/office/drawing/2014/main" id="{B4F156FC-BA88-EE9A-0E89-9427690A9E59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6" name="Rechteck 625">
              <a:extLst>
                <a:ext uri="{FF2B5EF4-FFF2-40B4-BE49-F238E27FC236}">
                  <a16:creationId xmlns:a16="http://schemas.microsoft.com/office/drawing/2014/main" id="{9DCF9648-4393-3E4E-6301-333F4ED1FAFF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7" name="Rechteck 626">
              <a:extLst>
                <a:ext uri="{FF2B5EF4-FFF2-40B4-BE49-F238E27FC236}">
                  <a16:creationId xmlns:a16="http://schemas.microsoft.com/office/drawing/2014/main" id="{D8F9353F-E948-F7BF-55D8-F8A22E4957D7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8" name="Rechteck 627">
              <a:extLst>
                <a:ext uri="{FF2B5EF4-FFF2-40B4-BE49-F238E27FC236}">
                  <a16:creationId xmlns:a16="http://schemas.microsoft.com/office/drawing/2014/main" id="{E24BA2E7-F558-A78E-C957-F3D84E0B64DB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9" name="Rechteck 628">
              <a:extLst>
                <a:ext uri="{FF2B5EF4-FFF2-40B4-BE49-F238E27FC236}">
                  <a16:creationId xmlns:a16="http://schemas.microsoft.com/office/drawing/2014/main" id="{09FAA4B6-62BA-BB43-E8FA-C68ED912A59A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0" name="Rechteck 629">
              <a:extLst>
                <a:ext uri="{FF2B5EF4-FFF2-40B4-BE49-F238E27FC236}">
                  <a16:creationId xmlns:a16="http://schemas.microsoft.com/office/drawing/2014/main" id="{8257ECE5-46A5-2317-A3D4-233D1E067571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1" name="Rechteck 630">
              <a:extLst>
                <a:ext uri="{FF2B5EF4-FFF2-40B4-BE49-F238E27FC236}">
                  <a16:creationId xmlns:a16="http://schemas.microsoft.com/office/drawing/2014/main" id="{104FECB4-95DF-49B8-28FD-1662D2EB69C2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2" name="Rechteck 631">
              <a:extLst>
                <a:ext uri="{FF2B5EF4-FFF2-40B4-BE49-F238E27FC236}">
                  <a16:creationId xmlns:a16="http://schemas.microsoft.com/office/drawing/2014/main" id="{E4AE9CE5-DECB-4635-4BB8-2CB82C2FE0DB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3" name="Rechteck 632">
              <a:extLst>
                <a:ext uri="{FF2B5EF4-FFF2-40B4-BE49-F238E27FC236}">
                  <a16:creationId xmlns:a16="http://schemas.microsoft.com/office/drawing/2014/main" id="{1F81176E-B89E-9008-F246-3E9A6CCD3260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4" name="Rechteck 633">
              <a:extLst>
                <a:ext uri="{FF2B5EF4-FFF2-40B4-BE49-F238E27FC236}">
                  <a16:creationId xmlns:a16="http://schemas.microsoft.com/office/drawing/2014/main" id="{8EF02176-F1AA-7A8E-91C0-65C431B52C5F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5" name="Rechteck 634">
              <a:extLst>
                <a:ext uri="{FF2B5EF4-FFF2-40B4-BE49-F238E27FC236}">
                  <a16:creationId xmlns:a16="http://schemas.microsoft.com/office/drawing/2014/main" id="{B839976B-72FA-B559-AC0F-A6D23BD6FED8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6" name="Rechteck 635">
              <a:extLst>
                <a:ext uri="{FF2B5EF4-FFF2-40B4-BE49-F238E27FC236}">
                  <a16:creationId xmlns:a16="http://schemas.microsoft.com/office/drawing/2014/main" id="{2E2C3D3B-7A27-E527-792A-E594C3745FC2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7" name="Rechteck 636">
              <a:extLst>
                <a:ext uri="{FF2B5EF4-FFF2-40B4-BE49-F238E27FC236}">
                  <a16:creationId xmlns:a16="http://schemas.microsoft.com/office/drawing/2014/main" id="{36485EF6-8396-C55C-8E8D-9517C5BAF673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8" name="Rechteck 637">
              <a:extLst>
                <a:ext uri="{FF2B5EF4-FFF2-40B4-BE49-F238E27FC236}">
                  <a16:creationId xmlns:a16="http://schemas.microsoft.com/office/drawing/2014/main" id="{639FCD22-DCF9-DE04-BBC5-B446B64F33F4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9" name="Rechteck 638">
              <a:extLst>
                <a:ext uri="{FF2B5EF4-FFF2-40B4-BE49-F238E27FC236}">
                  <a16:creationId xmlns:a16="http://schemas.microsoft.com/office/drawing/2014/main" id="{8DBDC1CB-114D-8E10-C7E6-E8161AF49B3C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0" name="Rechteck 639">
              <a:extLst>
                <a:ext uri="{FF2B5EF4-FFF2-40B4-BE49-F238E27FC236}">
                  <a16:creationId xmlns:a16="http://schemas.microsoft.com/office/drawing/2014/main" id="{645C8D53-D17A-0952-B5E8-5DF061EE76C6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1" name="Rechteck 640">
              <a:extLst>
                <a:ext uri="{FF2B5EF4-FFF2-40B4-BE49-F238E27FC236}">
                  <a16:creationId xmlns:a16="http://schemas.microsoft.com/office/drawing/2014/main" id="{BE0DE06F-1AD1-F3FA-CFF0-7911B24C42C9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2" name="Rechteck 641">
              <a:extLst>
                <a:ext uri="{FF2B5EF4-FFF2-40B4-BE49-F238E27FC236}">
                  <a16:creationId xmlns:a16="http://schemas.microsoft.com/office/drawing/2014/main" id="{7749350C-EDBF-ED92-6D47-5E27713136DC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3" name="Rechteck 642">
              <a:extLst>
                <a:ext uri="{FF2B5EF4-FFF2-40B4-BE49-F238E27FC236}">
                  <a16:creationId xmlns:a16="http://schemas.microsoft.com/office/drawing/2014/main" id="{D10BCFF1-A80B-EC19-006B-5D1A25D224B4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4" name="Rechteck 643">
              <a:extLst>
                <a:ext uri="{FF2B5EF4-FFF2-40B4-BE49-F238E27FC236}">
                  <a16:creationId xmlns:a16="http://schemas.microsoft.com/office/drawing/2014/main" id="{7CEFC6F2-CC3B-C172-DA89-C4A02CE5AE88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5" name="Rechteck 644">
              <a:extLst>
                <a:ext uri="{FF2B5EF4-FFF2-40B4-BE49-F238E27FC236}">
                  <a16:creationId xmlns:a16="http://schemas.microsoft.com/office/drawing/2014/main" id="{91396361-3368-1895-5C1E-4D3E5261D137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6" name="Rechteck 645">
              <a:extLst>
                <a:ext uri="{FF2B5EF4-FFF2-40B4-BE49-F238E27FC236}">
                  <a16:creationId xmlns:a16="http://schemas.microsoft.com/office/drawing/2014/main" id="{B6B56CB0-B0BA-CC46-FA2C-657755A6C999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7" name="Rechteck 646">
              <a:extLst>
                <a:ext uri="{FF2B5EF4-FFF2-40B4-BE49-F238E27FC236}">
                  <a16:creationId xmlns:a16="http://schemas.microsoft.com/office/drawing/2014/main" id="{0DC57DF3-D0E1-10EA-D4DE-BF03F6818B20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8" name="Rechteck 647">
              <a:extLst>
                <a:ext uri="{FF2B5EF4-FFF2-40B4-BE49-F238E27FC236}">
                  <a16:creationId xmlns:a16="http://schemas.microsoft.com/office/drawing/2014/main" id="{833102E3-4412-4E8D-F563-452DBE6D8CC8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9" name="Rechteck 648">
              <a:extLst>
                <a:ext uri="{FF2B5EF4-FFF2-40B4-BE49-F238E27FC236}">
                  <a16:creationId xmlns:a16="http://schemas.microsoft.com/office/drawing/2014/main" id="{40462E81-74A0-CE24-99C2-7A4966CC6035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0" name="Rechteck 649">
              <a:extLst>
                <a:ext uri="{FF2B5EF4-FFF2-40B4-BE49-F238E27FC236}">
                  <a16:creationId xmlns:a16="http://schemas.microsoft.com/office/drawing/2014/main" id="{52FF1A6F-E5DC-E360-7FCD-616B79719B39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1" name="Rechteck 650">
              <a:extLst>
                <a:ext uri="{FF2B5EF4-FFF2-40B4-BE49-F238E27FC236}">
                  <a16:creationId xmlns:a16="http://schemas.microsoft.com/office/drawing/2014/main" id="{EDA99EA4-4B59-292B-7B6A-91BE75F1DF01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2" name="Rechteck 651">
              <a:extLst>
                <a:ext uri="{FF2B5EF4-FFF2-40B4-BE49-F238E27FC236}">
                  <a16:creationId xmlns:a16="http://schemas.microsoft.com/office/drawing/2014/main" id="{1EC77C51-AFF2-A84D-E832-F7E77B099C30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3" name="Rechteck 652">
              <a:extLst>
                <a:ext uri="{FF2B5EF4-FFF2-40B4-BE49-F238E27FC236}">
                  <a16:creationId xmlns:a16="http://schemas.microsoft.com/office/drawing/2014/main" id="{1AF953F6-F138-69AD-D299-D4CFCABCAA19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4" name="Rechteck 653">
              <a:extLst>
                <a:ext uri="{FF2B5EF4-FFF2-40B4-BE49-F238E27FC236}">
                  <a16:creationId xmlns:a16="http://schemas.microsoft.com/office/drawing/2014/main" id="{FDB511E8-0045-46F1-64B2-7FDC7A24A3A2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5" name="Rechteck 654">
              <a:extLst>
                <a:ext uri="{FF2B5EF4-FFF2-40B4-BE49-F238E27FC236}">
                  <a16:creationId xmlns:a16="http://schemas.microsoft.com/office/drawing/2014/main" id="{39491065-8ECA-9989-CF21-FF44514E45B7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6" name="Rechteck 655">
              <a:extLst>
                <a:ext uri="{FF2B5EF4-FFF2-40B4-BE49-F238E27FC236}">
                  <a16:creationId xmlns:a16="http://schemas.microsoft.com/office/drawing/2014/main" id="{9F4D882D-946F-D469-B5DC-E5AA18860769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7" name="Rechteck 656">
              <a:extLst>
                <a:ext uri="{FF2B5EF4-FFF2-40B4-BE49-F238E27FC236}">
                  <a16:creationId xmlns:a16="http://schemas.microsoft.com/office/drawing/2014/main" id="{02082AEB-25D7-59A4-E17E-EB3F06D43188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8" name="Rechteck 657">
              <a:extLst>
                <a:ext uri="{FF2B5EF4-FFF2-40B4-BE49-F238E27FC236}">
                  <a16:creationId xmlns:a16="http://schemas.microsoft.com/office/drawing/2014/main" id="{6F414C17-9B85-44B4-7833-F94E505259EB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9" name="Rechteck 658">
              <a:extLst>
                <a:ext uri="{FF2B5EF4-FFF2-40B4-BE49-F238E27FC236}">
                  <a16:creationId xmlns:a16="http://schemas.microsoft.com/office/drawing/2014/main" id="{E57DFE97-48B7-2291-F43F-3EA8611ED77E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0" name="Rechteck 659">
              <a:extLst>
                <a:ext uri="{FF2B5EF4-FFF2-40B4-BE49-F238E27FC236}">
                  <a16:creationId xmlns:a16="http://schemas.microsoft.com/office/drawing/2014/main" id="{BDC8E0CC-D086-CA63-D194-95B565992ADB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1" name="Rechteck 660">
              <a:extLst>
                <a:ext uri="{FF2B5EF4-FFF2-40B4-BE49-F238E27FC236}">
                  <a16:creationId xmlns:a16="http://schemas.microsoft.com/office/drawing/2014/main" id="{43249363-9EC7-3BE3-8FBC-3A5A304971EB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2" name="Rechteck 661">
              <a:extLst>
                <a:ext uri="{FF2B5EF4-FFF2-40B4-BE49-F238E27FC236}">
                  <a16:creationId xmlns:a16="http://schemas.microsoft.com/office/drawing/2014/main" id="{F0013AD1-8843-A9B0-6896-C8D729514E5B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3" name="Rechteck 662">
              <a:extLst>
                <a:ext uri="{FF2B5EF4-FFF2-40B4-BE49-F238E27FC236}">
                  <a16:creationId xmlns:a16="http://schemas.microsoft.com/office/drawing/2014/main" id="{E8AB35B9-3503-A02F-8D93-4354379F0E74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4" name="Rechteck 663">
              <a:extLst>
                <a:ext uri="{FF2B5EF4-FFF2-40B4-BE49-F238E27FC236}">
                  <a16:creationId xmlns:a16="http://schemas.microsoft.com/office/drawing/2014/main" id="{36C04AFC-5D53-FCD9-CEA4-E6309671D3D9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5" name="Rechteck 664">
              <a:extLst>
                <a:ext uri="{FF2B5EF4-FFF2-40B4-BE49-F238E27FC236}">
                  <a16:creationId xmlns:a16="http://schemas.microsoft.com/office/drawing/2014/main" id="{B74AC5F3-C960-3AA6-8396-528C824AB2AB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6" name="Rechteck 665">
              <a:extLst>
                <a:ext uri="{FF2B5EF4-FFF2-40B4-BE49-F238E27FC236}">
                  <a16:creationId xmlns:a16="http://schemas.microsoft.com/office/drawing/2014/main" id="{F96AAC54-BD04-1522-FDE3-1094D79121A9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7" name="Rechteck 666">
              <a:extLst>
                <a:ext uri="{FF2B5EF4-FFF2-40B4-BE49-F238E27FC236}">
                  <a16:creationId xmlns:a16="http://schemas.microsoft.com/office/drawing/2014/main" id="{A86DAD03-672A-1B7E-F5A0-8632B873D5DA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8" name="Rechteck 667">
              <a:extLst>
                <a:ext uri="{FF2B5EF4-FFF2-40B4-BE49-F238E27FC236}">
                  <a16:creationId xmlns:a16="http://schemas.microsoft.com/office/drawing/2014/main" id="{59F391FF-850B-C4DB-2705-AF6C5DE404A6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9" name="Rechteck 668">
              <a:extLst>
                <a:ext uri="{FF2B5EF4-FFF2-40B4-BE49-F238E27FC236}">
                  <a16:creationId xmlns:a16="http://schemas.microsoft.com/office/drawing/2014/main" id="{87FD1149-3CB5-8DD2-DCE4-1909D2D3050D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0" name="Rechteck 669">
              <a:extLst>
                <a:ext uri="{FF2B5EF4-FFF2-40B4-BE49-F238E27FC236}">
                  <a16:creationId xmlns:a16="http://schemas.microsoft.com/office/drawing/2014/main" id="{1D010A8E-AC9A-0D9C-F534-135521F19A5E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1" name="Rechteck 670">
              <a:extLst>
                <a:ext uri="{FF2B5EF4-FFF2-40B4-BE49-F238E27FC236}">
                  <a16:creationId xmlns:a16="http://schemas.microsoft.com/office/drawing/2014/main" id="{53618FF0-3726-A121-7577-410E12CCAD20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2" name="Rechteck 671">
              <a:extLst>
                <a:ext uri="{FF2B5EF4-FFF2-40B4-BE49-F238E27FC236}">
                  <a16:creationId xmlns:a16="http://schemas.microsoft.com/office/drawing/2014/main" id="{487C084A-093E-48E4-D761-8E053E48D909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3" name="Rechteck 672">
              <a:extLst>
                <a:ext uri="{FF2B5EF4-FFF2-40B4-BE49-F238E27FC236}">
                  <a16:creationId xmlns:a16="http://schemas.microsoft.com/office/drawing/2014/main" id="{885C8212-0054-7E02-EAAF-3EE5F2293B9D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4" name="Rechteck 673">
              <a:extLst>
                <a:ext uri="{FF2B5EF4-FFF2-40B4-BE49-F238E27FC236}">
                  <a16:creationId xmlns:a16="http://schemas.microsoft.com/office/drawing/2014/main" id="{D1C572A0-9F0D-EEB1-6255-688953AA481C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5" name="Rechteck 674">
              <a:extLst>
                <a:ext uri="{FF2B5EF4-FFF2-40B4-BE49-F238E27FC236}">
                  <a16:creationId xmlns:a16="http://schemas.microsoft.com/office/drawing/2014/main" id="{91E39A0E-98D5-3A0F-BB60-16DF043C6CBF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6" name="Rechteck 675">
              <a:extLst>
                <a:ext uri="{FF2B5EF4-FFF2-40B4-BE49-F238E27FC236}">
                  <a16:creationId xmlns:a16="http://schemas.microsoft.com/office/drawing/2014/main" id="{11115FB6-DBCE-7302-CB3C-B9A5640BD087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7" name="Rechteck 676">
              <a:extLst>
                <a:ext uri="{FF2B5EF4-FFF2-40B4-BE49-F238E27FC236}">
                  <a16:creationId xmlns:a16="http://schemas.microsoft.com/office/drawing/2014/main" id="{19C4836A-4B1F-214E-FE16-C5317D8DFD50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8" name="Rechteck 677">
              <a:extLst>
                <a:ext uri="{FF2B5EF4-FFF2-40B4-BE49-F238E27FC236}">
                  <a16:creationId xmlns:a16="http://schemas.microsoft.com/office/drawing/2014/main" id="{C051C33F-5BB2-AA86-228E-A7E9EF7A6DF9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9" name="Rechteck 678">
              <a:extLst>
                <a:ext uri="{FF2B5EF4-FFF2-40B4-BE49-F238E27FC236}">
                  <a16:creationId xmlns:a16="http://schemas.microsoft.com/office/drawing/2014/main" id="{15BEA18C-9153-7689-355E-39FD474A9120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0" name="Rechteck 679">
              <a:extLst>
                <a:ext uri="{FF2B5EF4-FFF2-40B4-BE49-F238E27FC236}">
                  <a16:creationId xmlns:a16="http://schemas.microsoft.com/office/drawing/2014/main" id="{18557F20-9D34-9B39-F5DB-F311DF672FF3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1" name="Rechteck 680">
              <a:extLst>
                <a:ext uri="{FF2B5EF4-FFF2-40B4-BE49-F238E27FC236}">
                  <a16:creationId xmlns:a16="http://schemas.microsoft.com/office/drawing/2014/main" id="{F6C48807-031D-762C-A17C-1C800E2A6918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2" name="Rechteck 681">
              <a:extLst>
                <a:ext uri="{FF2B5EF4-FFF2-40B4-BE49-F238E27FC236}">
                  <a16:creationId xmlns:a16="http://schemas.microsoft.com/office/drawing/2014/main" id="{546FD122-2B45-E7D6-1724-97BE5F49BE2C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3" name="Rechteck 682">
              <a:extLst>
                <a:ext uri="{FF2B5EF4-FFF2-40B4-BE49-F238E27FC236}">
                  <a16:creationId xmlns:a16="http://schemas.microsoft.com/office/drawing/2014/main" id="{7FEF365E-E05B-09EA-16BE-09AD245E3B3F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4" name="Rechteck 683">
              <a:extLst>
                <a:ext uri="{FF2B5EF4-FFF2-40B4-BE49-F238E27FC236}">
                  <a16:creationId xmlns:a16="http://schemas.microsoft.com/office/drawing/2014/main" id="{539A6AE0-3AB2-F25D-84AA-4F42DC9A9E8D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5" name="Rechteck 684">
              <a:extLst>
                <a:ext uri="{FF2B5EF4-FFF2-40B4-BE49-F238E27FC236}">
                  <a16:creationId xmlns:a16="http://schemas.microsoft.com/office/drawing/2014/main" id="{80CB220D-AD49-832C-FB0C-954750FF1207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6" name="Rechteck 685">
              <a:extLst>
                <a:ext uri="{FF2B5EF4-FFF2-40B4-BE49-F238E27FC236}">
                  <a16:creationId xmlns:a16="http://schemas.microsoft.com/office/drawing/2014/main" id="{E072985D-6E7D-70D3-9134-B267D7DE24E9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7" name="Rechteck 686">
              <a:extLst>
                <a:ext uri="{FF2B5EF4-FFF2-40B4-BE49-F238E27FC236}">
                  <a16:creationId xmlns:a16="http://schemas.microsoft.com/office/drawing/2014/main" id="{AA5349B0-5EB4-6545-1BD4-6FC5CB719BCF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8" name="Rechteck 687">
              <a:extLst>
                <a:ext uri="{FF2B5EF4-FFF2-40B4-BE49-F238E27FC236}">
                  <a16:creationId xmlns:a16="http://schemas.microsoft.com/office/drawing/2014/main" id="{BF2E719E-B992-E329-0C03-FA4607E747E7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9" name="Rechteck 688">
              <a:extLst>
                <a:ext uri="{FF2B5EF4-FFF2-40B4-BE49-F238E27FC236}">
                  <a16:creationId xmlns:a16="http://schemas.microsoft.com/office/drawing/2014/main" id="{3FB2D0DB-BC07-B6E3-3523-5439766AFAE4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0" name="Rechteck 689">
              <a:extLst>
                <a:ext uri="{FF2B5EF4-FFF2-40B4-BE49-F238E27FC236}">
                  <a16:creationId xmlns:a16="http://schemas.microsoft.com/office/drawing/2014/main" id="{106B4B9D-1128-72C6-0855-97A515D53603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1" name="Rechteck 690">
              <a:extLst>
                <a:ext uri="{FF2B5EF4-FFF2-40B4-BE49-F238E27FC236}">
                  <a16:creationId xmlns:a16="http://schemas.microsoft.com/office/drawing/2014/main" id="{88AF91A8-04E0-DAB1-982A-83B33F516899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2" name="Rechteck 691">
              <a:extLst>
                <a:ext uri="{FF2B5EF4-FFF2-40B4-BE49-F238E27FC236}">
                  <a16:creationId xmlns:a16="http://schemas.microsoft.com/office/drawing/2014/main" id="{E3E5C741-5A9B-8506-812B-1C951FBEFDB6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3" name="Rechteck 692">
              <a:extLst>
                <a:ext uri="{FF2B5EF4-FFF2-40B4-BE49-F238E27FC236}">
                  <a16:creationId xmlns:a16="http://schemas.microsoft.com/office/drawing/2014/main" id="{B16BA001-1DE8-26B6-7F76-D6BB9C353A83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4" name="Rechteck 693">
              <a:extLst>
                <a:ext uri="{FF2B5EF4-FFF2-40B4-BE49-F238E27FC236}">
                  <a16:creationId xmlns:a16="http://schemas.microsoft.com/office/drawing/2014/main" id="{8F907C62-2B49-B87D-31A3-2D53F0539AEF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5" name="Rechteck 694">
              <a:extLst>
                <a:ext uri="{FF2B5EF4-FFF2-40B4-BE49-F238E27FC236}">
                  <a16:creationId xmlns:a16="http://schemas.microsoft.com/office/drawing/2014/main" id="{E4B708B1-4ACE-AD91-9ADA-51897E3F9595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6" name="Rechteck 695">
              <a:extLst>
                <a:ext uri="{FF2B5EF4-FFF2-40B4-BE49-F238E27FC236}">
                  <a16:creationId xmlns:a16="http://schemas.microsoft.com/office/drawing/2014/main" id="{51536BB0-9703-F8F8-F881-D1079B0B2724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7" name="Rechteck 696">
              <a:extLst>
                <a:ext uri="{FF2B5EF4-FFF2-40B4-BE49-F238E27FC236}">
                  <a16:creationId xmlns:a16="http://schemas.microsoft.com/office/drawing/2014/main" id="{EC988787-4046-67DE-DE3F-AC6E067EC00E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8" name="Rechteck 697">
              <a:extLst>
                <a:ext uri="{FF2B5EF4-FFF2-40B4-BE49-F238E27FC236}">
                  <a16:creationId xmlns:a16="http://schemas.microsoft.com/office/drawing/2014/main" id="{1E550D1C-5938-44C9-32B5-3DB3D1C1DAB4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9" name="Rechteck 698">
              <a:extLst>
                <a:ext uri="{FF2B5EF4-FFF2-40B4-BE49-F238E27FC236}">
                  <a16:creationId xmlns:a16="http://schemas.microsoft.com/office/drawing/2014/main" id="{9FA7F4DA-7581-E679-4CB7-F08DFE52FA24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0" name="Rechteck 699">
              <a:extLst>
                <a:ext uri="{FF2B5EF4-FFF2-40B4-BE49-F238E27FC236}">
                  <a16:creationId xmlns:a16="http://schemas.microsoft.com/office/drawing/2014/main" id="{C097D8E7-56D6-C119-A63B-B6E1882DFCFB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1" name="Rechteck 700">
              <a:extLst>
                <a:ext uri="{FF2B5EF4-FFF2-40B4-BE49-F238E27FC236}">
                  <a16:creationId xmlns:a16="http://schemas.microsoft.com/office/drawing/2014/main" id="{61C89FA3-AEE2-B251-248D-67EE7DBB46AE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2" name="Rechteck 701">
              <a:extLst>
                <a:ext uri="{FF2B5EF4-FFF2-40B4-BE49-F238E27FC236}">
                  <a16:creationId xmlns:a16="http://schemas.microsoft.com/office/drawing/2014/main" id="{BE2E903A-6A53-D437-6C59-093375032CE9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3" name="Rechteck 702">
              <a:extLst>
                <a:ext uri="{FF2B5EF4-FFF2-40B4-BE49-F238E27FC236}">
                  <a16:creationId xmlns:a16="http://schemas.microsoft.com/office/drawing/2014/main" id="{8153F25A-8C6D-5614-2FFF-6DDC96DC5A90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4" name="Rechteck 703">
              <a:extLst>
                <a:ext uri="{FF2B5EF4-FFF2-40B4-BE49-F238E27FC236}">
                  <a16:creationId xmlns:a16="http://schemas.microsoft.com/office/drawing/2014/main" id="{C484601C-0BE7-E05B-7638-091DFB14D595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5" name="Rechteck 704">
              <a:extLst>
                <a:ext uri="{FF2B5EF4-FFF2-40B4-BE49-F238E27FC236}">
                  <a16:creationId xmlns:a16="http://schemas.microsoft.com/office/drawing/2014/main" id="{EE7F9E8C-4F3B-5706-5ABF-734384FA17A2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6" name="Rechteck 705">
              <a:extLst>
                <a:ext uri="{FF2B5EF4-FFF2-40B4-BE49-F238E27FC236}">
                  <a16:creationId xmlns:a16="http://schemas.microsoft.com/office/drawing/2014/main" id="{D1E953F0-BDAC-49AF-BEC5-F41D8B685521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7" name="Rechteck 706">
              <a:extLst>
                <a:ext uri="{FF2B5EF4-FFF2-40B4-BE49-F238E27FC236}">
                  <a16:creationId xmlns:a16="http://schemas.microsoft.com/office/drawing/2014/main" id="{58D700B3-852B-1867-E4C3-676CDB248FB8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8" name="Rechteck 707">
              <a:extLst>
                <a:ext uri="{FF2B5EF4-FFF2-40B4-BE49-F238E27FC236}">
                  <a16:creationId xmlns:a16="http://schemas.microsoft.com/office/drawing/2014/main" id="{5E782952-BFD3-D697-7E44-0C5A5508E1BC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9" name="Rechteck 708">
              <a:extLst>
                <a:ext uri="{FF2B5EF4-FFF2-40B4-BE49-F238E27FC236}">
                  <a16:creationId xmlns:a16="http://schemas.microsoft.com/office/drawing/2014/main" id="{9D204DC8-1AF5-D159-CAE6-F03FDE3A2791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0" name="Rechteck 709">
              <a:extLst>
                <a:ext uri="{FF2B5EF4-FFF2-40B4-BE49-F238E27FC236}">
                  <a16:creationId xmlns:a16="http://schemas.microsoft.com/office/drawing/2014/main" id="{B3439C7B-DAAE-E602-3809-27776290528E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1" name="Rechteck 710">
              <a:extLst>
                <a:ext uri="{FF2B5EF4-FFF2-40B4-BE49-F238E27FC236}">
                  <a16:creationId xmlns:a16="http://schemas.microsoft.com/office/drawing/2014/main" id="{11AAC305-2958-7DE5-BEFF-02354CEB7658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2" name="Rechteck 711">
              <a:extLst>
                <a:ext uri="{FF2B5EF4-FFF2-40B4-BE49-F238E27FC236}">
                  <a16:creationId xmlns:a16="http://schemas.microsoft.com/office/drawing/2014/main" id="{0B3A05D9-602D-361D-ACF9-5617CAB1578E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3" name="Rechteck 712">
              <a:extLst>
                <a:ext uri="{FF2B5EF4-FFF2-40B4-BE49-F238E27FC236}">
                  <a16:creationId xmlns:a16="http://schemas.microsoft.com/office/drawing/2014/main" id="{8F8451F0-3579-5378-C3EE-F569872EE03E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4" name="Rechteck 713">
              <a:extLst>
                <a:ext uri="{FF2B5EF4-FFF2-40B4-BE49-F238E27FC236}">
                  <a16:creationId xmlns:a16="http://schemas.microsoft.com/office/drawing/2014/main" id="{18060EC0-D15A-62DF-9B02-A9054DCCD4AF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5" name="Rechteck 714">
              <a:extLst>
                <a:ext uri="{FF2B5EF4-FFF2-40B4-BE49-F238E27FC236}">
                  <a16:creationId xmlns:a16="http://schemas.microsoft.com/office/drawing/2014/main" id="{D863D834-297C-8996-1B27-B87B49C9EEAC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6" name="Rechteck 715">
              <a:extLst>
                <a:ext uri="{FF2B5EF4-FFF2-40B4-BE49-F238E27FC236}">
                  <a16:creationId xmlns:a16="http://schemas.microsoft.com/office/drawing/2014/main" id="{800C693B-1980-99DF-AC8E-BF2BBEC848A3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7" name="Rechteck 716">
              <a:extLst>
                <a:ext uri="{FF2B5EF4-FFF2-40B4-BE49-F238E27FC236}">
                  <a16:creationId xmlns:a16="http://schemas.microsoft.com/office/drawing/2014/main" id="{4144C978-1660-B1EC-8154-02EEAE070062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8" name="Rechteck 717">
              <a:extLst>
                <a:ext uri="{FF2B5EF4-FFF2-40B4-BE49-F238E27FC236}">
                  <a16:creationId xmlns:a16="http://schemas.microsoft.com/office/drawing/2014/main" id="{FEB3F0D6-9B7E-182E-8EB3-5925FFE9B275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9" name="Rechteck 718">
              <a:extLst>
                <a:ext uri="{FF2B5EF4-FFF2-40B4-BE49-F238E27FC236}">
                  <a16:creationId xmlns:a16="http://schemas.microsoft.com/office/drawing/2014/main" id="{0D363F78-CB86-C97A-C44E-987EE93C7B78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0" name="Rechteck 719">
              <a:extLst>
                <a:ext uri="{FF2B5EF4-FFF2-40B4-BE49-F238E27FC236}">
                  <a16:creationId xmlns:a16="http://schemas.microsoft.com/office/drawing/2014/main" id="{4459B110-7A66-339A-6649-865504A9DB14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1" name="Rechteck 720">
              <a:extLst>
                <a:ext uri="{FF2B5EF4-FFF2-40B4-BE49-F238E27FC236}">
                  <a16:creationId xmlns:a16="http://schemas.microsoft.com/office/drawing/2014/main" id="{8E07A1C2-F047-2955-C2C0-F03BA1EF7720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2" name="Rechteck 721">
              <a:extLst>
                <a:ext uri="{FF2B5EF4-FFF2-40B4-BE49-F238E27FC236}">
                  <a16:creationId xmlns:a16="http://schemas.microsoft.com/office/drawing/2014/main" id="{210B0E27-2D78-6CBE-ACC8-BDEE56DAEDA6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3" name="Rechteck 722">
              <a:extLst>
                <a:ext uri="{FF2B5EF4-FFF2-40B4-BE49-F238E27FC236}">
                  <a16:creationId xmlns:a16="http://schemas.microsoft.com/office/drawing/2014/main" id="{593CA2C3-1103-C663-DA41-86D551B94335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4" name="Rechteck 723">
              <a:extLst>
                <a:ext uri="{FF2B5EF4-FFF2-40B4-BE49-F238E27FC236}">
                  <a16:creationId xmlns:a16="http://schemas.microsoft.com/office/drawing/2014/main" id="{C4393D9A-5200-93CF-6E50-9DFE46AE8477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5" name="Rechteck 724">
              <a:extLst>
                <a:ext uri="{FF2B5EF4-FFF2-40B4-BE49-F238E27FC236}">
                  <a16:creationId xmlns:a16="http://schemas.microsoft.com/office/drawing/2014/main" id="{F947CF15-2FB4-DCBE-00B1-773B5059E2F1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6" name="Rechteck 725">
              <a:extLst>
                <a:ext uri="{FF2B5EF4-FFF2-40B4-BE49-F238E27FC236}">
                  <a16:creationId xmlns:a16="http://schemas.microsoft.com/office/drawing/2014/main" id="{4769BE24-7DB9-D547-E6F2-186D01D1067F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7" name="Rechteck 726">
              <a:extLst>
                <a:ext uri="{FF2B5EF4-FFF2-40B4-BE49-F238E27FC236}">
                  <a16:creationId xmlns:a16="http://schemas.microsoft.com/office/drawing/2014/main" id="{29AF6B5E-CC6C-CBF8-3FC9-42D3F3AC8AE3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8" name="Rechteck 727">
              <a:extLst>
                <a:ext uri="{FF2B5EF4-FFF2-40B4-BE49-F238E27FC236}">
                  <a16:creationId xmlns:a16="http://schemas.microsoft.com/office/drawing/2014/main" id="{A5CDC61E-CAE4-7D77-7890-AF7AC0AF3AC2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9" name="Rechteck 728">
              <a:extLst>
                <a:ext uri="{FF2B5EF4-FFF2-40B4-BE49-F238E27FC236}">
                  <a16:creationId xmlns:a16="http://schemas.microsoft.com/office/drawing/2014/main" id="{AD625D30-A54D-8683-377A-C99A395F1B70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0" name="Rechteck 729">
              <a:extLst>
                <a:ext uri="{FF2B5EF4-FFF2-40B4-BE49-F238E27FC236}">
                  <a16:creationId xmlns:a16="http://schemas.microsoft.com/office/drawing/2014/main" id="{96F1FF48-375E-A444-563A-F395F90CD7CB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1" name="Rechteck 730">
              <a:extLst>
                <a:ext uri="{FF2B5EF4-FFF2-40B4-BE49-F238E27FC236}">
                  <a16:creationId xmlns:a16="http://schemas.microsoft.com/office/drawing/2014/main" id="{F2098470-3D91-3EFD-5A51-72AA5BA7F23D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2" name="Rechteck 731">
              <a:extLst>
                <a:ext uri="{FF2B5EF4-FFF2-40B4-BE49-F238E27FC236}">
                  <a16:creationId xmlns:a16="http://schemas.microsoft.com/office/drawing/2014/main" id="{0D026592-E39C-3A75-BB40-74AB9804502A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3" name="Rechteck 732">
              <a:extLst>
                <a:ext uri="{FF2B5EF4-FFF2-40B4-BE49-F238E27FC236}">
                  <a16:creationId xmlns:a16="http://schemas.microsoft.com/office/drawing/2014/main" id="{9A0A7D67-087E-6A85-5847-9401960CE565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4" name="Rechteck 733">
              <a:extLst>
                <a:ext uri="{FF2B5EF4-FFF2-40B4-BE49-F238E27FC236}">
                  <a16:creationId xmlns:a16="http://schemas.microsoft.com/office/drawing/2014/main" id="{E6CBED49-A367-C447-2538-66B18921680F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5" name="Rechteck 734">
              <a:extLst>
                <a:ext uri="{FF2B5EF4-FFF2-40B4-BE49-F238E27FC236}">
                  <a16:creationId xmlns:a16="http://schemas.microsoft.com/office/drawing/2014/main" id="{5C6BFF7D-7116-89E8-BB2C-2902F06CE121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6" name="Rechteck 735">
              <a:extLst>
                <a:ext uri="{FF2B5EF4-FFF2-40B4-BE49-F238E27FC236}">
                  <a16:creationId xmlns:a16="http://schemas.microsoft.com/office/drawing/2014/main" id="{D7CD964D-8EAA-9948-F713-6CD815602FA9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7" name="Rechteck 736">
              <a:extLst>
                <a:ext uri="{FF2B5EF4-FFF2-40B4-BE49-F238E27FC236}">
                  <a16:creationId xmlns:a16="http://schemas.microsoft.com/office/drawing/2014/main" id="{C125A4C6-1AE0-D17D-7C4F-84DA8BB80B36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8" name="Rechteck 737">
              <a:extLst>
                <a:ext uri="{FF2B5EF4-FFF2-40B4-BE49-F238E27FC236}">
                  <a16:creationId xmlns:a16="http://schemas.microsoft.com/office/drawing/2014/main" id="{B98144BC-363B-096D-7B8E-2B7796060BAA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9" name="Rechteck 738">
              <a:extLst>
                <a:ext uri="{FF2B5EF4-FFF2-40B4-BE49-F238E27FC236}">
                  <a16:creationId xmlns:a16="http://schemas.microsoft.com/office/drawing/2014/main" id="{B909F77C-A609-64D5-379D-1CF5D7D72174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0" name="Rechteck 739">
              <a:extLst>
                <a:ext uri="{FF2B5EF4-FFF2-40B4-BE49-F238E27FC236}">
                  <a16:creationId xmlns:a16="http://schemas.microsoft.com/office/drawing/2014/main" id="{D84AFB6D-0A1D-47BC-AC2E-3E1B4D3619DC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1" name="Rechteck 740">
              <a:extLst>
                <a:ext uri="{FF2B5EF4-FFF2-40B4-BE49-F238E27FC236}">
                  <a16:creationId xmlns:a16="http://schemas.microsoft.com/office/drawing/2014/main" id="{40428988-276F-B4BE-FE9A-BBE5C0A1B09E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2" name="Rechteck 741">
              <a:extLst>
                <a:ext uri="{FF2B5EF4-FFF2-40B4-BE49-F238E27FC236}">
                  <a16:creationId xmlns:a16="http://schemas.microsoft.com/office/drawing/2014/main" id="{43A74BEF-5AB7-8FBB-93F8-0E0055F7241B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3" name="Rechteck 742">
              <a:extLst>
                <a:ext uri="{FF2B5EF4-FFF2-40B4-BE49-F238E27FC236}">
                  <a16:creationId xmlns:a16="http://schemas.microsoft.com/office/drawing/2014/main" id="{9A192428-E869-B594-3A8A-945BD75D2281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4" name="Rechteck 743">
              <a:extLst>
                <a:ext uri="{FF2B5EF4-FFF2-40B4-BE49-F238E27FC236}">
                  <a16:creationId xmlns:a16="http://schemas.microsoft.com/office/drawing/2014/main" id="{AE0785CF-E740-2662-BD9F-6E30EE0137B3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5" name="Rechteck 744">
              <a:extLst>
                <a:ext uri="{FF2B5EF4-FFF2-40B4-BE49-F238E27FC236}">
                  <a16:creationId xmlns:a16="http://schemas.microsoft.com/office/drawing/2014/main" id="{56EB91AF-B16D-CD52-F06C-2D077042895C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6" name="Rechteck 745">
              <a:extLst>
                <a:ext uri="{FF2B5EF4-FFF2-40B4-BE49-F238E27FC236}">
                  <a16:creationId xmlns:a16="http://schemas.microsoft.com/office/drawing/2014/main" id="{05D50BDF-3D97-9FE4-F346-865A105A9DBF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7" name="Rechteck 746">
              <a:extLst>
                <a:ext uri="{FF2B5EF4-FFF2-40B4-BE49-F238E27FC236}">
                  <a16:creationId xmlns:a16="http://schemas.microsoft.com/office/drawing/2014/main" id="{E8E17255-5939-1765-6CDF-18C6AFAFD9C7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8" name="Rechteck 747">
              <a:extLst>
                <a:ext uri="{FF2B5EF4-FFF2-40B4-BE49-F238E27FC236}">
                  <a16:creationId xmlns:a16="http://schemas.microsoft.com/office/drawing/2014/main" id="{9B001CEB-3BC1-DB5C-FE28-9110CF64FF6A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9" name="Rechteck 748">
              <a:extLst>
                <a:ext uri="{FF2B5EF4-FFF2-40B4-BE49-F238E27FC236}">
                  <a16:creationId xmlns:a16="http://schemas.microsoft.com/office/drawing/2014/main" id="{311D722A-9C70-6DDD-C631-66D5814D12CE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0" name="Rechteck 749">
              <a:extLst>
                <a:ext uri="{FF2B5EF4-FFF2-40B4-BE49-F238E27FC236}">
                  <a16:creationId xmlns:a16="http://schemas.microsoft.com/office/drawing/2014/main" id="{3C0A0BAF-67BF-EEC3-32CB-ABFC1C1EB648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1" name="Rechteck 750">
              <a:extLst>
                <a:ext uri="{FF2B5EF4-FFF2-40B4-BE49-F238E27FC236}">
                  <a16:creationId xmlns:a16="http://schemas.microsoft.com/office/drawing/2014/main" id="{BC56DDFD-1D35-27F4-401C-0719D8E708E9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2" name="Rechteck 751">
              <a:extLst>
                <a:ext uri="{FF2B5EF4-FFF2-40B4-BE49-F238E27FC236}">
                  <a16:creationId xmlns:a16="http://schemas.microsoft.com/office/drawing/2014/main" id="{E7E433E1-6C7E-FD75-C728-C5698D203CBB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3" name="Rechteck 752">
              <a:extLst>
                <a:ext uri="{FF2B5EF4-FFF2-40B4-BE49-F238E27FC236}">
                  <a16:creationId xmlns:a16="http://schemas.microsoft.com/office/drawing/2014/main" id="{ABA8B324-647F-04F2-0256-8A34103332F6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4" name="Rechteck 753">
              <a:extLst>
                <a:ext uri="{FF2B5EF4-FFF2-40B4-BE49-F238E27FC236}">
                  <a16:creationId xmlns:a16="http://schemas.microsoft.com/office/drawing/2014/main" id="{8BB76144-40B9-DF76-FF47-D40196840A71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5" name="Rechteck 754">
              <a:extLst>
                <a:ext uri="{FF2B5EF4-FFF2-40B4-BE49-F238E27FC236}">
                  <a16:creationId xmlns:a16="http://schemas.microsoft.com/office/drawing/2014/main" id="{E4977B73-2859-42DF-E281-45024D6368D0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6" name="Rechteck 755">
              <a:extLst>
                <a:ext uri="{FF2B5EF4-FFF2-40B4-BE49-F238E27FC236}">
                  <a16:creationId xmlns:a16="http://schemas.microsoft.com/office/drawing/2014/main" id="{832FB567-6862-72C5-FDEB-5A966FA78F91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7" name="Rechteck 756">
              <a:extLst>
                <a:ext uri="{FF2B5EF4-FFF2-40B4-BE49-F238E27FC236}">
                  <a16:creationId xmlns:a16="http://schemas.microsoft.com/office/drawing/2014/main" id="{159AEE56-D949-9F14-FE83-4919C93741B5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8" name="Rechteck 757">
              <a:extLst>
                <a:ext uri="{FF2B5EF4-FFF2-40B4-BE49-F238E27FC236}">
                  <a16:creationId xmlns:a16="http://schemas.microsoft.com/office/drawing/2014/main" id="{CC51FCED-FB32-478F-9DB2-C00D499B0B55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9" name="Rechteck 758">
              <a:extLst>
                <a:ext uri="{FF2B5EF4-FFF2-40B4-BE49-F238E27FC236}">
                  <a16:creationId xmlns:a16="http://schemas.microsoft.com/office/drawing/2014/main" id="{15C205E7-AEE3-C60C-7FD5-03B42D8BB626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0" name="Rechteck 759">
              <a:extLst>
                <a:ext uri="{FF2B5EF4-FFF2-40B4-BE49-F238E27FC236}">
                  <a16:creationId xmlns:a16="http://schemas.microsoft.com/office/drawing/2014/main" id="{36C2CC14-1FD7-20D4-9627-8B93FB4C0443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1" name="Rechteck 760">
              <a:extLst>
                <a:ext uri="{FF2B5EF4-FFF2-40B4-BE49-F238E27FC236}">
                  <a16:creationId xmlns:a16="http://schemas.microsoft.com/office/drawing/2014/main" id="{9A1F07E9-93DB-505A-4818-C3708B6703BA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2" name="Rechteck 761">
              <a:extLst>
                <a:ext uri="{FF2B5EF4-FFF2-40B4-BE49-F238E27FC236}">
                  <a16:creationId xmlns:a16="http://schemas.microsoft.com/office/drawing/2014/main" id="{BB9297CA-704D-4EB0-6D42-A41B11AA00AE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3" name="Rechteck 762">
              <a:extLst>
                <a:ext uri="{FF2B5EF4-FFF2-40B4-BE49-F238E27FC236}">
                  <a16:creationId xmlns:a16="http://schemas.microsoft.com/office/drawing/2014/main" id="{A291D258-F3C8-6A58-F229-6B02B441D381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4" name="Rechteck 763">
              <a:extLst>
                <a:ext uri="{FF2B5EF4-FFF2-40B4-BE49-F238E27FC236}">
                  <a16:creationId xmlns:a16="http://schemas.microsoft.com/office/drawing/2014/main" id="{6074AEEC-6604-9034-3C6D-BE847B2711A0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5" name="Rechteck 764">
              <a:extLst>
                <a:ext uri="{FF2B5EF4-FFF2-40B4-BE49-F238E27FC236}">
                  <a16:creationId xmlns:a16="http://schemas.microsoft.com/office/drawing/2014/main" id="{FF3F587E-EAA7-1173-1EB7-C60985E56ACD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6" name="Rechteck 765">
              <a:extLst>
                <a:ext uri="{FF2B5EF4-FFF2-40B4-BE49-F238E27FC236}">
                  <a16:creationId xmlns:a16="http://schemas.microsoft.com/office/drawing/2014/main" id="{29B04F8F-FDB4-5F47-9944-85D943820972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7" name="Rechteck 766">
              <a:extLst>
                <a:ext uri="{FF2B5EF4-FFF2-40B4-BE49-F238E27FC236}">
                  <a16:creationId xmlns:a16="http://schemas.microsoft.com/office/drawing/2014/main" id="{A5DB9A57-07C3-F952-4519-66D042A8432D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8" name="Rechteck 767">
              <a:extLst>
                <a:ext uri="{FF2B5EF4-FFF2-40B4-BE49-F238E27FC236}">
                  <a16:creationId xmlns:a16="http://schemas.microsoft.com/office/drawing/2014/main" id="{779866B8-4A90-9A63-61F8-1657C3EAF35C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9" name="Rechteck 768">
              <a:extLst>
                <a:ext uri="{FF2B5EF4-FFF2-40B4-BE49-F238E27FC236}">
                  <a16:creationId xmlns:a16="http://schemas.microsoft.com/office/drawing/2014/main" id="{2E80A6FA-1935-D70A-1AF4-96FE48785E87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0" name="Rechteck 769">
              <a:extLst>
                <a:ext uri="{FF2B5EF4-FFF2-40B4-BE49-F238E27FC236}">
                  <a16:creationId xmlns:a16="http://schemas.microsoft.com/office/drawing/2014/main" id="{822E5AFA-699F-D073-0E77-E3F5400155CE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1" name="Rechteck 770">
              <a:extLst>
                <a:ext uri="{FF2B5EF4-FFF2-40B4-BE49-F238E27FC236}">
                  <a16:creationId xmlns:a16="http://schemas.microsoft.com/office/drawing/2014/main" id="{80C7199D-A474-FE1C-2030-E1A0647CFA11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2" name="Rechteck 771">
              <a:extLst>
                <a:ext uri="{FF2B5EF4-FFF2-40B4-BE49-F238E27FC236}">
                  <a16:creationId xmlns:a16="http://schemas.microsoft.com/office/drawing/2014/main" id="{F30C1C0C-C408-D76F-11A3-9EC42F5BF951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3" name="Rechteck 772">
              <a:extLst>
                <a:ext uri="{FF2B5EF4-FFF2-40B4-BE49-F238E27FC236}">
                  <a16:creationId xmlns:a16="http://schemas.microsoft.com/office/drawing/2014/main" id="{D9617C03-FFF7-C3DC-A2A3-7C7AC42A1AEA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4" name="Rechteck 773">
              <a:extLst>
                <a:ext uri="{FF2B5EF4-FFF2-40B4-BE49-F238E27FC236}">
                  <a16:creationId xmlns:a16="http://schemas.microsoft.com/office/drawing/2014/main" id="{E328A424-8D65-9E7A-C271-5FD1DCA54415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5" name="Rechteck 774">
              <a:extLst>
                <a:ext uri="{FF2B5EF4-FFF2-40B4-BE49-F238E27FC236}">
                  <a16:creationId xmlns:a16="http://schemas.microsoft.com/office/drawing/2014/main" id="{77AFFC25-E1C1-A551-C1DD-0EB5E67CF83F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6" name="Rechteck 775">
              <a:extLst>
                <a:ext uri="{FF2B5EF4-FFF2-40B4-BE49-F238E27FC236}">
                  <a16:creationId xmlns:a16="http://schemas.microsoft.com/office/drawing/2014/main" id="{74DF2A44-77B2-5192-D9DB-BFE28D1BC4CA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7" name="Rechteck 776">
              <a:extLst>
                <a:ext uri="{FF2B5EF4-FFF2-40B4-BE49-F238E27FC236}">
                  <a16:creationId xmlns:a16="http://schemas.microsoft.com/office/drawing/2014/main" id="{5C25FB19-19C6-D635-118B-A1B086115358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8" name="Rechteck 777">
              <a:extLst>
                <a:ext uri="{FF2B5EF4-FFF2-40B4-BE49-F238E27FC236}">
                  <a16:creationId xmlns:a16="http://schemas.microsoft.com/office/drawing/2014/main" id="{5CB1BB10-51D1-03CC-A1B5-0EA979630479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9" name="Rechteck 778">
              <a:extLst>
                <a:ext uri="{FF2B5EF4-FFF2-40B4-BE49-F238E27FC236}">
                  <a16:creationId xmlns:a16="http://schemas.microsoft.com/office/drawing/2014/main" id="{A4B5A2FC-4877-6D32-BF04-73CB2D57CB67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80" name="Rechteck 779">
              <a:extLst>
                <a:ext uri="{FF2B5EF4-FFF2-40B4-BE49-F238E27FC236}">
                  <a16:creationId xmlns:a16="http://schemas.microsoft.com/office/drawing/2014/main" id="{46298BD3-A4E3-C9C3-EF80-3115DBF22509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81" name="Rechteck 780">
              <a:extLst>
                <a:ext uri="{FF2B5EF4-FFF2-40B4-BE49-F238E27FC236}">
                  <a16:creationId xmlns:a16="http://schemas.microsoft.com/office/drawing/2014/main" id="{6903007A-94EA-824A-8097-D2A9ED6A062A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82" name="Rechteck 781">
              <a:extLst>
                <a:ext uri="{FF2B5EF4-FFF2-40B4-BE49-F238E27FC236}">
                  <a16:creationId xmlns:a16="http://schemas.microsoft.com/office/drawing/2014/main" id="{4B7CB288-B427-34C4-3E8D-1F51AC4320FB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83" name="Rechteck 782">
              <a:extLst>
                <a:ext uri="{FF2B5EF4-FFF2-40B4-BE49-F238E27FC236}">
                  <a16:creationId xmlns:a16="http://schemas.microsoft.com/office/drawing/2014/main" id="{CBA773E4-E937-B056-50F2-687EE77B7B39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grpSp>
        <p:nvGrpSpPr>
          <p:cNvPr id="373" name="Gruppieren 372">
            <a:extLst>
              <a:ext uri="{FF2B5EF4-FFF2-40B4-BE49-F238E27FC236}">
                <a16:creationId xmlns:a16="http://schemas.microsoft.com/office/drawing/2014/main" id="{862FBD51-4E8A-D083-2F62-F8860FB30A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1" y="2082829"/>
            <a:ext cx="2448000" cy="0"/>
            <a:chOff x="983432" y="2082829"/>
            <a:chExt cx="2448000" cy="0"/>
          </a:xfrm>
        </p:grpSpPr>
        <p:cxnSp>
          <p:nvCxnSpPr>
            <p:cNvPr id="374" name="Line">
              <a:extLst>
                <a:ext uri="{FF2B5EF4-FFF2-40B4-BE49-F238E27FC236}">
                  <a16:creationId xmlns:a16="http://schemas.microsoft.com/office/drawing/2014/main" id="{C3C674E9-2A02-D002-D877-7ED5E27F591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5" name="Line">
              <a:extLst>
                <a:ext uri="{FF2B5EF4-FFF2-40B4-BE49-F238E27FC236}">
                  <a16:creationId xmlns:a16="http://schemas.microsoft.com/office/drawing/2014/main" id="{503445ED-7855-05F7-0A44-4AC1DB1FE22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6" name="Shape">
            <a:extLst>
              <a:ext uri="{FF2B5EF4-FFF2-40B4-BE49-F238E27FC236}">
                <a16:creationId xmlns:a16="http://schemas.microsoft.com/office/drawing/2014/main" id="{293089BE-57FB-FA7C-5518-A7E83861B6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1400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77" name="Shape">
            <a:extLst>
              <a:ext uri="{FF2B5EF4-FFF2-40B4-BE49-F238E27FC236}">
                <a16:creationId xmlns:a16="http://schemas.microsoft.com/office/drawing/2014/main" id="{F89109CA-9A6F-1A6B-C179-508611AFC0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1400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378" name="Logo">
            <a:extLst>
              <a:ext uri="{FF2B5EF4-FFF2-40B4-BE49-F238E27FC236}">
                <a16:creationId xmlns:a16="http://schemas.microsoft.com/office/drawing/2014/main" id="{40FB6CFD-AE98-4971-6C76-D652A71597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  <p:sp>
        <p:nvSpPr>
          <p:cNvPr id="379" name="Title">
            <a:extLst>
              <a:ext uri="{FF2B5EF4-FFF2-40B4-BE49-F238E27FC236}">
                <a16:creationId xmlns:a16="http://schemas.microsoft.com/office/drawing/2014/main" id="{B725CAF4-E8B3-6F00-F264-55F79BF43F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83809" y="2205400"/>
            <a:ext cx="4968575" cy="1367992"/>
          </a:xfrm>
          <a:prstGeom prst="rect">
            <a:avLst/>
          </a:prstGeom>
        </p:spPr>
        <p:txBody>
          <a:bodyPr vert="horz" tIns="54000" anchor="t">
            <a:noAutofit/>
          </a:bodyPr>
          <a:lstStyle>
            <a:lvl1pPr algn="l">
              <a:lnSpc>
                <a:spcPct val="90000"/>
              </a:lnSpc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Insert your long title of presentation here in maximal three lines</a:t>
            </a:r>
          </a:p>
        </p:txBody>
      </p:sp>
      <p:sp>
        <p:nvSpPr>
          <p:cNvPr id="380" name="Subtitle 2">
            <a:extLst>
              <a:ext uri="{FF2B5EF4-FFF2-40B4-BE49-F238E27FC236}">
                <a16:creationId xmlns:a16="http://schemas.microsoft.com/office/drawing/2014/main" id="{2CE9343C-DD5B-8F6B-07F4-00B2B6854EC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583809" y="3789400"/>
            <a:ext cx="4392511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381" name="Author">
            <a:extLst>
              <a:ext uri="{FF2B5EF4-FFF2-40B4-BE49-F238E27FC236}">
                <a16:creationId xmlns:a16="http://schemas.microsoft.com/office/drawing/2014/main" id="{4A8430A1-248A-D24E-82D4-4C5724542F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400" y="2277400"/>
            <a:ext cx="2807728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GB"/>
              <a:t>First name Last name</a:t>
            </a:r>
          </a:p>
        </p:txBody>
      </p:sp>
      <p:sp>
        <p:nvSpPr>
          <p:cNvPr id="382" name="Department, Date">
            <a:extLst>
              <a:ext uri="{FF2B5EF4-FFF2-40B4-BE49-F238E27FC236}">
                <a16:creationId xmlns:a16="http://schemas.microsoft.com/office/drawing/2014/main" id="{CE770C1A-303A-8049-3F21-37196843AC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2493400"/>
            <a:ext cx="2807728" cy="1007608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GB"/>
              <a:t>Department</a:t>
            </a:r>
            <a:br>
              <a:rPr lang="en-GB"/>
            </a:br>
            <a:r>
              <a:rPr lang="en-GB"/>
              <a:t>DD/MM/YYYY</a:t>
            </a:r>
          </a:p>
        </p:txBody>
      </p:sp>
    </p:spTree>
    <p:extLst>
      <p:ext uri="{BB962C8B-B14F-4D97-AF65-F5344CB8AC3E}">
        <p14:creationId xmlns:p14="http://schemas.microsoft.com/office/powerpoint/2010/main" val="31454808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2 | Magent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7908555-75F3-9BF0-1333-F53CAA9E1C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2970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7908555-75F3-9BF0-1333-F53CAA9E1C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4" name="Gruppieren 593">
            <a:extLst>
              <a:ext uri="{FF2B5EF4-FFF2-40B4-BE49-F238E27FC236}">
                <a16:creationId xmlns:a16="http://schemas.microsoft.com/office/drawing/2014/main" id="{66204F3A-AF9C-2E46-4E3F-0A051CD4579D}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595" name="Rechteck 594">
              <a:extLst>
                <a:ext uri="{FF2B5EF4-FFF2-40B4-BE49-F238E27FC236}">
                  <a16:creationId xmlns:a16="http://schemas.microsoft.com/office/drawing/2014/main" id="{6218E88F-D0EE-D95E-F0B3-81F4F159A2B2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6" name="Rechteck 595">
              <a:extLst>
                <a:ext uri="{FF2B5EF4-FFF2-40B4-BE49-F238E27FC236}">
                  <a16:creationId xmlns:a16="http://schemas.microsoft.com/office/drawing/2014/main" id="{9B41D5F1-3E46-D504-D2B5-30E3B83AE382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7" name="Rechteck 596">
              <a:extLst>
                <a:ext uri="{FF2B5EF4-FFF2-40B4-BE49-F238E27FC236}">
                  <a16:creationId xmlns:a16="http://schemas.microsoft.com/office/drawing/2014/main" id="{E510ECF0-D5DD-9DE7-E858-142625E86698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8" name="Rechteck 597">
              <a:extLst>
                <a:ext uri="{FF2B5EF4-FFF2-40B4-BE49-F238E27FC236}">
                  <a16:creationId xmlns:a16="http://schemas.microsoft.com/office/drawing/2014/main" id="{76643C83-59B9-8C3B-FCC4-3A2EE31B9F48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9" name="Rechteck 598">
              <a:extLst>
                <a:ext uri="{FF2B5EF4-FFF2-40B4-BE49-F238E27FC236}">
                  <a16:creationId xmlns:a16="http://schemas.microsoft.com/office/drawing/2014/main" id="{8B141F42-57C7-5221-EF51-ADF25E083014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0" name="Rechteck 599">
              <a:extLst>
                <a:ext uri="{FF2B5EF4-FFF2-40B4-BE49-F238E27FC236}">
                  <a16:creationId xmlns:a16="http://schemas.microsoft.com/office/drawing/2014/main" id="{1DEFF5A3-1475-B127-DA6F-0C4D45448F3F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1" name="Rechteck 600">
              <a:extLst>
                <a:ext uri="{FF2B5EF4-FFF2-40B4-BE49-F238E27FC236}">
                  <a16:creationId xmlns:a16="http://schemas.microsoft.com/office/drawing/2014/main" id="{6CE388C7-8179-4B8E-F00D-701890E0703F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2" name="Rechteck 601">
              <a:extLst>
                <a:ext uri="{FF2B5EF4-FFF2-40B4-BE49-F238E27FC236}">
                  <a16:creationId xmlns:a16="http://schemas.microsoft.com/office/drawing/2014/main" id="{24FD6338-C6E1-D736-FCE1-A20A9502D5DA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3" name="Rechteck 602">
              <a:extLst>
                <a:ext uri="{FF2B5EF4-FFF2-40B4-BE49-F238E27FC236}">
                  <a16:creationId xmlns:a16="http://schemas.microsoft.com/office/drawing/2014/main" id="{3A55886A-B37E-9F1E-B20E-96945DD1CEAE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4" name="Rechteck 603">
              <a:extLst>
                <a:ext uri="{FF2B5EF4-FFF2-40B4-BE49-F238E27FC236}">
                  <a16:creationId xmlns:a16="http://schemas.microsoft.com/office/drawing/2014/main" id="{EF85E5E4-DB30-5BA3-973D-B7255551DA70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5" name="Rechteck 604">
              <a:extLst>
                <a:ext uri="{FF2B5EF4-FFF2-40B4-BE49-F238E27FC236}">
                  <a16:creationId xmlns:a16="http://schemas.microsoft.com/office/drawing/2014/main" id="{F04AFF1A-4A6D-898E-911D-0362B124A512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6" name="Rechteck 605">
              <a:extLst>
                <a:ext uri="{FF2B5EF4-FFF2-40B4-BE49-F238E27FC236}">
                  <a16:creationId xmlns:a16="http://schemas.microsoft.com/office/drawing/2014/main" id="{6535A860-F12D-44C9-9A00-DE9AFAF91DD1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7" name="Rechteck 606">
              <a:extLst>
                <a:ext uri="{FF2B5EF4-FFF2-40B4-BE49-F238E27FC236}">
                  <a16:creationId xmlns:a16="http://schemas.microsoft.com/office/drawing/2014/main" id="{49D924D4-5852-6404-D6FA-33993D75C223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8" name="Rechteck 607">
              <a:extLst>
                <a:ext uri="{FF2B5EF4-FFF2-40B4-BE49-F238E27FC236}">
                  <a16:creationId xmlns:a16="http://schemas.microsoft.com/office/drawing/2014/main" id="{F5771CD8-8130-B306-F69B-A0A9AEBCFDB0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9" name="Rechteck 608">
              <a:extLst>
                <a:ext uri="{FF2B5EF4-FFF2-40B4-BE49-F238E27FC236}">
                  <a16:creationId xmlns:a16="http://schemas.microsoft.com/office/drawing/2014/main" id="{73D616F2-3B3C-D5B5-AEE0-3A7963AEFE66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0" name="Rechteck 609">
              <a:extLst>
                <a:ext uri="{FF2B5EF4-FFF2-40B4-BE49-F238E27FC236}">
                  <a16:creationId xmlns:a16="http://schemas.microsoft.com/office/drawing/2014/main" id="{0CBFAFC4-785F-4E67-F063-95539C589296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1" name="Rechteck 610">
              <a:extLst>
                <a:ext uri="{FF2B5EF4-FFF2-40B4-BE49-F238E27FC236}">
                  <a16:creationId xmlns:a16="http://schemas.microsoft.com/office/drawing/2014/main" id="{524E0A52-FA88-44E7-BA66-9A6DF2CA2C3B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2" name="Rechteck 611">
              <a:extLst>
                <a:ext uri="{FF2B5EF4-FFF2-40B4-BE49-F238E27FC236}">
                  <a16:creationId xmlns:a16="http://schemas.microsoft.com/office/drawing/2014/main" id="{512A08F3-2BC7-12C9-2B8E-79A6485BA4D9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3" name="Rechteck 612">
              <a:extLst>
                <a:ext uri="{FF2B5EF4-FFF2-40B4-BE49-F238E27FC236}">
                  <a16:creationId xmlns:a16="http://schemas.microsoft.com/office/drawing/2014/main" id="{BBD72BDC-5A6A-FE5F-68FB-82FF91307A6D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4" name="Rechteck 613">
              <a:extLst>
                <a:ext uri="{FF2B5EF4-FFF2-40B4-BE49-F238E27FC236}">
                  <a16:creationId xmlns:a16="http://schemas.microsoft.com/office/drawing/2014/main" id="{CA43E786-68D7-6A0C-AF79-DDD422E5A373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5" name="Rechteck 614">
              <a:extLst>
                <a:ext uri="{FF2B5EF4-FFF2-40B4-BE49-F238E27FC236}">
                  <a16:creationId xmlns:a16="http://schemas.microsoft.com/office/drawing/2014/main" id="{68F8747A-E2C9-8AF1-D569-29F89A260AC3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6" name="Rechteck 615">
              <a:extLst>
                <a:ext uri="{FF2B5EF4-FFF2-40B4-BE49-F238E27FC236}">
                  <a16:creationId xmlns:a16="http://schemas.microsoft.com/office/drawing/2014/main" id="{96620660-CE41-91EB-9531-A2EDAEF1043F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7" name="Rechteck 616">
              <a:extLst>
                <a:ext uri="{FF2B5EF4-FFF2-40B4-BE49-F238E27FC236}">
                  <a16:creationId xmlns:a16="http://schemas.microsoft.com/office/drawing/2014/main" id="{775F3A65-0077-5259-7DA3-D7691324F7B8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8" name="Rechteck 617">
              <a:extLst>
                <a:ext uri="{FF2B5EF4-FFF2-40B4-BE49-F238E27FC236}">
                  <a16:creationId xmlns:a16="http://schemas.microsoft.com/office/drawing/2014/main" id="{AC113CD5-C83A-1471-6146-7C02F0298BA7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9" name="Rechteck 618">
              <a:extLst>
                <a:ext uri="{FF2B5EF4-FFF2-40B4-BE49-F238E27FC236}">
                  <a16:creationId xmlns:a16="http://schemas.microsoft.com/office/drawing/2014/main" id="{AF8B8018-B77D-E597-85E9-6161BFAB7F86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0" name="Rechteck 619">
              <a:extLst>
                <a:ext uri="{FF2B5EF4-FFF2-40B4-BE49-F238E27FC236}">
                  <a16:creationId xmlns:a16="http://schemas.microsoft.com/office/drawing/2014/main" id="{143593D2-62FF-B2BE-EB24-D985ACFA8213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1" name="Rechteck 620">
              <a:extLst>
                <a:ext uri="{FF2B5EF4-FFF2-40B4-BE49-F238E27FC236}">
                  <a16:creationId xmlns:a16="http://schemas.microsoft.com/office/drawing/2014/main" id="{F014D819-5252-FE19-ECEC-2F6450081FB6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2" name="Rechteck 621">
              <a:extLst>
                <a:ext uri="{FF2B5EF4-FFF2-40B4-BE49-F238E27FC236}">
                  <a16:creationId xmlns:a16="http://schemas.microsoft.com/office/drawing/2014/main" id="{AEB9E248-D410-9D17-9A37-394660C6D8B6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3" name="Rechteck 622">
              <a:extLst>
                <a:ext uri="{FF2B5EF4-FFF2-40B4-BE49-F238E27FC236}">
                  <a16:creationId xmlns:a16="http://schemas.microsoft.com/office/drawing/2014/main" id="{14AE7389-24B8-BF5B-793A-C7527881BE54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4" name="Rechteck 623">
              <a:extLst>
                <a:ext uri="{FF2B5EF4-FFF2-40B4-BE49-F238E27FC236}">
                  <a16:creationId xmlns:a16="http://schemas.microsoft.com/office/drawing/2014/main" id="{C039719F-0EFC-0DB1-F2CD-3031437D41D1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5" name="Rechteck 624">
              <a:extLst>
                <a:ext uri="{FF2B5EF4-FFF2-40B4-BE49-F238E27FC236}">
                  <a16:creationId xmlns:a16="http://schemas.microsoft.com/office/drawing/2014/main" id="{4E7173AE-FD66-3C62-1F82-EB4C97495238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6" name="Rechteck 625">
              <a:extLst>
                <a:ext uri="{FF2B5EF4-FFF2-40B4-BE49-F238E27FC236}">
                  <a16:creationId xmlns:a16="http://schemas.microsoft.com/office/drawing/2014/main" id="{634B32A0-8ADC-2F0B-E1B7-D8F52AFBB416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7" name="Rechteck 626">
              <a:extLst>
                <a:ext uri="{FF2B5EF4-FFF2-40B4-BE49-F238E27FC236}">
                  <a16:creationId xmlns:a16="http://schemas.microsoft.com/office/drawing/2014/main" id="{AEEE8B67-01CA-3050-FAFD-6D9673356F30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8" name="Rechteck 627">
              <a:extLst>
                <a:ext uri="{FF2B5EF4-FFF2-40B4-BE49-F238E27FC236}">
                  <a16:creationId xmlns:a16="http://schemas.microsoft.com/office/drawing/2014/main" id="{1681D767-1832-23AD-0493-5455D5180DDD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9" name="Rechteck 628">
              <a:extLst>
                <a:ext uri="{FF2B5EF4-FFF2-40B4-BE49-F238E27FC236}">
                  <a16:creationId xmlns:a16="http://schemas.microsoft.com/office/drawing/2014/main" id="{F8648B16-29EA-9672-33B0-8542392729FC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0" name="Rechteck 629">
              <a:extLst>
                <a:ext uri="{FF2B5EF4-FFF2-40B4-BE49-F238E27FC236}">
                  <a16:creationId xmlns:a16="http://schemas.microsoft.com/office/drawing/2014/main" id="{0FBCD874-C5DD-0D4A-143C-4CA5CA6E79DC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1" name="Rechteck 630">
              <a:extLst>
                <a:ext uri="{FF2B5EF4-FFF2-40B4-BE49-F238E27FC236}">
                  <a16:creationId xmlns:a16="http://schemas.microsoft.com/office/drawing/2014/main" id="{50E5D84D-831E-94A2-834E-0F5445908D50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2" name="Rechteck 631">
              <a:extLst>
                <a:ext uri="{FF2B5EF4-FFF2-40B4-BE49-F238E27FC236}">
                  <a16:creationId xmlns:a16="http://schemas.microsoft.com/office/drawing/2014/main" id="{F1CFD29F-D728-9FC8-E153-A7FBA9AD72A9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3" name="Rechteck 632">
              <a:extLst>
                <a:ext uri="{FF2B5EF4-FFF2-40B4-BE49-F238E27FC236}">
                  <a16:creationId xmlns:a16="http://schemas.microsoft.com/office/drawing/2014/main" id="{B7CF23A3-0306-21A8-F8CB-410A5627AB08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4" name="Rechteck 633">
              <a:extLst>
                <a:ext uri="{FF2B5EF4-FFF2-40B4-BE49-F238E27FC236}">
                  <a16:creationId xmlns:a16="http://schemas.microsoft.com/office/drawing/2014/main" id="{3EAFAC57-8DF3-983C-BC63-8FEBCF842C5E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5" name="Rechteck 634">
              <a:extLst>
                <a:ext uri="{FF2B5EF4-FFF2-40B4-BE49-F238E27FC236}">
                  <a16:creationId xmlns:a16="http://schemas.microsoft.com/office/drawing/2014/main" id="{21E7D8E8-182E-09F5-C005-22F47F3F2596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6" name="Rechteck 635">
              <a:extLst>
                <a:ext uri="{FF2B5EF4-FFF2-40B4-BE49-F238E27FC236}">
                  <a16:creationId xmlns:a16="http://schemas.microsoft.com/office/drawing/2014/main" id="{FC6B1CDB-3D8F-C64C-E641-55CBA84D8A81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7" name="Rechteck 636">
              <a:extLst>
                <a:ext uri="{FF2B5EF4-FFF2-40B4-BE49-F238E27FC236}">
                  <a16:creationId xmlns:a16="http://schemas.microsoft.com/office/drawing/2014/main" id="{C9F444F2-9513-794E-48A4-F59AE8433664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8" name="Rechteck 637">
              <a:extLst>
                <a:ext uri="{FF2B5EF4-FFF2-40B4-BE49-F238E27FC236}">
                  <a16:creationId xmlns:a16="http://schemas.microsoft.com/office/drawing/2014/main" id="{8028C187-331A-092D-E0D1-56653B4A508C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9" name="Rechteck 638">
              <a:extLst>
                <a:ext uri="{FF2B5EF4-FFF2-40B4-BE49-F238E27FC236}">
                  <a16:creationId xmlns:a16="http://schemas.microsoft.com/office/drawing/2014/main" id="{10BFC3D1-8F4B-F93D-51B4-3DAB22DF4DDA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0" name="Rechteck 639">
              <a:extLst>
                <a:ext uri="{FF2B5EF4-FFF2-40B4-BE49-F238E27FC236}">
                  <a16:creationId xmlns:a16="http://schemas.microsoft.com/office/drawing/2014/main" id="{0CCD70AE-BAD9-9DC4-1D9F-330C76A474F7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1" name="Rechteck 640">
              <a:extLst>
                <a:ext uri="{FF2B5EF4-FFF2-40B4-BE49-F238E27FC236}">
                  <a16:creationId xmlns:a16="http://schemas.microsoft.com/office/drawing/2014/main" id="{F820A500-785E-6ED0-E8C3-5C48AB9AF6C3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2" name="Rechteck 641">
              <a:extLst>
                <a:ext uri="{FF2B5EF4-FFF2-40B4-BE49-F238E27FC236}">
                  <a16:creationId xmlns:a16="http://schemas.microsoft.com/office/drawing/2014/main" id="{47B94C46-A038-3668-9335-84DE5191873C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3" name="Rechteck 642">
              <a:extLst>
                <a:ext uri="{FF2B5EF4-FFF2-40B4-BE49-F238E27FC236}">
                  <a16:creationId xmlns:a16="http://schemas.microsoft.com/office/drawing/2014/main" id="{64C3B57E-CD93-B142-2CD4-15BE5108CBE8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4" name="Rechteck 643">
              <a:extLst>
                <a:ext uri="{FF2B5EF4-FFF2-40B4-BE49-F238E27FC236}">
                  <a16:creationId xmlns:a16="http://schemas.microsoft.com/office/drawing/2014/main" id="{24A5F97E-3BC1-3757-B901-C1D3980C633C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5" name="Rechteck 644">
              <a:extLst>
                <a:ext uri="{FF2B5EF4-FFF2-40B4-BE49-F238E27FC236}">
                  <a16:creationId xmlns:a16="http://schemas.microsoft.com/office/drawing/2014/main" id="{3D026771-C97B-DCE3-11DF-1802F01DF024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6" name="Rechteck 645">
              <a:extLst>
                <a:ext uri="{FF2B5EF4-FFF2-40B4-BE49-F238E27FC236}">
                  <a16:creationId xmlns:a16="http://schemas.microsoft.com/office/drawing/2014/main" id="{1072A7ED-FBFF-01F7-2F30-59EE0DFDC7F7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7" name="Rechteck 646">
              <a:extLst>
                <a:ext uri="{FF2B5EF4-FFF2-40B4-BE49-F238E27FC236}">
                  <a16:creationId xmlns:a16="http://schemas.microsoft.com/office/drawing/2014/main" id="{516AFFB5-3194-5ECB-FFF7-EED875EB6772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8" name="Rechteck 647">
              <a:extLst>
                <a:ext uri="{FF2B5EF4-FFF2-40B4-BE49-F238E27FC236}">
                  <a16:creationId xmlns:a16="http://schemas.microsoft.com/office/drawing/2014/main" id="{0084F36A-5A92-2805-02D7-E2D5BA219AE7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9" name="Rechteck 648">
              <a:extLst>
                <a:ext uri="{FF2B5EF4-FFF2-40B4-BE49-F238E27FC236}">
                  <a16:creationId xmlns:a16="http://schemas.microsoft.com/office/drawing/2014/main" id="{D0C454F7-A873-82F9-5DBD-673024C2E6C8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0" name="Rechteck 649">
              <a:extLst>
                <a:ext uri="{FF2B5EF4-FFF2-40B4-BE49-F238E27FC236}">
                  <a16:creationId xmlns:a16="http://schemas.microsoft.com/office/drawing/2014/main" id="{7EF5134B-34DD-216A-8C12-04B205BDD8D2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1" name="Rechteck 650">
              <a:extLst>
                <a:ext uri="{FF2B5EF4-FFF2-40B4-BE49-F238E27FC236}">
                  <a16:creationId xmlns:a16="http://schemas.microsoft.com/office/drawing/2014/main" id="{8832717B-8F33-22EA-208E-59B18BEF992C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2" name="Rechteck 651">
              <a:extLst>
                <a:ext uri="{FF2B5EF4-FFF2-40B4-BE49-F238E27FC236}">
                  <a16:creationId xmlns:a16="http://schemas.microsoft.com/office/drawing/2014/main" id="{CD8A33A0-A45F-7846-753C-B839ED5E3F8C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3" name="Rechteck 652">
              <a:extLst>
                <a:ext uri="{FF2B5EF4-FFF2-40B4-BE49-F238E27FC236}">
                  <a16:creationId xmlns:a16="http://schemas.microsoft.com/office/drawing/2014/main" id="{B74502CD-F36C-7CBF-FFD5-E7BADB633A8A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4" name="Rechteck 653">
              <a:extLst>
                <a:ext uri="{FF2B5EF4-FFF2-40B4-BE49-F238E27FC236}">
                  <a16:creationId xmlns:a16="http://schemas.microsoft.com/office/drawing/2014/main" id="{F3BE3EAF-6862-C480-3FD9-AFBDBEE1905D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5" name="Rechteck 654">
              <a:extLst>
                <a:ext uri="{FF2B5EF4-FFF2-40B4-BE49-F238E27FC236}">
                  <a16:creationId xmlns:a16="http://schemas.microsoft.com/office/drawing/2014/main" id="{4ABBCFAD-154C-A68E-9887-AB9CBA6B5E5A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6" name="Rechteck 655">
              <a:extLst>
                <a:ext uri="{FF2B5EF4-FFF2-40B4-BE49-F238E27FC236}">
                  <a16:creationId xmlns:a16="http://schemas.microsoft.com/office/drawing/2014/main" id="{691465D2-E980-E058-162E-C56E30B7D4CC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7" name="Rechteck 656">
              <a:extLst>
                <a:ext uri="{FF2B5EF4-FFF2-40B4-BE49-F238E27FC236}">
                  <a16:creationId xmlns:a16="http://schemas.microsoft.com/office/drawing/2014/main" id="{43DC1573-D8B0-B99A-2EE5-B9FF7448FB6F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8" name="Rechteck 657">
              <a:extLst>
                <a:ext uri="{FF2B5EF4-FFF2-40B4-BE49-F238E27FC236}">
                  <a16:creationId xmlns:a16="http://schemas.microsoft.com/office/drawing/2014/main" id="{543C0F17-DFC7-3354-EB02-DB558A5F3E9D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9" name="Rechteck 658">
              <a:extLst>
                <a:ext uri="{FF2B5EF4-FFF2-40B4-BE49-F238E27FC236}">
                  <a16:creationId xmlns:a16="http://schemas.microsoft.com/office/drawing/2014/main" id="{30ADB097-AD62-DE77-D42B-07C97A852C86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0" name="Rechteck 659">
              <a:extLst>
                <a:ext uri="{FF2B5EF4-FFF2-40B4-BE49-F238E27FC236}">
                  <a16:creationId xmlns:a16="http://schemas.microsoft.com/office/drawing/2014/main" id="{1DA1D2EB-CFD9-FC83-09B0-0F778044B395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1" name="Rechteck 660">
              <a:extLst>
                <a:ext uri="{FF2B5EF4-FFF2-40B4-BE49-F238E27FC236}">
                  <a16:creationId xmlns:a16="http://schemas.microsoft.com/office/drawing/2014/main" id="{58D5D400-3AD1-E5E3-EF36-FBC6565FF3BD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2" name="Rechteck 661">
              <a:extLst>
                <a:ext uri="{FF2B5EF4-FFF2-40B4-BE49-F238E27FC236}">
                  <a16:creationId xmlns:a16="http://schemas.microsoft.com/office/drawing/2014/main" id="{C1BFE8BE-F57A-5C61-A3C3-AE7A7182CB47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3" name="Rechteck 662">
              <a:extLst>
                <a:ext uri="{FF2B5EF4-FFF2-40B4-BE49-F238E27FC236}">
                  <a16:creationId xmlns:a16="http://schemas.microsoft.com/office/drawing/2014/main" id="{71B5D7A7-2CD5-51C1-8EE7-61AE4866B1D8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4" name="Rechteck 663">
              <a:extLst>
                <a:ext uri="{FF2B5EF4-FFF2-40B4-BE49-F238E27FC236}">
                  <a16:creationId xmlns:a16="http://schemas.microsoft.com/office/drawing/2014/main" id="{5E1C6DF0-F0CA-49D0-14E0-0EC1886DCAFF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5" name="Rechteck 664">
              <a:extLst>
                <a:ext uri="{FF2B5EF4-FFF2-40B4-BE49-F238E27FC236}">
                  <a16:creationId xmlns:a16="http://schemas.microsoft.com/office/drawing/2014/main" id="{B5862E2D-0ED6-0C1F-A042-14937EAB4E7B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6" name="Rechteck 665">
              <a:extLst>
                <a:ext uri="{FF2B5EF4-FFF2-40B4-BE49-F238E27FC236}">
                  <a16:creationId xmlns:a16="http://schemas.microsoft.com/office/drawing/2014/main" id="{72657C26-593E-441F-F1D8-8C5FBFCF89C1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7" name="Rechteck 666">
              <a:extLst>
                <a:ext uri="{FF2B5EF4-FFF2-40B4-BE49-F238E27FC236}">
                  <a16:creationId xmlns:a16="http://schemas.microsoft.com/office/drawing/2014/main" id="{DE9C2FF6-D710-560A-79DB-B8D9CC94531A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8" name="Rechteck 667">
              <a:extLst>
                <a:ext uri="{FF2B5EF4-FFF2-40B4-BE49-F238E27FC236}">
                  <a16:creationId xmlns:a16="http://schemas.microsoft.com/office/drawing/2014/main" id="{3BC15613-77D6-2513-7A6E-8D9456C9D287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9" name="Rechteck 668">
              <a:extLst>
                <a:ext uri="{FF2B5EF4-FFF2-40B4-BE49-F238E27FC236}">
                  <a16:creationId xmlns:a16="http://schemas.microsoft.com/office/drawing/2014/main" id="{32AC7E39-991A-9B1E-BE6A-47AFFD827C34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0" name="Rechteck 669">
              <a:extLst>
                <a:ext uri="{FF2B5EF4-FFF2-40B4-BE49-F238E27FC236}">
                  <a16:creationId xmlns:a16="http://schemas.microsoft.com/office/drawing/2014/main" id="{A5C849B5-E8FF-17F3-893C-5C0C8B168194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1" name="Rechteck 670">
              <a:extLst>
                <a:ext uri="{FF2B5EF4-FFF2-40B4-BE49-F238E27FC236}">
                  <a16:creationId xmlns:a16="http://schemas.microsoft.com/office/drawing/2014/main" id="{811BF966-CE59-3A31-A427-935B52D021DE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2" name="Rechteck 671">
              <a:extLst>
                <a:ext uri="{FF2B5EF4-FFF2-40B4-BE49-F238E27FC236}">
                  <a16:creationId xmlns:a16="http://schemas.microsoft.com/office/drawing/2014/main" id="{59FEF06F-4A88-9DEC-65EA-5357AF10F37C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3" name="Rechteck 672">
              <a:extLst>
                <a:ext uri="{FF2B5EF4-FFF2-40B4-BE49-F238E27FC236}">
                  <a16:creationId xmlns:a16="http://schemas.microsoft.com/office/drawing/2014/main" id="{C0716CFE-C703-746A-4A97-1CF7AF038226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4" name="Rechteck 673">
              <a:extLst>
                <a:ext uri="{FF2B5EF4-FFF2-40B4-BE49-F238E27FC236}">
                  <a16:creationId xmlns:a16="http://schemas.microsoft.com/office/drawing/2014/main" id="{297847BA-0DEC-2B9D-C895-9D7CE3D9946D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5" name="Rechteck 674">
              <a:extLst>
                <a:ext uri="{FF2B5EF4-FFF2-40B4-BE49-F238E27FC236}">
                  <a16:creationId xmlns:a16="http://schemas.microsoft.com/office/drawing/2014/main" id="{C4D878C6-4678-7610-E4E1-2251573A3D03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6" name="Rechteck 675">
              <a:extLst>
                <a:ext uri="{FF2B5EF4-FFF2-40B4-BE49-F238E27FC236}">
                  <a16:creationId xmlns:a16="http://schemas.microsoft.com/office/drawing/2014/main" id="{3E97E6A4-F8FC-F9E7-68AD-A696A674F6F3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7" name="Rechteck 676">
              <a:extLst>
                <a:ext uri="{FF2B5EF4-FFF2-40B4-BE49-F238E27FC236}">
                  <a16:creationId xmlns:a16="http://schemas.microsoft.com/office/drawing/2014/main" id="{7D10358A-AC94-2FBD-DD56-458E9B6816C2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8" name="Rechteck 677">
              <a:extLst>
                <a:ext uri="{FF2B5EF4-FFF2-40B4-BE49-F238E27FC236}">
                  <a16:creationId xmlns:a16="http://schemas.microsoft.com/office/drawing/2014/main" id="{C4ED3D66-40C7-7D1B-392A-52284EE8A8C0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9" name="Rechteck 678">
              <a:extLst>
                <a:ext uri="{FF2B5EF4-FFF2-40B4-BE49-F238E27FC236}">
                  <a16:creationId xmlns:a16="http://schemas.microsoft.com/office/drawing/2014/main" id="{DD69F797-BE86-5B42-45A0-A30749D9B25E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0" name="Rechteck 679">
              <a:extLst>
                <a:ext uri="{FF2B5EF4-FFF2-40B4-BE49-F238E27FC236}">
                  <a16:creationId xmlns:a16="http://schemas.microsoft.com/office/drawing/2014/main" id="{80C305C8-79A7-138B-2C26-D5CE6CE22B77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1" name="Rechteck 680">
              <a:extLst>
                <a:ext uri="{FF2B5EF4-FFF2-40B4-BE49-F238E27FC236}">
                  <a16:creationId xmlns:a16="http://schemas.microsoft.com/office/drawing/2014/main" id="{460AEB46-3864-0AB4-DBD5-7CB513324281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2" name="Rechteck 681">
              <a:extLst>
                <a:ext uri="{FF2B5EF4-FFF2-40B4-BE49-F238E27FC236}">
                  <a16:creationId xmlns:a16="http://schemas.microsoft.com/office/drawing/2014/main" id="{F527D987-FFB2-B863-0464-A4285E96F3AA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3" name="Rechteck 682">
              <a:extLst>
                <a:ext uri="{FF2B5EF4-FFF2-40B4-BE49-F238E27FC236}">
                  <a16:creationId xmlns:a16="http://schemas.microsoft.com/office/drawing/2014/main" id="{9391F8D3-D846-1B32-6A95-FE4F18F09362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4" name="Rechteck 683">
              <a:extLst>
                <a:ext uri="{FF2B5EF4-FFF2-40B4-BE49-F238E27FC236}">
                  <a16:creationId xmlns:a16="http://schemas.microsoft.com/office/drawing/2014/main" id="{B1D52BAD-3311-98D5-BFFD-25017B59A4C3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5" name="Rechteck 684">
              <a:extLst>
                <a:ext uri="{FF2B5EF4-FFF2-40B4-BE49-F238E27FC236}">
                  <a16:creationId xmlns:a16="http://schemas.microsoft.com/office/drawing/2014/main" id="{E8BD66E8-65E5-DF62-BE7E-999B303CC332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6" name="Rechteck 685">
              <a:extLst>
                <a:ext uri="{FF2B5EF4-FFF2-40B4-BE49-F238E27FC236}">
                  <a16:creationId xmlns:a16="http://schemas.microsoft.com/office/drawing/2014/main" id="{B14CC011-9D79-5B90-DBFB-32406689E17B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7" name="Rechteck 686">
              <a:extLst>
                <a:ext uri="{FF2B5EF4-FFF2-40B4-BE49-F238E27FC236}">
                  <a16:creationId xmlns:a16="http://schemas.microsoft.com/office/drawing/2014/main" id="{24A28BEF-0BBF-39F8-9811-752A94C2BEBF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8" name="Rechteck 687">
              <a:extLst>
                <a:ext uri="{FF2B5EF4-FFF2-40B4-BE49-F238E27FC236}">
                  <a16:creationId xmlns:a16="http://schemas.microsoft.com/office/drawing/2014/main" id="{18C6CF37-122B-8E64-CFD8-3EA39DD24236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9" name="Rechteck 688">
              <a:extLst>
                <a:ext uri="{FF2B5EF4-FFF2-40B4-BE49-F238E27FC236}">
                  <a16:creationId xmlns:a16="http://schemas.microsoft.com/office/drawing/2014/main" id="{F5E8FE13-57CA-8B87-20A2-5FF3E1804ED2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0" name="Rechteck 689">
              <a:extLst>
                <a:ext uri="{FF2B5EF4-FFF2-40B4-BE49-F238E27FC236}">
                  <a16:creationId xmlns:a16="http://schemas.microsoft.com/office/drawing/2014/main" id="{0D30E4E3-4D43-32D8-495F-755153C2845F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1" name="Rechteck 690">
              <a:extLst>
                <a:ext uri="{FF2B5EF4-FFF2-40B4-BE49-F238E27FC236}">
                  <a16:creationId xmlns:a16="http://schemas.microsoft.com/office/drawing/2014/main" id="{A73BBEB2-DE19-649D-22FE-728A5645486E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2" name="Rechteck 691">
              <a:extLst>
                <a:ext uri="{FF2B5EF4-FFF2-40B4-BE49-F238E27FC236}">
                  <a16:creationId xmlns:a16="http://schemas.microsoft.com/office/drawing/2014/main" id="{4D2BE64B-9A7A-53A9-C819-243BE631F024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3" name="Rechteck 692">
              <a:extLst>
                <a:ext uri="{FF2B5EF4-FFF2-40B4-BE49-F238E27FC236}">
                  <a16:creationId xmlns:a16="http://schemas.microsoft.com/office/drawing/2014/main" id="{948405A6-9669-1EF0-C935-5D6C151DA678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4" name="Rechteck 693">
              <a:extLst>
                <a:ext uri="{FF2B5EF4-FFF2-40B4-BE49-F238E27FC236}">
                  <a16:creationId xmlns:a16="http://schemas.microsoft.com/office/drawing/2014/main" id="{5506D032-9548-F045-AEF6-B0FE8010D261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5" name="Rechteck 694">
              <a:extLst>
                <a:ext uri="{FF2B5EF4-FFF2-40B4-BE49-F238E27FC236}">
                  <a16:creationId xmlns:a16="http://schemas.microsoft.com/office/drawing/2014/main" id="{D1224027-FF52-8908-02CF-CA4EC21F015A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6" name="Rechteck 695">
              <a:extLst>
                <a:ext uri="{FF2B5EF4-FFF2-40B4-BE49-F238E27FC236}">
                  <a16:creationId xmlns:a16="http://schemas.microsoft.com/office/drawing/2014/main" id="{90B7522B-5495-B81C-181D-169237861A76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7" name="Rechteck 696">
              <a:extLst>
                <a:ext uri="{FF2B5EF4-FFF2-40B4-BE49-F238E27FC236}">
                  <a16:creationId xmlns:a16="http://schemas.microsoft.com/office/drawing/2014/main" id="{18F57D62-8A74-6CF5-9855-94B9B59FD99F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8" name="Rechteck 697">
              <a:extLst>
                <a:ext uri="{FF2B5EF4-FFF2-40B4-BE49-F238E27FC236}">
                  <a16:creationId xmlns:a16="http://schemas.microsoft.com/office/drawing/2014/main" id="{8DBD7474-A553-E25C-3215-8FBA51CE2164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9" name="Rechteck 698">
              <a:extLst>
                <a:ext uri="{FF2B5EF4-FFF2-40B4-BE49-F238E27FC236}">
                  <a16:creationId xmlns:a16="http://schemas.microsoft.com/office/drawing/2014/main" id="{061A1E0C-E7FF-2AA1-2269-BDA6AF4BE244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0" name="Rechteck 699">
              <a:extLst>
                <a:ext uri="{FF2B5EF4-FFF2-40B4-BE49-F238E27FC236}">
                  <a16:creationId xmlns:a16="http://schemas.microsoft.com/office/drawing/2014/main" id="{C2512624-068F-833F-5C37-5C78D6C652BC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1" name="Rechteck 700">
              <a:extLst>
                <a:ext uri="{FF2B5EF4-FFF2-40B4-BE49-F238E27FC236}">
                  <a16:creationId xmlns:a16="http://schemas.microsoft.com/office/drawing/2014/main" id="{5613D7C1-51CC-460E-AC98-89F3F244BE28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2" name="Rechteck 701">
              <a:extLst>
                <a:ext uri="{FF2B5EF4-FFF2-40B4-BE49-F238E27FC236}">
                  <a16:creationId xmlns:a16="http://schemas.microsoft.com/office/drawing/2014/main" id="{7D6EEA81-786C-3DE1-CDC3-265B3FC1910B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3" name="Rechteck 702">
              <a:extLst>
                <a:ext uri="{FF2B5EF4-FFF2-40B4-BE49-F238E27FC236}">
                  <a16:creationId xmlns:a16="http://schemas.microsoft.com/office/drawing/2014/main" id="{C3D0391C-B3D2-534E-2C4C-153FE7C55E9C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4" name="Rechteck 703">
              <a:extLst>
                <a:ext uri="{FF2B5EF4-FFF2-40B4-BE49-F238E27FC236}">
                  <a16:creationId xmlns:a16="http://schemas.microsoft.com/office/drawing/2014/main" id="{C05C5FF6-A39F-6469-5475-AD18D3EE88EF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5" name="Rechteck 704">
              <a:extLst>
                <a:ext uri="{FF2B5EF4-FFF2-40B4-BE49-F238E27FC236}">
                  <a16:creationId xmlns:a16="http://schemas.microsoft.com/office/drawing/2014/main" id="{59041BE7-EEF8-863D-21D9-32D0A2FE74E5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6" name="Rechteck 705">
              <a:extLst>
                <a:ext uri="{FF2B5EF4-FFF2-40B4-BE49-F238E27FC236}">
                  <a16:creationId xmlns:a16="http://schemas.microsoft.com/office/drawing/2014/main" id="{0898EC73-249A-0EAF-1F8E-43588383C648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7" name="Rechteck 706">
              <a:extLst>
                <a:ext uri="{FF2B5EF4-FFF2-40B4-BE49-F238E27FC236}">
                  <a16:creationId xmlns:a16="http://schemas.microsoft.com/office/drawing/2014/main" id="{A4DFE144-93CF-287A-26E4-C9833BE919FC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8" name="Rechteck 707">
              <a:extLst>
                <a:ext uri="{FF2B5EF4-FFF2-40B4-BE49-F238E27FC236}">
                  <a16:creationId xmlns:a16="http://schemas.microsoft.com/office/drawing/2014/main" id="{9B4A7E46-A4DB-F136-E8A8-E8C545A59F39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9" name="Rechteck 708">
              <a:extLst>
                <a:ext uri="{FF2B5EF4-FFF2-40B4-BE49-F238E27FC236}">
                  <a16:creationId xmlns:a16="http://schemas.microsoft.com/office/drawing/2014/main" id="{22A2C97A-8AC4-2485-2C3B-45A941518195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0" name="Rechteck 709">
              <a:extLst>
                <a:ext uri="{FF2B5EF4-FFF2-40B4-BE49-F238E27FC236}">
                  <a16:creationId xmlns:a16="http://schemas.microsoft.com/office/drawing/2014/main" id="{3672074A-6DCB-1A75-6824-0B6FE5F26269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1" name="Rechteck 710">
              <a:extLst>
                <a:ext uri="{FF2B5EF4-FFF2-40B4-BE49-F238E27FC236}">
                  <a16:creationId xmlns:a16="http://schemas.microsoft.com/office/drawing/2014/main" id="{F4DC759A-991B-645B-A4F2-019B40E5085C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2" name="Rechteck 711">
              <a:extLst>
                <a:ext uri="{FF2B5EF4-FFF2-40B4-BE49-F238E27FC236}">
                  <a16:creationId xmlns:a16="http://schemas.microsoft.com/office/drawing/2014/main" id="{83E596AB-06C9-9611-B5E2-F93ED4C4EE96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3" name="Rechteck 712">
              <a:extLst>
                <a:ext uri="{FF2B5EF4-FFF2-40B4-BE49-F238E27FC236}">
                  <a16:creationId xmlns:a16="http://schemas.microsoft.com/office/drawing/2014/main" id="{903A387A-A171-8B9F-7017-53266AB55191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4" name="Rechteck 713">
              <a:extLst>
                <a:ext uri="{FF2B5EF4-FFF2-40B4-BE49-F238E27FC236}">
                  <a16:creationId xmlns:a16="http://schemas.microsoft.com/office/drawing/2014/main" id="{E0AFE1A9-3A96-BED7-3E27-AABE21F922A0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5" name="Rechteck 714">
              <a:extLst>
                <a:ext uri="{FF2B5EF4-FFF2-40B4-BE49-F238E27FC236}">
                  <a16:creationId xmlns:a16="http://schemas.microsoft.com/office/drawing/2014/main" id="{5E15396D-1A38-6464-3F73-7634E96F9106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6" name="Rechteck 715">
              <a:extLst>
                <a:ext uri="{FF2B5EF4-FFF2-40B4-BE49-F238E27FC236}">
                  <a16:creationId xmlns:a16="http://schemas.microsoft.com/office/drawing/2014/main" id="{B0405A9C-78F6-1753-E31E-CE673718673B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7" name="Rechteck 716">
              <a:extLst>
                <a:ext uri="{FF2B5EF4-FFF2-40B4-BE49-F238E27FC236}">
                  <a16:creationId xmlns:a16="http://schemas.microsoft.com/office/drawing/2014/main" id="{46D3EF15-C383-D461-5089-41B249C4BD4C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8" name="Rechteck 717">
              <a:extLst>
                <a:ext uri="{FF2B5EF4-FFF2-40B4-BE49-F238E27FC236}">
                  <a16:creationId xmlns:a16="http://schemas.microsoft.com/office/drawing/2014/main" id="{41010629-7D58-6AA9-11CE-E7EBEB099DDB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9" name="Rechteck 718">
              <a:extLst>
                <a:ext uri="{FF2B5EF4-FFF2-40B4-BE49-F238E27FC236}">
                  <a16:creationId xmlns:a16="http://schemas.microsoft.com/office/drawing/2014/main" id="{AFD2C45C-D606-601A-D971-D5097188638D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0" name="Rechteck 719">
              <a:extLst>
                <a:ext uri="{FF2B5EF4-FFF2-40B4-BE49-F238E27FC236}">
                  <a16:creationId xmlns:a16="http://schemas.microsoft.com/office/drawing/2014/main" id="{2F571C12-2DC0-A532-4B12-0354DDB946CF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1" name="Rechteck 720">
              <a:extLst>
                <a:ext uri="{FF2B5EF4-FFF2-40B4-BE49-F238E27FC236}">
                  <a16:creationId xmlns:a16="http://schemas.microsoft.com/office/drawing/2014/main" id="{45432C77-1933-DF14-8F05-B10FD304F750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2" name="Rechteck 721">
              <a:extLst>
                <a:ext uri="{FF2B5EF4-FFF2-40B4-BE49-F238E27FC236}">
                  <a16:creationId xmlns:a16="http://schemas.microsoft.com/office/drawing/2014/main" id="{E74AFD1F-DD83-EE46-3EB2-428C32CFD9B1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3" name="Rechteck 722">
              <a:extLst>
                <a:ext uri="{FF2B5EF4-FFF2-40B4-BE49-F238E27FC236}">
                  <a16:creationId xmlns:a16="http://schemas.microsoft.com/office/drawing/2014/main" id="{C529136C-68E4-6EC4-EDE1-BBE0A4FB1F67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4" name="Rechteck 723">
              <a:extLst>
                <a:ext uri="{FF2B5EF4-FFF2-40B4-BE49-F238E27FC236}">
                  <a16:creationId xmlns:a16="http://schemas.microsoft.com/office/drawing/2014/main" id="{FFDE0E57-4773-4FC5-9227-37F504081FD6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5" name="Rechteck 724">
              <a:extLst>
                <a:ext uri="{FF2B5EF4-FFF2-40B4-BE49-F238E27FC236}">
                  <a16:creationId xmlns:a16="http://schemas.microsoft.com/office/drawing/2014/main" id="{A0E5C16F-2EB0-D023-A1A2-96F0CDFF477D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6" name="Rechteck 725">
              <a:extLst>
                <a:ext uri="{FF2B5EF4-FFF2-40B4-BE49-F238E27FC236}">
                  <a16:creationId xmlns:a16="http://schemas.microsoft.com/office/drawing/2014/main" id="{3D8E881C-37A0-6733-A064-019FAE546B58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7" name="Rechteck 726">
              <a:extLst>
                <a:ext uri="{FF2B5EF4-FFF2-40B4-BE49-F238E27FC236}">
                  <a16:creationId xmlns:a16="http://schemas.microsoft.com/office/drawing/2014/main" id="{BFFD9ACF-3DB6-B603-0D8F-DCF79059C66B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8" name="Rechteck 727">
              <a:extLst>
                <a:ext uri="{FF2B5EF4-FFF2-40B4-BE49-F238E27FC236}">
                  <a16:creationId xmlns:a16="http://schemas.microsoft.com/office/drawing/2014/main" id="{3DCC19C5-1F8A-9E09-8949-C66CB0E2ADC8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9" name="Rechteck 728">
              <a:extLst>
                <a:ext uri="{FF2B5EF4-FFF2-40B4-BE49-F238E27FC236}">
                  <a16:creationId xmlns:a16="http://schemas.microsoft.com/office/drawing/2014/main" id="{BDCCE821-EFC4-87B2-8447-1668D3800CBF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0" name="Rechteck 729">
              <a:extLst>
                <a:ext uri="{FF2B5EF4-FFF2-40B4-BE49-F238E27FC236}">
                  <a16:creationId xmlns:a16="http://schemas.microsoft.com/office/drawing/2014/main" id="{DEBBDA4D-0ACC-DAF5-9C54-D9E2E4A53412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1" name="Rechteck 730">
              <a:extLst>
                <a:ext uri="{FF2B5EF4-FFF2-40B4-BE49-F238E27FC236}">
                  <a16:creationId xmlns:a16="http://schemas.microsoft.com/office/drawing/2014/main" id="{04223128-2BD4-6578-6D02-9CA2ED4B0568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2" name="Rechteck 731">
              <a:extLst>
                <a:ext uri="{FF2B5EF4-FFF2-40B4-BE49-F238E27FC236}">
                  <a16:creationId xmlns:a16="http://schemas.microsoft.com/office/drawing/2014/main" id="{76D5BA52-35A0-B4C1-030F-8F68A063C8AC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3" name="Rechteck 732">
              <a:extLst>
                <a:ext uri="{FF2B5EF4-FFF2-40B4-BE49-F238E27FC236}">
                  <a16:creationId xmlns:a16="http://schemas.microsoft.com/office/drawing/2014/main" id="{9067269C-C4C4-1FF0-54B5-C2A9E1013277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4" name="Rechteck 733">
              <a:extLst>
                <a:ext uri="{FF2B5EF4-FFF2-40B4-BE49-F238E27FC236}">
                  <a16:creationId xmlns:a16="http://schemas.microsoft.com/office/drawing/2014/main" id="{D6CCA07D-2E5C-E64F-AE03-6D71DAE9B6CA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5" name="Rechteck 734">
              <a:extLst>
                <a:ext uri="{FF2B5EF4-FFF2-40B4-BE49-F238E27FC236}">
                  <a16:creationId xmlns:a16="http://schemas.microsoft.com/office/drawing/2014/main" id="{8AB0E212-C526-9EDC-78D9-3C240B8FB1A7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6" name="Rechteck 735">
              <a:extLst>
                <a:ext uri="{FF2B5EF4-FFF2-40B4-BE49-F238E27FC236}">
                  <a16:creationId xmlns:a16="http://schemas.microsoft.com/office/drawing/2014/main" id="{A59F7EBD-17F7-0CAF-5800-9C38B27CFEFF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7" name="Rechteck 736">
              <a:extLst>
                <a:ext uri="{FF2B5EF4-FFF2-40B4-BE49-F238E27FC236}">
                  <a16:creationId xmlns:a16="http://schemas.microsoft.com/office/drawing/2014/main" id="{724DD182-D750-A1F9-6049-EE20016311F4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8" name="Rechteck 737">
              <a:extLst>
                <a:ext uri="{FF2B5EF4-FFF2-40B4-BE49-F238E27FC236}">
                  <a16:creationId xmlns:a16="http://schemas.microsoft.com/office/drawing/2014/main" id="{9BCD860F-90FB-404D-6219-94B0E8648E2A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9" name="Rechteck 738">
              <a:extLst>
                <a:ext uri="{FF2B5EF4-FFF2-40B4-BE49-F238E27FC236}">
                  <a16:creationId xmlns:a16="http://schemas.microsoft.com/office/drawing/2014/main" id="{25BE07CF-C906-EEB5-9B92-384190DADE01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0" name="Rechteck 739">
              <a:extLst>
                <a:ext uri="{FF2B5EF4-FFF2-40B4-BE49-F238E27FC236}">
                  <a16:creationId xmlns:a16="http://schemas.microsoft.com/office/drawing/2014/main" id="{8A007C06-CD62-AE99-43DD-CC4EF434E459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1" name="Rechteck 740">
              <a:extLst>
                <a:ext uri="{FF2B5EF4-FFF2-40B4-BE49-F238E27FC236}">
                  <a16:creationId xmlns:a16="http://schemas.microsoft.com/office/drawing/2014/main" id="{DE76811E-DFEE-A9E3-9891-C39851ABF40E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2" name="Rechteck 741">
              <a:extLst>
                <a:ext uri="{FF2B5EF4-FFF2-40B4-BE49-F238E27FC236}">
                  <a16:creationId xmlns:a16="http://schemas.microsoft.com/office/drawing/2014/main" id="{F206AE6A-8131-B4D3-BD3D-D3224D725D3D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3" name="Rechteck 742">
              <a:extLst>
                <a:ext uri="{FF2B5EF4-FFF2-40B4-BE49-F238E27FC236}">
                  <a16:creationId xmlns:a16="http://schemas.microsoft.com/office/drawing/2014/main" id="{4D5C342C-575B-59BE-8FE7-A814F1C80752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4" name="Rechteck 743">
              <a:extLst>
                <a:ext uri="{FF2B5EF4-FFF2-40B4-BE49-F238E27FC236}">
                  <a16:creationId xmlns:a16="http://schemas.microsoft.com/office/drawing/2014/main" id="{3028FFCC-B195-3589-C1B4-918906FF5BC3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5" name="Rechteck 744">
              <a:extLst>
                <a:ext uri="{FF2B5EF4-FFF2-40B4-BE49-F238E27FC236}">
                  <a16:creationId xmlns:a16="http://schemas.microsoft.com/office/drawing/2014/main" id="{93C69724-261A-30C1-C246-E5383E3CFD1F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6" name="Rechteck 745">
              <a:extLst>
                <a:ext uri="{FF2B5EF4-FFF2-40B4-BE49-F238E27FC236}">
                  <a16:creationId xmlns:a16="http://schemas.microsoft.com/office/drawing/2014/main" id="{5A114632-CF76-45ED-24F7-00D48A3BE441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7" name="Rechteck 746">
              <a:extLst>
                <a:ext uri="{FF2B5EF4-FFF2-40B4-BE49-F238E27FC236}">
                  <a16:creationId xmlns:a16="http://schemas.microsoft.com/office/drawing/2014/main" id="{3CF46089-2E28-F96A-BF9D-11E862DFBAA2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8" name="Rechteck 747">
              <a:extLst>
                <a:ext uri="{FF2B5EF4-FFF2-40B4-BE49-F238E27FC236}">
                  <a16:creationId xmlns:a16="http://schemas.microsoft.com/office/drawing/2014/main" id="{EF37647D-79A9-1AA2-820A-4BFE45B2A6B5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9" name="Rechteck 748">
              <a:extLst>
                <a:ext uri="{FF2B5EF4-FFF2-40B4-BE49-F238E27FC236}">
                  <a16:creationId xmlns:a16="http://schemas.microsoft.com/office/drawing/2014/main" id="{BB97E25B-5579-4208-CD9B-9D5F831E8164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0" name="Rechteck 749">
              <a:extLst>
                <a:ext uri="{FF2B5EF4-FFF2-40B4-BE49-F238E27FC236}">
                  <a16:creationId xmlns:a16="http://schemas.microsoft.com/office/drawing/2014/main" id="{DD3F85D7-75E9-728B-95AC-F60248BD8BD8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1" name="Rechteck 750">
              <a:extLst>
                <a:ext uri="{FF2B5EF4-FFF2-40B4-BE49-F238E27FC236}">
                  <a16:creationId xmlns:a16="http://schemas.microsoft.com/office/drawing/2014/main" id="{DB9083D4-C219-2223-8EDE-EF10873AD03C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2" name="Rechteck 751">
              <a:extLst>
                <a:ext uri="{FF2B5EF4-FFF2-40B4-BE49-F238E27FC236}">
                  <a16:creationId xmlns:a16="http://schemas.microsoft.com/office/drawing/2014/main" id="{5A4B28E8-0F6E-0AE5-8E8E-175C19ADA5C3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3" name="Rechteck 752">
              <a:extLst>
                <a:ext uri="{FF2B5EF4-FFF2-40B4-BE49-F238E27FC236}">
                  <a16:creationId xmlns:a16="http://schemas.microsoft.com/office/drawing/2014/main" id="{5BE68913-828E-348F-1EFE-F3A5ED1F8EC8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4" name="Rechteck 753">
              <a:extLst>
                <a:ext uri="{FF2B5EF4-FFF2-40B4-BE49-F238E27FC236}">
                  <a16:creationId xmlns:a16="http://schemas.microsoft.com/office/drawing/2014/main" id="{3CF129BE-B18A-79CE-C9E2-699B2EEECC5E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5" name="Rechteck 754">
              <a:extLst>
                <a:ext uri="{FF2B5EF4-FFF2-40B4-BE49-F238E27FC236}">
                  <a16:creationId xmlns:a16="http://schemas.microsoft.com/office/drawing/2014/main" id="{E1561736-6D1B-0AEB-1355-6E6AC291F8F3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6" name="Rechteck 755">
              <a:extLst>
                <a:ext uri="{FF2B5EF4-FFF2-40B4-BE49-F238E27FC236}">
                  <a16:creationId xmlns:a16="http://schemas.microsoft.com/office/drawing/2014/main" id="{2A894CE7-39F0-03EA-9DEE-731B76B5F93C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7" name="Rechteck 756">
              <a:extLst>
                <a:ext uri="{FF2B5EF4-FFF2-40B4-BE49-F238E27FC236}">
                  <a16:creationId xmlns:a16="http://schemas.microsoft.com/office/drawing/2014/main" id="{5EFBC1E0-E894-7C6E-C6CC-D5F070A57D74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8" name="Rechteck 757">
              <a:extLst>
                <a:ext uri="{FF2B5EF4-FFF2-40B4-BE49-F238E27FC236}">
                  <a16:creationId xmlns:a16="http://schemas.microsoft.com/office/drawing/2014/main" id="{E92FA0D8-34A1-7B91-290B-E2F37987C71B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9" name="Rechteck 758">
              <a:extLst>
                <a:ext uri="{FF2B5EF4-FFF2-40B4-BE49-F238E27FC236}">
                  <a16:creationId xmlns:a16="http://schemas.microsoft.com/office/drawing/2014/main" id="{227685F1-978D-3666-F9FF-B0222506FA1A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0" name="Rechteck 759">
              <a:extLst>
                <a:ext uri="{FF2B5EF4-FFF2-40B4-BE49-F238E27FC236}">
                  <a16:creationId xmlns:a16="http://schemas.microsoft.com/office/drawing/2014/main" id="{4CAEED98-1A97-D7CF-512A-1AA89B670667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1" name="Rechteck 760">
              <a:extLst>
                <a:ext uri="{FF2B5EF4-FFF2-40B4-BE49-F238E27FC236}">
                  <a16:creationId xmlns:a16="http://schemas.microsoft.com/office/drawing/2014/main" id="{4D0E3DB8-7CE5-7C29-A917-788949AF835B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2" name="Rechteck 761">
              <a:extLst>
                <a:ext uri="{FF2B5EF4-FFF2-40B4-BE49-F238E27FC236}">
                  <a16:creationId xmlns:a16="http://schemas.microsoft.com/office/drawing/2014/main" id="{8EE73659-719C-B928-B2F6-598E29774AF9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3" name="Rechteck 762">
              <a:extLst>
                <a:ext uri="{FF2B5EF4-FFF2-40B4-BE49-F238E27FC236}">
                  <a16:creationId xmlns:a16="http://schemas.microsoft.com/office/drawing/2014/main" id="{72ADEBE7-8635-8E8A-F0D0-DC7D5FCE9917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4" name="Rechteck 763">
              <a:extLst>
                <a:ext uri="{FF2B5EF4-FFF2-40B4-BE49-F238E27FC236}">
                  <a16:creationId xmlns:a16="http://schemas.microsoft.com/office/drawing/2014/main" id="{BF829382-D8E7-34A1-5925-23095FBC7B72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5" name="Rechteck 764">
              <a:extLst>
                <a:ext uri="{FF2B5EF4-FFF2-40B4-BE49-F238E27FC236}">
                  <a16:creationId xmlns:a16="http://schemas.microsoft.com/office/drawing/2014/main" id="{FB1BD728-6DB1-89DE-8749-A00C9695B360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6" name="Rechteck 765">
              <a:extLst>
                <a:ext uri="{FF2B5EF4-FFF2-40B4-BE49-F238E27FC236}">
                  <a16:creationId xmlns:a16="http://schemas.microsoft.com/office/drawing/2014/main" id="{8444D1D8-52F2-891A-9FE6-E5688F2142DE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7" name="Rechteck 766">
              <a:extLst>
                <a:ext uri="{FF2B5EF4-FFF2-40B4-BE49-F238E27FC236}">
                  <a16:creationId xmlns:a16="http://schemas.microsoft.com/office/drawing/2014/main" id="{55E918F6-7703-F494-3AD1-C6537227398D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8" name="Rechteck 767">
              <a:extLst>
                <a:ext uri="{FF2B5EF4-FFF2-40B4-BE49-F238E27FC236}">
                  <a16:creationId xmlns:a16="http://schemas.microsoft.com/office/drawing/2014/main" id="{5FAD81B7-221F-526F-CC0F-8A0529DF695D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9" name="Rechteck 768">
              <a:extLst>
                <a:ext uri="{FF2B5EF4-FFF2-40B4-BE49-F238E27FC236}">
                  <a16:creationId xmlns:a16="http://schemas.microsoft.com/office/drawing/2014/main" id="{9D197F4C-7B25-D99E-AD88-D9F8ACBBACF0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0" name="Rechteck 769">
              <a:extLst>
                <a:ext uri="{FF2B5EF4-FFF2-40B4-BE49-F238E27FC236}">
                  <a16:creationId xmlns:a16="http://schemas.microsoft.com/office/drawing/2014/main" id="{643BDABF-9812-7F4C-0659-24A404131E6E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1" name="Rechteck 770">
              <a:extLst>
                <a:ext uri="{FF2B5EF4-FFF2-40B4-BE49-F238E27FC236}">
                  <a16:creationId xmlns:a16="http://schemas.microsoft.com/office/drawing/2014/main" id="{9B15B4A5-F35A-BB2E-3C9D-70C99C1807DE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2" name="Rechteck 771">
              <a:extLst>
                <a:ext uri="{FF2B5EF4-FFF2-40B4-BE49-F238E27FC236}">
                  <a16:creationId xmlns:a16="http://schemas.microsoft.com/office/drawing/2014/main" id="{49CCCA99-C2B6-611A-CCCB-3811816822EF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3" name="Rechteck 772">
              <a:extLst>
                <a:ext uri="{FF2B5EF4-FFF2-40B4-BE49-F238E27FC236}">
                  <a16:creationId xmlns:a16="http://schemas.microsoft.com/office/drawing/2014/main" id="{D971676A-49E8-8E52-F392-F62BCB00F56D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4" name="Rechteck 773">
              <a:extLst>
                <a:ext uri="{FF2B5EF4-FFF2-40B4-BE49-F238E27FC236}">
                  <a16:creationId xmlns:a16="http://schemas.microsoft.com/office/drawing/2014/main" id="{0FAFFC2C-6D2A-7FD2-5C1D-679BF8580336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5" name="Rechteck 774">
              <a:extLst>
                <a:ext uri="{FF2B5EF4-FFF2-40B4-BE49-F238E27FC236}">
                  <a16:creationId xmlns:a16="http://schemas.microsoft.com/office/drawing/2014/main" id="{3F1A07A8-89D5-0FD3-FD39-C87E861A1619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6" name="Rechteck 775">
              <a:extLst>
                <a:ext uri="{FF2B5EF4-FFF2-40B4-BE49-F238E27FC236}">
                  <a16:creationId xmlns:a16="http://schemas.microsoft.com/office/drawing/2014/main" id="{2DA033D9-ADE1-D1C0-2A9A-9862A7F71C17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7" name="Rechteck 776">
              <a:extLst>
                <a:ext uri="{FF2B5EF4-FFF2-40B4-BE49-F238E27FC236}">
                  <a16:creationId xmlns:a16="http://schemas.microsoft.com/office/drawing/2014/main" id="{42A01133-DC9B-D79B-0293-DBB3E17593F4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8" name="Rechteck 777">
              <a:extLst>
                <a:ext uri="{FF2B5EF4-FFF2-40B4-BE49-F238E27FC236}">
                  <a16:creationId xmlns:a16="http://schemas.microsoft.com/office/drawing/2014/main" id="{CA2C86D9-30FC-40C1-A918-FEB1EFB04C09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9" name="Rechteck 778">
              <a:extLst>
                <a:ext uri="{FF2B5EF4-FFF2-40B4-BE49-F238E27FC236}">
                  <a16:creationId xmlns:a16="http://schemas.microsoft.com/office/drawing/2014/main" id="{726C2F39-1971-09C6-B206-863442514B2E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80" name="Rechteck 779">
              <a:extLst>
                <a:ext uri="{FF2B5EF4-FFF2-40B4-BE49-F238E27FC236}">
                  <a16:creationId xmlns:a16="http://schemas.microsoft.com/office/drawing/2014/main" id="{1DFEE28A-2910-D880-2F48-4E5F4EBA30AD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81" name="Rechteck 780">
              <a:extLst>
                <a:ext uri="{FF2B5EF4-FFF2-40B4-BE49-F238E27FC236}">
                  <a16:creationId xmlns:a16="http://schemas.microsoft.com/office/drawing/2014/main" id="{F43BB0A9-F7DE-388D-1EB0-C1BD3953C1EB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82" name="Rechteck 781">
              <a:extLst>
                <a:ext uri="{FF2B5EF4-FFF2-40B4-BE49-F238E27FC236}">
                  <a16:creationId xmlns:a16="http://schemas.microsoft.com/office/drawing/2014/main" id="{DA175851-14D4-2B70-55D0-BEB79BC9C97D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83" name="Rechteck 782">
              <a:extLst>
                <a:ext uri="{FF2B5EF4-FFF2-40B4-BE49-F238E27FC236}">
                  <a16:creationId xmlns:a16="http://schemas.microsoft.com/office/drawing/2014/main" id="{2A897DCE-B662-9E4E-64B0-E07C88FBB45A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grpSp>
        <p:nvGrpSpPr>
          <p:cNvPr id="373" name="Gruppieren 372">
            <a:extLst>
              <a:ext uri="{FF2B5EF4-FFF2-40B4-BE49-F238E27FC236}">
                <a16:creationId xmlns:a16="http://schemas.microsoft.com/office/drawing/2014/main" id="{F89F7176-DEFB-365C-16D7-FE40D66489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1" y="2082829"/>
            <a:ext cx="2448000" cy="0"/>
            <a:chOff x="983432" y="2082829"/>
            <a:chExt cx="2448000" cy="0"/>
          </a:xfrm>
        </p:grpSpPr>
        <p:cxnSp>
          <p:nvCxnSpPr>
            <p:cNvPr id="374" name="Line">
              <a:extLst>
                <a:ext uri="{FF2B5EF4-FFF2-40B4-BE49-F238E27FC236}">
                  <a16:creationId xmlns:a16="http://schemas.microsoft.com/office/drawing/2014/main" id="{9D48E6C8-09ED-8AFB-D9F8-809D8AF951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5" name="Line">
              <a:extLst>
                <a:ext uri="{FF2B5EF4-FFF2-40B4-BE49-F238E27FC236}">
                  <a16:creationId xmlns:a16="http://schemas.microsoft.com/office/drawing/2014/main" id="{75F8569B-101D-D3D6-3272-35814E3FB50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6" name="Shape">
            <a:extLst>
              <a:ext uri="{FF2B5EF4-FFF2-40B4-BE49-F238E27FC236}">
                <a16:creationId xmlns:a16="http://schemas.microsoft.com/office/drawing/2014/main" id="{218EE5D2-E8A9-C657-DB94-90EF6AB003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1400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77" name="Shape">
            <a:extLst>
              <a:ext uri="{FF2B5EF4-FFF2-40B4-BE49-F238E27FC236}">
                <a16:creationId xmlns:a16="http://schemas.microsoft.com/office/drawing/2014/main" id="{E6A93741-C507-32B5-E66A-C567217F0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1400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378" name="Logo">
            <a:extLst>
              <a:ext uri="{FF2B5EF4-FFF2-40B4-BE49-F238E27FC236}">
                <a16:creationId xmlns:a16="http://schemas.microsoft.com/office/drawing/2014/main" id="{072EC54C-2D86-265B-0867-F9D9F8FC33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  <p:sp>
        <p:nvSpPr>
          <p:cNvPr id="379" name="Title">
            <a:extLst>
              <a:ext uri="{FF2B5EF4-FFF2-40B4-BE49-F238E27FC236}">
                <a16:creationId xmlns:a16="http://schemas.microsoft.com/office/drawing/2014/main" id="{71A84BAA-B22F-F152-F5B4-EA6466D946C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83809" y="2205400"/>
            <a:ext cx="4968575" cy="1367992"/>
          </a:xfrm>
          <a:prstGeom prst="rect">
            <a:avLst/>
          </a:prstGeom>
        </p:spPr>
        <p:txBody>
          <a:bodyPr vert="horz" tIns="54000" anchor="t">
            <a:noAutofit/>
          </a:bodyPr>
          <a:lstStyle>
            <a:lvl1pPr algn="l">
              <a:lnSpc>
                <a:spcPct val="90000"/>
              </a:lnSpc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Insert your long title of presentation here in maximal three lines</a:t>
            </a:r>
          </a:p>
        </p:txBody>
      </p:sp>
      <p:sp>
        <p:nvSpPr>
          <p:cNvPr id="380" name="Subtitle 2">
            <a:extLst>
              <a:ext uri="{FF2B5EF4-FFF2-40B4-BE49-F238E27FC236}">
                <a16:creationId xmlns:a16="http://schemas.microsoft.com/office/drawing/2014/main" id="{E88CDA76-3AD1-A375-BFB4-C6BBAFEE3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583809" y="3789400"/>
            <a:ext cx="4392511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381" name="Author">
            <a:extLst>
              <a:ext uri="{FF2B5EF4-FFF2-40B4-BE49-F238E27FC236}">
                <a16:creationId xmlns:a16="http://schemas.microsoft.com/office/drawing/2014/main" id="{9FD34093-2C8E-F916-5795-383A8E4D40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400" y="2277400"/>
            <a:ext cx="2807728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GB"/>
              <a:t>First name Last name</a:t>
            </a:r>
          </a:p>
        </p:txBody>
      </p:sp>
      <p:sp>
        <p:nvSpPr>
          <p:cNvPr id="382" name="Department, Date">
            <a:extLst>
              <a:ext uri="{FF2B5EF4-FFF2-40B4-BE49-F238E27FC236}">
                <a16:creationId xmlns:a16="http://schemas.microsoft.com/office/drawing/2014/main" id="{1D8676A8-F248-476B-915C-C850300811B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2493400"/>
            <a:ext cx="2807728" cy="1007608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GB"/>
              <a:t>Department</a:t>
            </a:r>
            <a:br>
              <a:rPr lang="en-GB"/>
            </a:br>
            <a:r>
              <a:rPr lang="en-GB"/>
              <a:t>DD/MM/YYYY</a:t>
            </a:r>
          </a:p>
        </p:txBody>
      </p:sp>
    </p:spTree>
    <p:extLst>
      <p:ext uri="{BB962C8B-B14F-4D97-AF65-F5344CB8AC3E}">
        <p14:creationId xmlns:p14="http://schemas.microsoft.com/office/powerpoint/2010/main" val="20860033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2 |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1C8346B-21BC-D3F4-E970-6C080C3FEA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4504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1C8346B-21BC-D3F4-E970-6C080C3FE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3" name="Gruppieren 592">
            <a:extLst>
              <a:ext uri="{FF2B5EF4-FFF2-40B4-BE49-F238E27FC236}">
                <a16:creationId xmlns:a16="http://schemas.microsoft.com/office/drawing/2014/main" id="{F51E1B9F-E5D4-EF36-3C3A-E9AE799D0065}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594" name="Rechteck 593">
              <a:extLst>
                <a:ext uri="{FF2B5EF4-FFF2-40B4-BE49-F238E27FC236}">
                  <a16:creationId xmlns:a16="http://schemas.microsoft.com/office/drawing/2014/main" id="{DC745262-957B-BEE9-9521-421A1CF51222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5" name="Rechteck 594">
              <a:extLst>
                <a:ext uri="{FF2B5EF4-FFF2-40B4-BE49-F238E27FC236}">
                  <a16:creationId xmlns:a16="http://schemas.microsoft.com/office/drawing/2014/main" id="{467BFAEF-8C58-D254-D6AD-10BF2F442752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6" name="Rechteck 595">
              <a:extLst>
                <a:ext uri="{FF2B5EF4-FFF2-40B4-BE49-F238E27FC236}">
                  <a16:creationId xmlns:a16="http://schemas.microsoft.com/office/drawing/2014/main" id="{5068B811-0105-D363-C051-ED410B72E881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7" name="Rechteck 596">
              <a:extLst>
                <a:ext uri="{FF2B5EF4-FFF2-40B4-BE49-F238E27FC236}">
                  <a16:creationId xmlns:a16="http://schemas.microsoft.com/office/drawing/2014/main" id="{37568CC7-80EF-3A23-4811-970F5041DC63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8" name="Rechteck 597">
              <a:extLst>
                <a:ext uri="{FF2B5EF4-FFF2-40B4-BE49-F238E27FC236}">
                  <a16:creationId xmlns:a16="http://schemas.microsoft.com/office/drawing/2014/main" id="{9E53F1FC-2986-D01A-3C6C-AAC5B01083A0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9" name="Rechteck 598">
              <a:extLst>
                <a:ext uri="{FF2B5EF4-FFF2-40B4-BE49-F238E27FC236}">
                  <a16:creationId xmlns:a16="http://schemas.microsoft.com/office/drawing/2014/main" id="{AF75EC6D-B605-02E9-67FF-D31C37790F61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0" name="Rechteck 599">
              <a:extLst>
                <a:ext uri="{FF2B5EF4-FFF2-40B4-BE49-F238E27FC236}">
                  <a16:creationId xmlns:a16="http://schemas.microsoft.com/office/drawing/2014/main" id="{2EFACD55-D5DE-8718-4797-8C61D91E61CA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1" name="Rechteck 600">
              <a:extLst>
                <a:ext uri="{FF2B5EF4-FFF2-40B4-BE49-F238E27FC236}">
                  <a16:creationId xmlns:a16="http://schemas.microsoft.com/office/drawing/2014/main" id="{EB0CA3D8-D91E-AFC4-C1D5-143F322B3A18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2" name="Rechteck 601">
              <a:extLst>
                <a:ext uri="{FF2B5EF4-FFF2-40B4-BE49-F238E27FC236}">
                  <a16:creationId xmlns:a16="http://schemas.microsoft.com/office/drawing/2014/main" id="{66F80DE6-9CA6-6D86-94B1-3B535F32681A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3" name="Rechteck 602">
              <a:extLst>
                <a:ext uri="{FF2B5EF4-FFF2-40B4-BE49-F238E27FC236}">
                  <a16:creationId xmlns:a16="http://schemas.microsoft.com/office/drawing/2014/main" id="{A555B822-EDA8-123E-329E-357423D5B39C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4" name="Rechteck 603">
              <a:extLst>
                <a:ext uri="{FF2B5EF4-FFF2-40B4-BE49-F238E27FC236}">
                  <a16:creationId xmlns:a16="http://schemas.microsoft.com/office/drawing/2014/main" id="{BDC2727B-6044-DBE2-D702-13DF48DE1937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5" name="Rechteck 604">
              <a:extLst>
                <a:ext uri="{FF2B5EF4-FFF2-40B4-BE49-F238E27FC236}">
                  <a16:creationId xmlns:a16="http://schemas.microsoft.com/office/drawing/2014/main" id="{3EE7DE62-8CA1-5005-288C-12B69AEAB2F7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6" name="Rechteck 605">
              <a:extLst>
                <a:ext uri="{FF2B5EF4-FFF2-40B4-BE49-F238E27FC236}">
                  <a16:creationId xmlns:a16="http://schemas.microsoft.com/office/drawing/2014/main" id="{952188F3-8165-44BF-302A-4C183DE5C659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7" name="Rechteck 606">
              <a:extLst>
                <a:ext uri="{FF2B5EF4-FFF2-40B4-BE49-F238E27FC236}">
                  <a16:creationId xmlns:a16="http://schemas.microsoft.com/office/drawing/2014/main" id="{E74B6223-FAE2-F8FF-2C60-884372536F3F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8" name="Rechteck 607">
              <a:extLst>
                <a:ext uri="{FF2B5EF4-FFF2-40B4-BE49-F238E27FC236}">
                  <a16:creationId xmlns:a16="http://schemas.microsoft.com/office/drawing/2014/main" id="{6E8410CC-F475-605B-40A8-C2BF7CEC08D2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9" name="Rechteck 608">
              <a:extLst>
                <a:ext uri="{FF2B5EF4-FFF2-40B4-BE49-F238E27FC236}">
                  <a16:creationId xmlns:a16="http://schemas.microsoft.com/office/drawing/2014/main" id="{EAA202BF-5462-6D24-BC75-FE95BD32D39C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0" name="Rechteck 609">
              <a:extLst>
                <a:ext uri="{FF2B5EF4-FFF2-40B4-BE49-F238E27FC236}">
                  <a16:creationId xmlns:a16="http://schemas.microsoft.com/office/drawing/2014/main" id="{4AAD3704-BBD7-B246-0098-876A98FF2C4F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1" name="Rechteck 610">
              <a:extLst>
                <a:ext uri="{FF2B5EF4-FFF2-40B4-BE49-F238E27FC236}">
                  <a16:creationId xmlns:a16="http://schemas.microsoft.com/office/drawing/2014/main" id="{071EA9E2-A9E2-28CA-8398-FB37BE1A59CC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2" name="Rechteck 611">
              <a:extLst>
                <a:ext uri="{FF2B5EF4-FFF2-40B4-BE49-F238E27FC236}">
                  <a16:creationId xmlns:a16="http://schemas.microsoft.com/office/drawing/2014/main" id="{639DEF17-42C3-2C0E-8EB5-0586C960705A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3" name="Rechteck 612">
              <a:extLst>
                <a:ext uri="{FF2B5EF4-FFF2-40B4-BE49-F238E27FC236}">
                  <a16:creationId xmlns:a16="http://schemas.microsoft.com/office/drawing/2014/main" id="{A2F19B42-ABA0-154E-5208-83530C974F5B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4" name="Rechteck 613">
              <a:extLst>
                <a:ext uri="{FF2B5EF4-FFF2-40B4-BE49-F238E27FC236}">
                  <a16:creationId xmlns:a16="http://schemas.microsoft.com/office/drawing/2014/main" id="{832292C8-6D86-6B6A-77F8-37B9D110A247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5" name="Rechteck 614">
              <a:extLst>
                <a:ext uri="{FF2B5EF4-FFF2-40B4-BE49-F238E27FC236}">
                  <a16:creationId xmlns:a16="http://schemas.microsoft.com/office/drawing/2014/main" id="{F103817E-04F4-2420-E84F-322BBC90AF97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6" name="Rechteck 615">
              <a:extLst>
                <a:ext uri="{FF2B5EF4-FFF2-40B4-BE49-F238E27FC236}">
                  <a16:creationId xmlns:a16="http://schemas.microsoft.com/office/drawing/2014/main" id="{DC41ED89-88A5-5A31-CCCB-5DE73D2D3EA6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7" name="Rechteck 616">
              <a:extLst>
                <a:ext uri="{FF2B5EF4-FFF2-40B4-BE49-F238E27FC236}">
                  <a16:creationId xmlns:a16="http://schemas.microsoft.com/office/drawing/2014/main" id="{8348F670-88C2-8156-5550-BEED05A7BFAD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8" name="Rechteck 617">
              <a:extLst>
                <a:ext uri="{FF2B5EF4-FFF2-40B4-BE49-F238E27FC236}">
                  <a16:creationId xmlns:a16="http://schemas.microsoft.com/office/drawing/2014/main" id="{60FB63BC-FDE1-7B3E-AA09-9D5A7FC5A46D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9" name="Rechteck 618">
              <a:extLst>
                <a:ext uri="{FF2B5EF4-FFF2-40B4-BE49-F238E27FC236}">
                  <a16:creationId xmlns:a16="http://schemas.microsoft.com/office/drawing/2014/main" id="{362EFEC9-3F56-5B83-6364-08157A6440D8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0" name="Rechteck 619">
              <a:extLst>
                <a:ext uri="{FF2B5EF4-FFF2-40B4-BE49-F238E27FC236}">
                  <a16:creationId xmlns:a16="http://schemas.microsoft.com/office/drawing/2014/main" id="{4C334EEC-75C1-C4D2-DD45-4C6997775A06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1" name="Rechteck 620">
              <a:extLst>
                <a:ext uri="{FF2B5EF4-FFF2-40B4-BE49-F238E27FC236}">
                  <a16:creationId xmlns:a16="http://schemas.microsoft.com/office/drawing/2014/main" id="{9C8E42BA-02CD-D1AF-9A07-6E6E1336D00A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2" name="Rechteck 621">
              <a:extLst>
                <a:ext uri="{FF2B5EF4-FFF2-40B4-BE49-F238E27FC236}">
                  <a16:creationId xmlns:a16="http://schemas.microsoft.com/office/drawing/2014/main" id="{11013DF6-2986-2901-B9FA-55CACC6B9CC1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3" name="Rechteck 622">
              <a:extLst>
                <a:ext uri="{FF2B5EF4-FFF2-40B4-BE49-F238E27FC236}">
                  <a16:creationId xmlns:a16="http://schemas.microsoft.com/office/drawing/2014/main" id="{D5C4D759-A5EF-D67E-9E12-4AFC5287EE08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4" name="Rechteck 623">
              <a:extLst>
                <a:ext uri="{FF2B5EF4-FFF2-40B4-BE49-F238E27FC236}">
                  <a16:creationId xmlns:a16="http://schemas.microsoft.com/office/drawing/2014/main" id="{6C666CF4-9B9F-FDCC-0F6F-6644400E2115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5" name="Rechteck 624">
              <a:extLst>
                <a:ext uri="{FF2B5EF4-FFF2-40B4-BE49-F238E27FC236}">
                  <a16:creationId xmlns:a16="http://schemas.microsoft.com/office/drawing/2014/main" id="{05367BFA-17DF-EA89-DEB2-C2F072FF8541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6" name="Rechteck 625">
              <a:extLst>
                <a:ext uri="{FF2B5EF4-FFF2-40B4-BE49-F238E27FC236}">
                  <a16:creationId xmlns:a16="http://schemas.microsoft.com/office/drawing/2014/main" id="{013E30C4-C612-2110-31A4-3B2085DD3460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7" name="Rechteck 626">
              <a:extLst>
                <a:ext uri="{FF2B5EF4-FFF2-40B4-BE49-F238E27FC236}">
                  <a16:creationId xmlns:a16="http://schemas.microsoft.com/office/drawing/2014/main" id="{B70FF0FF-8272-34E5-9FCE-B3E8AA29083D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8" name="Rechteck 627">
              <a:extLst>
                <a:ext uri="{FF2B5EF4-FFF2-40B4-BE49-F238E27FC236}">
                  <a16:creationId xmlns:a16="http://schemas.microsoft.com/office/drawing/2014/main" id="{E065EBB7-8CF4-A054-AB37-1A495EF52846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9" name="Rechteck 628">
              <a:extLst>
                <a:ext uri="{FF2B5EF4-FFF2-40B4-BE49-F238E27FC236}">
                  <a16:creationId xmlns:a16="http://schemas.microsoft.com/office/drawing/2014/main" id="{13262597-D78D-0469-D08E-2ECA4D26251A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0" name="Rechteck 629">
              <a:extLst>
                <a:ext uri="{FF2B5EF4-FFF2-40B4-BE49-F238E27FC236}">
                  <a16:creationId xmlns:a16="http://schemas.microsoft.com/office/drawing/2014/main" id="{C3C86276-78A5-1AB2-CDEF-9212AEDBC474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1" name="Rechteck 630">
              <a:extLst>
                <a:ext uri="{FF2B5EF4-FFF2-40B4-BE49-F238E27FC236}">
                  <a16:creationId xmlns:a16="http://schemas.microsoft.com/office/drawing/2014/main" id="{6C381BA4-EC9F-A243-D1F1-1E0FD1DAE8DB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2" name="Rechteck 631">
              <a:extLst>
                <a:ext uri="{FF2B5EF4-FFF2-40B4-BE49-F238E27FC236}">
                  <a16:creationId xmlns:a16="http://schemas.microsoft.com/office/drawing/2014/main" id="{61ED0E3B-BCFA-50A4-714E-824AB100F1B0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3" name="Rechteck 632">
              <a:extLst>
                <a:ext uri="{FF2B5EF4-FFF2-40B4-BE49-F238E27FC236}">
                  <a16:creationId xmlns:a16="http://schemas.microsoft.com/office/drawing/2014/main" id="{CACC71DA-49A6-D8EE-547F-90C39CAC9E76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4" name="Rechteck 633">
              <a:extLst>
                <a:ext uri="{FF2B5EF4-FFF2-40B4-BE49-F238E27FC236}">
                  <a16:creationId xmlns:a16="http://schemas.microsoft.com/office/drawing/2014/main" id="{ECC442E3-AE56-3E60-0575-ABF826A88A86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5" name="Rechteck 634">
              <a:extLst>
                <a:ext uri="{FF2B5EF4-FFF2-40B4-BE49-F238E27FC236}">
                  <a16:creationId xmlns:a16="http://schemas.microsoft.com/office/drawing/2014/main" id="{FDD188B7-9D08-D4DF-C547-012BE09F3058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6" name="Rechteck 635">
              <a:extLst>
                <a:ext uri="{FF2B5EF4-FFF2-40B4-BE49-F238E27FC236}">
                  <a16:creationId xmlns:a16="http://schemas.microsoft.com/office/drawing/2014/main" id="{90022607-F3D3-0319-06B7-C2581C32A8D7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7" name="Rechteck 636">
              <a:extLst>
                <a:ext uri="{FF2B5EF4-FFF2-40B4-BE49-F238E27FC236}">
                  <a16:creationId xmlns:a16="http://schemas.microsoft.com/office/drawing/2014/main" id="{09D48080-2978-F542-CC5C-A01122DD0014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8" name="Rechteck 637">
              <a:extLst>
                <a:ext uri="{FF2B5EF4-FFF2-40B4-BE49-F238E27FC236}">
                  <a16:creationId xmlns:a16="http://schemas.microsoft.com/office/drawing/2014/main" id="{875F67A6-71DF-E217-0100-93429E3ABACA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9" name="Rechteck 638">
              <a:extLst>
                <a:ext uri="{FF2B5EF4-FFF2-40B4-BE49-F238E27FC236}">
                  <a16:creationId xmlns:a16="http://schemas.microsoft.com/office/drawing/2014/main" id="{0BFCAA57-722F-7D38-E787-928EFA0FE79B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0" name="Rechteck 639">
              <a:extLst>
                <a:ext uri="{FF2B5EF4-FFF2-40B4-BE49-F238E27FC236}">
                  <a16:creationId xmlns:a16="http://schemas.microsoft.com/office/drawing/2014/main" id="{B475C7A3-821F-91F9-2435-36544A7BC5CD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1" name="Rechteck 640">
              <a:extLst>
                <a:ext uri="{FF2B5EF4-FFF2-40B4-BE49-F238E27FC236}">
                  <a16:creationId xmlns:a16="http://schemas.microsoft.com/office/drawing/2014/main" id="{57D11469-D1E1-E882-EA2C-48391D68B82C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2" name="Rechteck 641">
              <a:extLst>
                <a:ext uri="{FF2B5EF4-FFF2-40B4-BE49-F238E27FC236}">
                  <a16:creationId xmlns:a16="http://schemas.microsoft.com/office/drawing/2014/main" id="{B5BE5DC1-492D-89A1-813C-CD4D185CFB40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3" name="Rechteck 642">
              <a:extLst>
                <a:ext uri="{FF2B5EF4-FFF2-40B4-BE49-F238E27FC236}">
                  <a16:creationId xmlns:a16="http://schemas.microsoft.com/office/drawing/2014/main" id="{7EC8B72A-E0FE-E019-174E-CB26FD835C82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4" name="Rechteck 643">
              <a:extLst>
                <a:ext uri="{FF2B5EF4-FFF2-40B4-BE49-F238E27FC236}">
                  <a16:creationId xmlns:a16="http://schemas.microsoft.com/office/drawing/2014/main" id="{1C9ED93D-9818-7EC7-B8DE-79079E6D51EB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5" name="Rechteck 644">
              <a:extLst>
                <a:ext uri="{FF2B5EF4-FFF2-40B4-BE49-F238E27FC236}">
                  <a16:creationId xmlns:a16="http://schemas.microsoft.com/office/drawing/2014/main" id="{78AFCF8B-A7ED-EB87-F183-8EE14A37AD79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6" name="Rechteck 645">
              <a:extLst>
                <a:ext uri="{FF2B5EF4-FFF2-40B4-BE49-F238E27FC236}">
                  <a16:creationId xmlns:a16="http://schemas.microsoft.com/office/drawing/2014/main" id="{35D0B561-60CA-A8E5-18D3-5E76216BF420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7" name="Rechteck 646">
              <a:extLst>
                <a:ext uri="{FF2B5EF4-FFF2-40B4-BE49-F238E27FC236}">
                  <a16:creationId xmlns:a16="http://schemas.microsoft.com/office/drawing/2014/main" id="{FCD4B98D-5DEF-5D18-A323-9B7DDF58ABE1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8" name="Rechteck 647">
              <a:extLst>
                <a:ext uri="{FF2B5EF4-FFF2-40B4-BE49-F238E27FC236}">
                  <a16:creationId xmlns:a16="http://schemas.microsoft.com/office/drawing/2014/main" id="{EB0A6525-A2EC-6E15-5092-A256DE77C896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9" name="Rechteck 648">
              <a:extLst>
                <a:ext uri="{FF2B5EF4-FFF2-40B4-BE49-F238E27FC236}">
                  <a16:creationId xmlns:a16="http://schemas.microsoft.com/office/drawing/2014/main" id="{38E71C11-89DD-6EE1-F096-96F7CEBF0620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0" name="Rechteck 649">
              <a:extLst>
                <a:ext uri="{FF2B5EF4-FFF2-40B4-BE49-F238E27FC236}">
                  <a16:creationId xmlns:a16="http://schemas.microsoft.com/office/drawing/2014/main" id="{C2A66284-9C2B-CE13-C5A9-1CCE79A46711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1" name="Rechteck 650">
              <a:extLst>
                <a:ext uri="{FF2B5EF4-FFF2-40B4-BE49-F238E27FC236}">
                  <a16:creationId xmlns:a16="http://schemas.microsoft.com/office/drawing/2014/main" id="{88D090D5-D09F-825C-8603-63C1F865F7EA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2" name="Rechteck 651">
              <a:extLst>
                <a:ext uri="{FF2B5EF4-FFF2-40B4-BE49-F238E27FC236}">
                  <a16:creationId xmlns:a16="http://schemas.microsoft.com/office/drawing/2014/main" id="{B5F23C96-E6D2-4F0B-8768-D3B3EC9C8B81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3" name="Rechteck 652">
              <a:extLst>
                <a:ext uri="{FF2B5EF4-FFF2-40B4-BE49-F238E27FC236}">
                  <a16:creationId xmlns:a16="http://schemas.microsoft.com/office/drawing/2014/main" id="{730D23EC-D4AA-AC1E-E798-62860F7EFE38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4" name="Rechteck 653">
              <a:extLst>
                <a:ext uri="{FF2B5EF4-FFF2-40B4-BE49-F238E27FC236}">
                  <a16:creationId xmlns:a16="http://schemas.microsoft.com/office/drawing/2014/main" id="{E8183B0A-3993-B42E-8382-A734F21733ED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5" name="Rechteck 654">
              <a:extLst>
                <a:ext uri="{FF2B5EF4-FFF2-40B4-BE49-F238E27FC236}">
                  <a16:creationId xmlns:a16="http://schemas.microsoft.com/office/drawing/2014/main" id="{65D5516D-9929-8ECA-E735-23B4B9CD68F6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6" name="Rechteck 655">
              <a:extLst>
                <a:ext uri="{FF2B5EF4-FFF2-40B4-BE49-F238E27FC236}">
                  <a16:creationId xmlns:a16="http://schemas.microsoft.com/office/drawing/2014/main" id="{2A038715-7D69-95EC-CDB7-1137C8D2EE57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7" name="Rechteck 656">
              <a:extLst>
                <a:ext uri="{FF2B5EF4-FFF2-40B4-BE49-F238E27FC236}">
                  <a16:creationId xmlns:a16="http://schemas.microsoft.com/office/drawing/2014/main" id="{FF6EB63F-D7A9-0DE6-453B-F800B7BCE3CB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8" name="Rechteck 657">
              <a:extLst>
                <a:ext uri="{FF2B5EF4-FFF2-40B4-BE49-F238E27FC236}">
                  <a16:creationId xmlns:a16="http://schemas.microsoft.com/office/drawing/2014/main" id="{CC39A8E6-B7FA-E5AC-8741-5A1E5C3DCEB5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9" name="Rechteck 658">
              <a:extLst>
                <a:ext uri="{FF2B5EF4-FFF2-40B4-BE49-F238E27FC236}">
                  <a16:creationId xmlns:a16="http://schemas.microsoft.com/office/drawing/2014/main" id="{B2B0B8A4-C2BE-03DA-14C0-1FCE420FA0D3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0" name="Rechteck 659">
              <a:extLst>
                <a:ext uri="{FF2B5EF4-FFF2-40B4-BE49-F238E27FC236}">
                  <a16:creationId xmlns:a16="http://schemas.microsoft.com/office/drawing/2014/main" id="{B64A314B-02D6-F294-6BD3-0A657F793662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1" name="Rechteck 660">
              <a:extLst>
                <a:ext uri="{FF2B5EF4-FFF2-40B4-BE49-F238E27FC236}">
                  <a16:creationId xmlns:a16="http://schemas.microsoft.com/office/drawing/2014/main" id="{DB2517BA-1256-1BC2-D645-DF63974F0B46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2" name="Rechteck 661">
              <a:extLst>
                <a:ext uri="{FF2B5EF4-FFF2-40B4-BE49-F238E27FC236}">
                  <a16:creationId xmlns:a16="http://schemas.microsoft.com/office/drawing/2014/main" id="{331F551B-920B-808A-89F9-31ED8915F58E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3" name="Rechteck 662">
              <a:extLst>
                <a:ext uri="{FF2B5EF4-FFF2-40B4-BE49-F238E27FC236}">
                  <a16:creationId xmlns:a16="http://schemas.microsoft.com/office/drawing/2014/main" id="{B1A814FD-4888-282F-A4FD-F98E936F42D3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4" name="Rechteck 663">
              <a:extLst>
                <a:ext uri="{FF2B5EF4-FFF2-40B4-BE49-F238E27FC236}">
                  <a16:creationId xmlns:a16="http://schemas.microsoft.com/office/drawing/2014/main" id="{920753C7-E434-3B64-2B25-076404BE84BF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5" name="Rechteck 664">
              <a:extLst>
                <a:ext uri="{FF2B5EF4-FFF2-40B4-BE49-F238E27FC236}">
                  <a16:creationId xmlns:a16="http://schemas.microsoft.com/office/drawing/2014/main" id="{5B693003-B3E0-B488-5701-CE012FAF407F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6" name="Rechteck 665">
              <a:extLst>
                <a:ext uri="{FF2B5EF4-FFF2-40B4-BE49-F238E27FC236}">
                  <a16:creationId xmlns:a16="http://schemas.microsoft.com/office/drawing/2014/main" id="{9270F70A-F242-29BD-98BB-459E25842163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7" name="Rechteck 666">
              <a:extLst>
                <a:ext uri="{FF2B5EF4-FFF2-40B4-BE49-F238E27FC236}">
                  <a16:creationId xmlns:a16="http://schemas.microsoft.com/office/drawing/2014/main" id="{DFD2A4C3-0AE5-4D79-3963-0D4CAF73CCD6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8" name="Rechteck 667">
              <a:extLst>
                <a:ext uri="{FF2B5EF4-FFF2-40B4-BE49-F238E27FC236}">
                  <a16:creationId xmlns:a16="http://schemas.microsoft.com/office/drawing/2014/main" id="{EF030138-83A6-E97B-3373-DE96113CF8D0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9" name="Rechteck 668">
              <a:extLst>
                <a:ext uri="{FF2B5EF4-FFF2-40B4-BE49-F238E27FC236}">
                  <a16:creationId xmlns:a16="http://schemas.microsoft.com/office/drawing/2014/main" id="{821825D5-8ED7-C539-F70B-15922D50F72D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0" name="Rechteck 669">
              <a:extLst>
                <a:ext uri="{FF2B5EF4-FFF2-40B4-BE49-F238E27FC236}">
                  <a16:creationId xmlns:a16="http://schemas.microsoft.com/office/drawing/2014/main" id="{95CF964A-0757-58A4-467A-48ED50CCCC17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1" name="Rechteck 670">
              <a:extLst>
                <a:ext uri="{FF2B5EF4-FFF2-40B4-BE49-F238E27FC236}">
                  <a16:creationId xmlns:a16="http://schemas.microsoft.com/office/drawing/2014/main" id="{C242281C-2F27-45C3-947E-3A04A5CE8623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2" name="Rechteck 671">
              <a:extLst>
                <a:ext uri="{FF2B5EF4-FFF2-40B4-BE49-F238E27FC236}">
                  <a16:creationId xmlns:a16="http://schemas.microsoft.com/office/drawing/2014/main" id="{3069A383-5AB2-8F9D-83A7-2DB36D6C480B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3" name="Rechteck 672">
              <a:extLst>
                <a:ext uri="{FF2B5EF4-FFF2-40B4-BE49-F238E27FC236}">
                  <a16:creationId xmlns:a16="http://schemas.microsoft.com/office/drawing/2014/main" id="{2FEFB0AE-DCB3-43A7-C906-ADBFAB52F35D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4" name="Rechteck 673">
              <a:extLst>
                <a:ext uri="{FF2B5EF4-FFF2-40B4-BE49-F238E27FC236}">
                  <a16:creationId xmlns:a16="http://schemas.microsoft.com/office/drawing/2014/main" id="{555C04F9-DF2E-81D5-D816-43D8D3E12172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5" name="Rechteck 674">
              <a:extLst>
                <a:ext uri="{FF2B5EF4-FFF2-40B4-BE49-F238E27FC236}">
                  <a16:creationId xmlns:a16="http://schemas.microsoft.com/office/drawing/2014/main" id="{B9334CCB-4B19-2487-AB11-42AF623D463C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6" name="Rechteck 675">
              <a:extLst>
                <a:ext uri="{FF2B5EF4-FFF2-40B4-BE49-F238E27FC236}">
                  <a16:creationId xmlns:a16="http://schemas.microsoft.com/office/drawing/2014/main" id="{A825AA99-903D-588A-DA4F-CF5BF6D10508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7" name="Rechteck 676">
              <a:extLst>
                <a:ext uri="{FF2B5EF4-FFF2-40B4-BE49-F238E27FC236}">
                  <a16:creationId xmlns:a16="http://schemas.microsoft.com/office/drawing/2014/main" id="{61469082-F05A-5983-31B2-72708093433F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8" name="Rechteck 677">
              <a:extLst>
                <a:ext uri="{FF2B5EF4-FFF2-40B4-BE49-F238E27FC236}">
                  <a16:creationId xmlns:a16="http://schemas.microsoft.com/office/drawing/2014/main" id="{2B1239C0-B25F-D416-BE5A-2469C81E04C1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9" name="Rechteck 678">
              <a:extLst>
                <a:ext uri="{FF2B5EF4-FFF2-40B4-BE49-F238E27FC236}">
                  <a16:creationId xmlns:a16="http://schemas.microsoft.com/office/drawing/2014/main" id="{B2B0DF12-9A09-9EE2-149E-2D4A8AE1E947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0" name="Rechteck 679">
              <a:extLst>
                <a:ext uri="{FF2B5EF4-FFF2-40B4-BE49-F238E27FC236}">
                  <a16:creationId xmlns:a16="http://schemas.microsoft.com/office/drawing/2014/main" id="{3B3B46ED-FD06-C028-6663-B3E6FABA64DE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1" name="Rechteck 680">
              <a:extLst>
                <a:ext uri="{FF2B5EF4-FFF2-40B4-BE49-F238E27FC236}">
                  <a16:creationId xmlns:a16="http://schemas.microsoft.com/office/drawing/2014/main" id="{F746E611-D4D0-EDE6-ED3B-F6D8C5638CFF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2" name="Rechteck 681">
              <a:extLst>
                <a:ext uri="{FF2B5EF4-FFF2-40B4-BE49-F238E27FC236}">
                  <a16:creationId xmlns:a16="http://schemas.microsoft.com/office/drawing/2014/main" id="{DE38036E-5164-5B9E-0F56-3C56600DD9D5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3" name="Rechteck 682">
              <a:extLst>
                <a:ext uri="{FF2B5EF4-FFF2-40B4-BE49-F238E27FC236}">
                  <a16:creationId xmlns:a16="http://schemas.microsoft.com/office/drawing/2014/main" id="{A8AC8294-E6E9-1DEB-9596-8BC8DBA44A46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4" name="Rechteck 683">
              <a:extLst>
                <a:ext uri="{FF2B5EF4-FFF2-40B4-BE49-F238E27FC236}">
                  <a16:creationId xmlns:a16="http://schemas.microsoft.com/office/drawing/2014/main" id="{63394427-5EF3-E9A4-6C3B-C781A5EBD08C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5" name="Rechteck 684">
              <a:extLst>
                <a:ext uri="{FF2B5EF4-FFF2-40B4-BE49-F238E27FC236}">
                  <a16:creationId xmlns:a16="http://schemas.microsoft.com/office/drawing/2014/main" id="{3F8BE5D5-8D03-3633-2EF1-ECC0FC424E33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6" name="Rechteck 685">
              <a:extLst>
                <a:ext uri="{FF2B5EF4-FFF2-40B4-BE49-F238E27FC236}">
                  <a16:creationId xmlns:a16="http://schemas.microsoft.com/office/drawing/2014/main" id="{C958D66B-3380-C3A7-E696-E7EEE10D9BE4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7" name="Rechteck 686">
              <a:extLst>
                <a:ext uri="{FF2B5EF4-FFF2-40B4-BE49-F238E27FC236}">
                  <a16:creationId xmlns:a16="http://schemas.microsoft.com/office/drawing/2014/main" id="{A040F16B-4066-8F26-9363-778BB0B78A63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8" name="Rechteck 687">
              <a:extLst>
                <a:ext uri="{FF2B5EF4-FFF2-40B4-BE49-F238E27FC236}">
                  <a16:creationId xmlns:a16="http://schemas.microsoft.com/office/drawing/2014/main" id="{94C7EDDE-57C4-57B0-DC2A-875B4B9851B6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9" name="Rechteck 688">
              <a:extLst>
                <a:ext uri="{FF2B5EF4-FFF2-40B4-BE49-F238E27FC236}">
                  <a16:creationId xmlns:a16="http://schemas.microsoft.com/office/drawing/2014/main" id="{419AA6F9-1B76-667F-7DF9-B00EEDA1F5CF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0" name="Rechteck 689">
              <a:extLst>
                <a:ext uri="{FF2B5EF4-FFF2-40B4-BE49-F238E27FC236}">
                  <a16:creationId xmlns:a16="http://schemas.microsoft.com/office/drawing/2014/main" id="{2DE79426-DDDF-1E71-6871-FC2769D5D1BA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1" name="Rechteck 690">
              <a:extLst>
                <a:ext uri="{FF2B5EF4-FFF2-40B4-BE49-F238E27FC236}">
                  <a16:creationId xmlns:a16="http://schemas.microsoft.com/office/drawing/2014/main" id="{422674EA-5CC1-C6D1-38EE-7F052F5CECC1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2" name="Rechteck 691">
              <a:extLst>
                <a:ext uri="{FF2B5EF4-FFF2-40B4-BE49-F238E27FC236}">
                  <a16:creationId xmlns:a16="http://schemas.microsoft.com/office/drawing/2014/main" id="{8E3BD7CD-7F1A-1853-DC90-22AA8777F9B6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3" name="Rechteck 692">
              <a:extLst>
                <a:ext uri="{FF2B5EF4-FFF2-40B4-BE49-F238E27FC236}">
                  <a16:creationId xmlns:a16="http://schemas.microsoft.com/office/drawing/2014/main" id="{13B94987-386A-93BC-7DA2-557AD87BFB40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4" name="Rechteck 693">
              <a:extLst>
                <a:ext uri="{FF2B5EF4-FFF2-40B4-BE49-F238E27FC236}">
                  <a16:creationId xmlns:a16="http://schemas.microsoft.com/office/drawing/2014/main" id="{F7CAEC2E-F3ED-D3C7-FEA9-1E78DF56DC55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5" name="Rechteck 694">
              <a:extLst>
                <a:ext uri="{FF2B5EF4-FFF2-40B4-BE49-F238E27FC236}">
                  <a16:creationId xmlns:a16="http://schemas.microsoft.com/office/drawing/2014/main" id="{73A3417B-BD74-69BE-37FA-1A3479FA0A3F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6" name="Rechteck 695">
              <a:extLst>
                <a:ext uri="{FF2B5EF4-FFF2-40B4-BE49-F238E27FC236}">
                  <a16:creationId xmlns:a16="http://schemas.microsoft.com/office/drawing/2014/main" id="{CBA52526-A426-1054-3DBF-EBA890138D82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7" name="Rechteck 696">
              <a:extLst>
                <a:ext uri="{FF2B5EF4-FFF2-40B4-BE49-F238E27FC236}">
                  <a16:creationId xmlns:a16="http://schemas.microsoft.com/office/drawing/2014/main" id="{AE274CEA-E911-48EE-F355-A371A2074824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8" name="Rechteck 697">
              <a:extLst>
                <a:ext uri="{FF2B5EF4-FFF2-40B4-BE49-F238E27FC236}">
                  <a16:creationId xmlns:a16="http://schemas.microsoft.com/office/drawing/2014/main" id="{26BDA46C-303A-FA7F-9464-1601E8596136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9" name="Rechteck 698">
              <a:extLst>
                <a:ext uri="{FF2B5EF4-FFF2-40B4-BE49-F238E27FC236}">
                  <a16:creationId xmlns:a16="http://schemas.microsoft.com/office/drawing/2014/main" id="{CD7DCAFE-7CC2-2A55-033D-71C3A422A7DB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0" name="Rechteck 699">
              <a:extLst>
                <a:ext uri="{FF2B5EF4-FFF2-40B4-BE49-F238E27FC236}">
                  <a16:creationId xmlns:a16="http://schemas.microsoft.com/office/drawing/2014/main" id="{2E028291-724A-1CE9-B87B-13EDF2B6B4E2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1" name="Rechteck 700">
              <a:extLst>
                <a:ext uri="{FF2B5EF4-FFF2-40B4-BE49-F238E27FC236}">
                  <a16:creationId xmlns:a16="http://schemas.microsoft.com/office/drawing/2014/main" id="{5E52485D-6CF4-EAA7-6EB4-08885E2A277B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2" name="Rechteck 701">
              <a:extLst>
                <a:ext uri="{FF2B5EF4-FFF2-40B4-BE49-F238E27FC236}">
                  <a16:creationId xmlns:a16="http://schemas.microsoft.com/office/drawing/2014/main" id="{0D30142A-4A5E-FF06-DBD7-6EE7FC51A2BE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3" name="Rechteck 702">
              <a:extLst>
                <a:ext uri="{FF2B5EF4-FFF2-40B4-BE49-F238E27FC236}">
                  <a16:creationId xmlns:a16="http://schemas.microsoft.com/office/drawing/2014/main" id="{48209E68-74E6-8010-73F6-0F1C12436BBA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4" name="Rechteck 703">
              <a:extLst>
                <a:ext uri="{FF2B5EF4-FFF2-40B4-BE49-F238E27FC236}">
                  <a16:creationId xmlns:a16="http://schemas.microsoft.com/office/drawing/2014/main" id="{70F558D3-7077-C810-5259-3A237A99B166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5" name="Rechteck 704">
              <a:extLst>
                <a:ext uri="{FF2B5EF4-FFF2-40B4-BE49-F238E27FC236}">
                  <a16:creationId xmlns:a16="http://schemas.microsoft.com/office/drawing/2014/main" id="{3FB91175-0B1D-F6B2-287D-C83945CEC9AB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6" name="Rechteck 705">
              <a:extLst>
                <a:ext uri="{FF2B5EF4-FFF2-40B4-BE49-F238E27FC236}">
                  <a16:creationId xmlns:a16="http://schemas.microsoft.com/office/drawing/2014/main" id="{E158F62A-A7BF-3205-A00B-65081C17098C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7" name="Rechteck 706">
              <a:extLst>
                <a:ext uri="{FF2B5EF4-FFF2-40B4-BE49-F238E27FC236}">
                  <a16:creationId xmlns:a16="http://schemas.microsoft.com/office/drawing/2014/main" id="{70520C17-1CC5-18A6-35CF-19CBBB4CCD22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8" name="Rechteck 707">
              <a:extLst>
                <a:ext uri="{FF2B5EF4-FFF2-40B4-BE49-F238E27FC236}">
                  <a16:creationId xmlns:a16="http://schemas.microsoft.com/office/drawing/2014/main" id="{E99CF7B9-9545-C0A3-A3A7-9594C98CDFBF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9" name="Rechteck 708">
              <a:extLst>
                <a:ext uri="{FF2B5EF4-FFF2-40B4-BE49-F238E27FC236}">
                  <a16:creationId xmlns:a16="http://schemas.microsoft.com/office/drawing/2014/main" id="{56B05E6F-90BA-E909-B173-C687C37D6580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0" name="Rechteck 709">
              <a:extLst>
                <a:ext uri="{FF2B5EF4-FFF2-40B4-BE49-F238E27FC236}">
                  <a16:creationId xmlns:a16="http://schemas.microsoft.com/office/drawing/2014/main" id="{75092DFE-92E5-14CD-07F4-5C65B72E83CB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1" name="Rechteck 710">
              <a:extLst>
                <a:ext uri="{FF2B5EF4-FFF2-40B4-BE49-F238E27FC236}">
                  <a16:creationId xmlns:a16="http://schemas.microsoft.com/office/drawing/2014/main" id="{57DDC256-892A-4D0F-50E4-E42B1C325495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2" name="Rechteck 711">
              <a:extLst>
                <a:ext uri="{FF2B5EF4-FFF2-40B4-BE49-F238E27FC236}">
                  <a16:creationId xmlns:a16="http://schemas.microsoft.com/office/drawing/2014/main" id="{DF006E83-0AC9-A77A-7114-382271A06C87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3" name="Rechteck 712">
              <a:extLst>
                <a:ext uri="{FF2B5EF4-FFF2-40B4-BE49-F238E27FC236}">
                  <a16:creationId xmlns:a16="http://schemas.microsoft.com/office/drawing/2014/main" id="{AF5FE07E-C335-EAED-8530-E9D71165087A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4" name="Rechteck 713">
              <a:extLst>
                <a:ext uri="{FF2B5EF4-FFF2-40B4-BE49-F238E27FC236}">
                  <a16:creationId xmlns:a16="http://schemas.microsoft.com/office/drawing/2014/main" id="{9F64D1C6-E224-AE1E-4FBA-395AE4BB2F99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5" name="Rechteck 714">
              <a:extLst>
                <a:ext uri="{FF2B5EF4-FFF2-40B4-BE49-F238E27FC236}">
                  <a16:creationId xmlns:a16="http://schemas.microsoft.com/office/drawing/2014/main" id="{B2D992A4-4F14-B6C2-CB42-899A8ED9CF83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6" name="Rechteck 715">
              <a:extLst>
                <a:ext uri="{FF2B5EF4-FFF2-40B4-BE49-F238E27FC236}">
                  <a16:creationId xmlns:a16="http://schemas.microsoft.com/office/drawing/2014/main" id="{14C22A47-1206-DF07-A53B-03D26C464D6E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7" name="Rechteck 716">
              <a:extLst>
                <a:ext uri="{FF2B5EF4-FFF2-40B4-BE49-F238E27FC236}">
                  <a16:creationId xmlns:a16="http://schemas.microsoft.com/office/drawing/2014/main" id="{AB9CABB9-C06A-F931-8467-447E51964655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8" name="Rechteck 717">
              <a:extLst>
                <a:ext uri="{FF2B5EF4-FFF2-40B4-BE49-F238E27FC236}">
                  <a16:creationId xmlns:a16="http://schemas.microsoft.com/office/drawing/2014/main" id="{1C0330F3-05E9-F14D-F863-53BB903BBD75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9" name="Rechteck 718">
              <a:extLst>
                <a:ext uri="{FF2B5EF4-FFF2-40B4-BE49-F238E27FC236}">
                  <a16:creationId xmlns:a16="http://schemas.microsoft.com/office/drawing/2014/main" id="{0E0DF69B-96DE-AEE1-FBBC-F42E08FDC82E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0" name="Rechteck 719">
              <a:extLst>
                <a:ext uri="{FF2B5EF4-FFF2-40B4-BE49-F238E27FC236}">
                  <a16:creationId xmlns:a16="http://schemas.microsoft.com/office/drawing/2014/main" id="{724359E4-4EE2-3C3D-3323-4C75158E5A45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1" name="Rechteck 720">
              <a:extLst>
                <a:ext uri="{FF2B5EF4-FFF2-40B4-BE49-F238E27FC236}">
                  <a16:creationId xmlns:a16="http://schemas.microsoft.com/office/drawing/2014/main" id="{AD40ADBF-107A-0232-9D6E-2504B8141955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2" name="Rechteck 721">
              <a:extLst>
                <a:ext uri="{FF2B5EF4-FFF2-40B4-BE49-F238E27FC236}">
                  <a16:creationId xmlns:a16="http://schemas.microsoft.com/office/drawing/2014/main" id="{54E20FDC-DC70-BE96-FC3A-29914F7CF341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3" name="Rechteck 722">
              <a:extLst>
                <a:ext uri="{FF2B5EF4-FFF2-40B4-BE49-F238E27FC236}">
                  <a16:creationId xmlns:a16="http://schemas.microsoft.com/office/drawing/2014/main" id="{B4DBE973-98F9-7157-C9C4-C09DEB0491E6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4" name="Rechteck 723">
              <a:extLst>
                <a:ext uri="{FF2B5EF4-FFF2-40B4-BE49-F238E27FC236}">
                  <a16:creationId xmlns:a16="http://schemas.microsoft.com/office/drawing/2014/main" id="{0ECC8152-F314-C8B5-006F-1003608A209A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5" name="Rechteck 724">
              <a:extLst>
                <a:ext uri="{FF2B5EF4-FFF2-40B4-BE49-F238E27FC236}">
                  <a16:creationId xmlns:a16="http://schemas.microsoft.com/office/drawing/2014/main" id="{E1375687-789A-DC83-F531-5B2BAFE83C01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6" name="Rechteck 725">
              <a:extLst>
                <a:ext uri="{FF2B5EF4-FFF2-40B4-BE49-F238E27FC236}">
                  <a16:creationId xmlns:a16="http://schemas.microsoft.com/office/drawing/2014/main" id="{26F61470-2530-740A-46F4-D0E5154431D8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7" name="Rechteck 726">
              <a:extLst>
                <a:ext uri="{FF2B5EF4-FFF2-40B4-BE49-F238E27FC236}">
                  <a16:creationId xmlns:a16="http://schemas.microsoft.com/office/drawing/2014/main" id="{D6711CAA-354D-AFD7-4A09-ED2AA3DEA16B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8" name="Rechteck 727">
              <a:extLst>
                <a:ext uri="{FF2B5EF4-FFF2-40B4-BE49-F238E27FC236}">
                  <a16:creationId xmlns:a16="http://schemas.microsoft.com/office/drawing/2014/main" id="{FBC43E59-F62A-EE9B-C8CA-E9D3EB349887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9" name="Rechteck 728">
              <a:extLst>
                <a:ext uri="{FF2B5EF4-FFF2-40B4-BE49-F238E27FC236}">
                  <a16:creationId xmlns:a16="http://schemas.microsoft.com/office/drawing/2014/main" id="{D0D36B5E-C9DD-EA49-8547-7B53398B9F0F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0" name="Rechteck 729">
              <a:extLst>
                <a:ext uri="{FF2B5EF4-FFF2-40B4-BE49-F238E27FC236}">
                  <a16:creationId xmlns:a16="http://schemas.microsoft.com/office/drawing/2014/main" id="{2AD633C1-43B7-144C-C285-331C6ECFAECD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1" name="Rechteck 730">
              <a:extLst>
                <a:ext uri="{FF2B5EF4-FFF2-40B4-BE49-F238E27FC236}">
                  <a16:creationId xmlns:a16="http://schemas.microsoft.com/office/drawing/2014/main" id="{6D342C3E-79AE-F1C4-E544-3641ECC75948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2" name="Rechteck 731">
              <a:extLst>
                <a:ext uri="{FF2B5EF4-FFF2-40B4-BE49-F238E27FC236}">
                  <a16:creationId xmlns:a16="http://schemas.microsoft.com/office/drawing/2014/main" id="{FF4DFC18-C620-53CF-25F7-7A06144BA254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3" name="Rechteck 732">
              <a:extLst>
                <a:ext uri="{FF2B5EF4-FFF2-40B4-BE49-F238E27FC236}">
                  <a16:creationId xmlns:a16="http://schemas.microsoft.com/office/drawing/2014/main" id="{D77D7F52-A68D-BC25-03E5-D3870B583301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4" name="Rechteck 733">
              <a:extLst>
                <a:ext uri="{FF2B5EF4-FFF2-40B4-BE49-F238E27FC236}">
                  <a16:creationId xmlns:a16="http://schemas.microsoft.com/office/drawing/2014/main" id="{232F49D9-4615-8025-365B-ED2D29E40609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5" name="Rechteck 734">
              <a:extLst>
                <a:ext uri="{FF2B5EF4-FFF2-40B4-BE49-F238E27FC236}">
                  <a16:creationId xmlns:a16="http://schemas.microsoft.com/office/drawing/2014/main" id="{F59BC741-712A-F931-D8B3-62F98E47177C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6" name="Rechteck 735">
              <a:extLst>
                <a:ext uri="{FF2B5EF4-FFF2-40B4-BE49-F238E27FC236}">
                  <a16:creationId xmlns:a16="http://schemas.microsoft.com/office/drawing/2014/main" id="{561D01C1-AFE6-55D7-B685-CFF6F48E11C6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7" name="Rechteck 736">
              <a:extLst>
                <a:ext uri="{FF2B5EF4-FFF2-40B4-BE49-F238E27FC236}">
                  <a16:creationId xmlns:a16="http://schemas.microsoft.com/office/drawing/2014/main" id="{8446CAA1-8FC6-BEDD-B189-B78EC6EBA899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8" name="Rechteck 737">
              <a:extLst>
                <a:ext uri="{FF2B5EF4-FFF2-40B4-BE49-F238E27FC236}">
                  <a16:creationId xmlns:a16="http://schemas.microsoft.com/office/drawing/2014/main" id="{C15671D1-86B7-0266-C081-A38BE953D3D1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9" name="Rechteck 738">
              <a:extLst>
                <a:ext uri="{FF2B5EF4-FFF2-40B4-BE49-F238E27FC236}">
                  <a16:creationId xmlns:a16="http://schemas.microsoft.com/office/drawing/2014/main" id="{0D318B9C-7ED2-A5D9-520D-C101D98DE4A9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0" name="Rechteck 739">
              <a:extLst>
                <a:ext uri="{FF2B5EF4-FFF2-40B4-BE49-F238E27FC236}">
                  <a16:creationId xmlns:a16="http://schemas.microsoft.com/office/drawing/2014/main" id="{7CEEE30D-E1C8-9677-0F92-349A2F4C431A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1" name="Rechteck 740">
              <a:extLst>
                <a:ext uri="{FF2B5EF4-FFF2-40B4-BE49-F238E27FC236}">
                  <a16:creationId xmlns:a16="http://schemas.microsoft.com/office/drawing/2014/main" id="{3D5E6E7C-C23C-54F2-DAFC-4362242FF740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2" name="Rechteck 741">
              <a:extLst>
                <a:ext uri="{FF2B5EF4-FFF2-40B4-BE49-F238E27FC236}">
                  <a16:creationId xmlns:a16="http://schemas.microsoft.com/office/drawing/2014/main" id="{321D97E1-2DCC-7932-4559-B466AA1263AF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3" name="Rechteck 742">
              <a:extLst>
                <a:ext uri="{FF2B5EF4-FFF2-40B4-BE49-F238E27FC236}">
                  <a16:creationId xmlns:a16="http://schemas.microsoft.com/office/drawing/2014/main" id="{0AAA858C-CC76-0699-1037-27DEA42D68D2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4" name="Rechteck 743">
              <a:extLst>
                <a:ext uri="{FF2B5EF4-FFF2-40B4-BE49-F238E27FC236}">
                  <a16:creationId xmlns:a16="http://schemas.microsoft.com/office/drawing/2014/main" id="{A1B45ADA-39BB-8184-541B-144C784EFB79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5" name="Rechteck 744">
              <a:extLst>
                <a:ext uri="{FF2B5EF4-FFF2-40B4-BE49-F238E27FC236}">
                  <a16:creationId xmlns:a16="http://schemas.microsoft.com/office/drawing/2014/main" id="{8AA53A04-DFC0-8E40-8C7F-3BF6DC86172D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6" name="Rechteck 745">
              <a:extLst>
                <a:ext uri="{FF2B5EF4-FFF2-40B4-BE49-F238E27FC236}">
                  <a16:creationId xmlns:a16="http://schemas.microsoft.com/office/drawing/2014/main" id="{B1EFC767-FDD3-3EA2-1875-682F482C0689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7" name="Rechteck 746">
              <a:extLst>
                <a:ext uri="{FF2B5EF4-FFF2-40B4-BE49-F238E27FC236}">
                  <a16:creationId xmlns:a16="http://schemas.microsoft.com/office/drawing/2014/main" id="{67BDC81B-0428-38B8-54DB-8A93719F60EC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8" name="Rechteck 747">
              <a:extLst>
                <a:ext uri="{FF2B5EF4-FFF2-40B4-BE49-F238E27FC236}">
                  <a16:creationId xmlns:a16="http://schemas.microsoft.com/office/drawing/2014/main" id="{778A9505-61E7-72BF-2456-520A15C716EB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9" name="Rechteck 748">
              <a:extLst>
                <a:ext uri="{FF2B5EF4-FFF2-40B4-BE49-F238E27FC236}">
                  <a16:creationId xmlns:a16="http://schemas.microsoft.com/office/drawing/2014/main" id="{BDF115AA-25F3-BB4A-C484-883C7334D03F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0" name="Rechteck 749">
              <a:extLst>
                <a:ext uri="{FF2B5EF4-FFF2-40B4-BE49-F238E27FC236}">
                  <a16:creationId xmlns:a16="http://schemas.microsoft.com/office/drawing/2014/main" id="{5CA6B160-82B6-F1A5-839F-BEB1385FAF07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1" name="Rechteck 750">
              <a:extLst>
                <a:ext uri="{FF2B5EF4-FFF2-40B4-BE49-F238E27FC236}">
                  <a16:creationId xmlns:a16="http://schemas.microsoft.com/office/drawing/2014/main" id="{88541F48-F881-B3F6-8FFD-727AC98EA6B5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2" name="Rechteck 751">
              <a:extLst>
                <a:ext uri="{FF2B5EF4-FFF2-40B4-BE49-F238E27FC236}">
                  <a16:creationId xmlns:a16="http://schemas.microsoft.com/office/drawing/2014/main" id="{A5DC31C5-DD34-8298-D4C5-9F8455AA1AF2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3" name="Rechteck 752">
              <a:extLst>
                <a:ext uri="{FF2B5EF4-FFF2-40B4-BE49-F238E27FC236}">
                  <a16:creationId xmlns:a16="http://schemas.microsoft.com/office/drawing/2014/main" id="{05726656-60D3-CFAC-06D4-02CAEF189361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4" name="Rechteck 753">
              <a:extLst>
                <a:ext uri="{FF2B5EF4-FFF2-40B4-BE49-F238E27FC236}">
                  <a16:creationId xmlns:a16="http://schemas.microsoft.com/office/drawing/2014/main" id="{A6FAC872-6D2B-6085-23CD-32686710322D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5" name="Rechteck 754">
              <a:extLst>
                <a:ext uri="{FF2B5EF4-FFF2-40B4-BE49-F238E27FC236}">
                  <a16:creationId xmlns:a16="http://schemas.microsoft.com/office/drawing/2014/main" id="{B2608141-5261-579C-40B5-D1795C357543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6" name="Rechteck 755">
              <a:extLst>
                <a:ext uri="{FF2B5EF4-FFF2-40B4-BE49-F238E27FC236}">
                  <a16:creationId xmlns:a16="http://schemas.microsoft.com/office/drawing/2014/main" id="{2688D50A-21F8-FBD5-4177-D263E4DB7984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7" name="Rechteck 756">
              <a:extLst>
                <a:ext uri="{FF2B5EF4-FFF2-40B4-BE49-F238E27FC236}">
                  <a16:creationId xmlns:a16="http://schemas.microsoft.com/office/drawing/2014/main" id="{5885B448-DED2-EC7D-D075-4CA4A49A7ECA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8" name="Rechteck 757">
              <a:extLst>
                <a:ext uri="{FF2B5EF4-FFF2-40B4-BE49-F238E27FC236}">
                  <a16:creationId xmlns:a16="http://schemas.microsoft.com/office/drawing/2014/main" id="{3D5B6565-76D0-814D-DADD-617A243A71E3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9" name="Rechteck 758">
              <a:extLst>
                <a:ext uri="{FF2B5EF4-FFF2-40B4-BE49-F238E27FC236}">
                  <a16:creationId xmlns:a16="http://schemas.microsoft.com/office/drawing/2014/main" id="{ACC508EA-1DA9-9D2D-A5EE-6890C787B29D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0" name="Rechteck 759">
              <a:extLst>
                <a:ext uri="{FF2B5EF4-FFF2-40B4-BE49-F238E27FC236}">
                  <a16:creationId xmlns:a16="http://schemas.microsoft.com/office/drawing/2014/main" id="{D64A7249-4BA4-F0F4-8B10-C4C63D5507C9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1" name="Rechteck 760">
              <a:extLst>
                <a:ext uri="{FF2B5EF4-FFF2-40B4-BE49-F238E27FC236}">
                  <a16:creationId xmlns:a16="http://schemas.microsoft.com/office/drawing/2014/main" id="{FE03C544-7E88-0FCB-DE80-E4FF713D244D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2" name="Rechteck 761">
              <a:extLst>
                <a:ext uri="{FF2B5EF4-FFF2-40B4-BE49-F238E27FC236}">
                  <a16:creationId xmlns:a16="http://schemas.microsoft.com/office/drawing/2014/main" id="{2AB06859-29FD-A3FF-7FFA-53190EB10609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3" name="Rechteck 762">
              <a:extLst>
                <a:ext uri="{FF2B5EF4-FFF2-40B4-BE49-F238E27FC236}">
                  <a16:creationId xmlns:a16="http://schemas.microsoft.com/office/drawing/2014/main" id="{9A37A68E-65C8-74E4-4670-7DED45ACDAA3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4" name="Rechteck 763">
              <a:extLst>
                <a:ext uri="{FF2B5EF4-FFF2-40B4-BE49-F238E27FC236}">
                  <a16:creationId xmlns:a16="http://schemas.microsoft.com/office/drawing/2014/main" id="{0FA704A4-4A75-B882-4D47-7C06791A0791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5" name="Rechteck 764">
              <a:extLst>
                <a:ext uri="{FF2B5EF4-FFF2-40B4-BE49-F238E27FC236}">
                  <a16:creationId xmlns:a16="http://schemas.microsoft.com/office/drawing/2014/main" id="{5F9DE346-00C0-1EF5-4B20-53B693607482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6" name="Rechteck 765">
              <a:extLst>
                <a:ext uri="{FF2B5EF4-FFF2-40B4-BE49-F238E27FC236}">
                  <a16:creationId xmlns:a16="http://schemas.microsoft.com/office/drawing/2014/main" id="{7427E10D-4265-51CD-A7D0-F5FE8F0D6450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7" name="Rechteck 766">
              <a:extLst>
                <a:ext uri="{FF2B5EF4-FFF2-40B4-BE49-F238E27FC236}">
                  <a16:creationId xmlns:a16="http://schemas.microsoft.com/office/drawing/2014/main" id="{13AEB746-C462-3DDC-3980-DD1E2DC461D4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8" name="Rechteck 767">
              <a:extLst>
                <a:ext uri="{FF2B5EF4-FFF2-40B4-BE49-F238E27FC236}">
                  <a16:creationId xmlns:a16="http://schemas.microsoft.com/office/drawing/2014/main" id="{8D7A0E99-EC99-7AE7-BD86-CCE2C6F22A5C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9" name="Rechteck 768">
              <a:extLst>
                <a:ext uri="{FF2B5EF4-FFF2-40B4-BE49-F238E27FC236}">
                  <a16:creationId xmlns:a16="http://schemas.microsoft.com/office/drawing/2014/main" id="{D6A3A7AB-3239-D0DA-17A9-8D99E5CD3EBC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0" name="Rechteck 769">
              <a:extLst>
                <a:ext uri="{FF2B5EF4-FFF2-40B4-BE49-F238E27FC236}">
                  <a16:creationId xmlns:a16="http://schemas.microsoft.com/office/drawing/2014/main" id="{EEF2659C-F61B-4F5E-A6F3-03943517F297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1" name="Rechteck 770">
              <a:extLst>
                <a:ext uri="{FF2B5EF4-FFF2-40B4-BE49-F238E27FC236}">
                  <a16:creationId xmlns:a16="http://schemas.microsoft.com/office/drawing/2014/main" id="{37FFEFE6-9BEF-16A9-3693-B8BDB4AE893C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2" name="Rechteck 771">
              <a:extLst>
                <a:ext uri="{FF2B5EF4-FFF2-40B4-BE49-F238E27FC236}">
                  <a16:creationId xmlns:a16="http://schemas.microsoft.com/office/drawing/2014/main" id="{9771D390-8841-E977-8FEA-41692751E4FB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3" name="Rechteck 772">
              <a:extLst>
                <a:ext uri="{FF2B5EF4-FFF2-40B4-BE49-F238E27FC236}">
                  <a16:creationId xmlns:a16="http://schemas.microsoft.com/office/drawing/2014/main" id="{F8BF63D3-3D6D-6635-A3D1-CB1F3690922A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4" name="Rechteck 773">
              <a:extLst>
                <a:ext uri="{FF2B5EF4-FFF2-40B4-BE49-F238E27FC236}">
                  <a16:creationId xmlns:a16="http://schemas.microsoft.com/office/drawing/2014/main" id="{69917AA4-A6A4-7049-AED4-31ADFAB50C8F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5" name="Rechteck 774">
              <a:extLst>
                <a:ext uri="{FF2B5EF4-FFF2-40B4-BE49-F238E27FC236}">
                  <a16:creationId xmlns:a16="http://schemas.microsoft.com/office/drawing/2014/main" id="{66C7DB0E-C39C-E57B-3CCE-73FAC0235813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6" name="Rechteck 775">
              <a:extLst>
                <a:ext uri="{FF2B5EF4-FFF2-40B4-BE49-F238E27FC236}">
                  <a16:creationId xmlns:a16="http://schemas.microsoft.com/office/drawing/2014/main" id="{CE325D04-21B5-D04C-F8C5-B64608A1C7DC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7" name="Rechteck 776">
              <a:extLst>
                <a:ext uri="{FF2B5EF4-FFF2-40B4-BE49-F238E27FC236}">
                  <a16:creationId xmlns:a16="http://schemas.microsoft.com/office/drawing/2014/main" id="{1178FA1C-C506-B036-DE00-7FAA7914E6FC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8" name="Rechteck 777">
              <a:extLst>
                <a:ext uri="{FF2B5EF4-FFF2-40B4-BE49-F238E27FC236}">
                  <a16:creationId xmlns:a16="http://schemas.microsoft.com/office/drawing/2014/main" id="{0420E4FD-25F5-7220-B74E-E6F9C063AF5D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9" name="Rechteck 778">
              <a:extLst>
                <a:ext uri="{FF2B5EF4-FFF2-40B4-BE49-F238E27FC236}">
                  <a16:creationId xmlns:a16="http://schemas.microsoft.com/office/drawing/2014/main" id="{034F31B2-D9B1-C17D-A117-35C09C6E8D65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80" name="Rechteck 779">
              <a:extLst>
                <a:ext uri="{FF2B5EF4-FFF2-40B4-BE49-F238E27FC236}">
                  <a16:creationId xmlns:a16="http://schemas.microsoft.com/office/drawing/2014/main" id="{BBFA6D9E-D98C-84A4-B10B-9415C9CF92FB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81" name="Rechteck 780">
              <a:extLst>
                <a:ext uri="{FF2B5EF4-FFF2-40B4-BE49-F238E27FC236}">
                  <a16:creationId xmlns:a16="http://schemas.microsoft.com/office/drawing/2014/main" id="{2DB0F388-3D11-AB45-0041-361F44BF8064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82" name="Rechteck 781">
              <a:extLst>
                <a:ext uri="{FF2B5EF4-FFF2-40B4-BE49-F238E27FC236}">
                  <a16:creationId xmlns:a16="http://schemas.microsoft.com/office/drawing/2014/main" id="{F4CE659F-A5EB-E8D4-D74A-1C543D8B85CF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grpSp>
        <p:nvGrpSpPr>
          <p:cNvPr id="372" name="Gruppieren 371">
            <a:extLst>
              <a:ext uri="{FF2B5EF4-FFF2-40B4-BE49-F238E27FC236}">
                <a16:creationId xmlns:a16="http://schemas.microsoft.com/office/drawing/2014/main" id="{49C2EBBD-0B29-0B89-AD5D-42537BAACD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1" y="2082829"/>
            <a:ext cx="2448000" cy="0"/>
            <a:chOff x="983432" y="2082829"/>
            <a:chExt cx="2448000" cy="0"/>
          </a:xfrm>
        </p:grpSpPr>
        <p:cxnSp>
          <p:nvCxnSpPr>
            <p:cNvPr id="373" name="Line">
              <a:extLst>
                <a:ext uri="{FF2B5EF4-FFF2-40B4-BE49-F238E27FC236}">
                  <a16:creationId xmlns:a16="http://schemas.microsoft.com/office/drawing/2014/main" id="{1E9CA30F-F310-A2F6-548D-DA7E94632D5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4" name="Line">
              <a:extLst>
                <a:ext uri="{FF2B5EF4-FFF2-40B4-BE49-F238E27FC236}">
                  <a16:creationId xmlns:a16="http://schemas.microsoft.com/office/drawing/2014/main" id="{095ED35B-D67F-E183-9FC6-3DC38D31987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5" name="Shape">
            <a:extLst>
              <a:ext uri="{FF2B5EF4-FFF2-40B4-BE49-F238E27FC236}">
                <a16:creationId xmlns:a16="http://schemas.microsoft.com/office/drawing/2014/main" id="{DE745F04-009E-D66B-4848-25E85D7007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1400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76" name="Shape">
            <a:extLst>
              <a:ext uri="{FF2B5EF4-FFF2-40B4-BE49-F238E27FC236}">
                <a16:creationId xmlns:a16="http://schemas.microsoft.com/office/drawing/2014/main" id="{FB2A4848-5014-9058-83D9-D793D385E2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1400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377" name="Logo">
            <a:extLst>
              <a:ext uri="{FF2B5EF4-FFF2-40B4-BE49-F238E27FC236}">
                <a16:creationId xmlns:a16="http://schemas.microsoft.com/office/drawing/2014/main" id="{B22E0BF9-4067-40CA-A9FE-D855460864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  <p:sp>
        <p:nvSpPr>
          <p:cNvPr id="378" name="Title">
            <a:extLst>
              <a:ext uri="{FF2B5EF4-FFF2-40B4-BE49-F238E27FC236}">
                <a16:creationId xmlns:a16="http://schemas.microsoft.com/office/drawing/2014/main" id="{7ABDD20F-4476-53EF-A6A3-29389D4115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83809" y="2205400"/>
            <a:ext cx="4968575" cy="1367992"/>
          </a:xfrm>
          <a:prstGeom prst="rect">
            <a:avLst/>
          </a:prstGeom>
        </p:spPr>
        <p:txBody>
          <a:bodyPr vert="horz" tIns="54000" anchor="t">
            <a:noAutofit/>
          </a:bodyPr>
          <a:lstStyle>
            <a:lvl1pPr algn="l">
              <a:lnSpc>
                <a:spcPct val="90000"/>
              </a:lnSpc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Insert your long title of presentation here in maximal three lines</a:t>
            </a:r>
          </a:p>
        </p:txBody>
      </p:sp>
      <p:sp>
        <p:nvSpPr>
          <p:cNvPr id="379" name="Subtitle 2">
            <a:extLst>
              <a:ext uri="{FF2B5EF4-FFF2-40B4-BE49-F238E27FC236}">
                <a16:creationId xmlns:a16="http://schemas.microsoft.com/office/drawing/2014/main" id="{D8FF4764-A9E4-0137-5DCC-0B66023B81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583809" y="3789400"/>
            <a:ext cx="4392511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380" name="Author">
            <a:extLst>
              <a:ext uri="{FF2B5EF4-FFF2-40B4-BE49-F238E27FC236}">
                <a16:creationId xmlns:a16="http://schemas.microsoft.com/office/drawing/2014/main" id="{2A45C266-9DD8-CD86-325D-8A83652A47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400" y="2277400"/>
            <a:ext cx="2807728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GB"/>
              <a:t>First name Last name</a:t>
            </a:r>
          </a:p>
        </p:txBody>
      </p:sp>
      <p:sp>
        <p:nvSpPr>
          <p:cNvPr id="381" name="Department, Date">
            <a:extLst>
              <a:ext uri="{FF2B5EF4-FFF2-40B4-BE49-F238E27FC236}">
                <a16:creationId xmlns:a16="http://schemas.microsoft.com/office/drawing/2014/main" id="{A2F60D95-E9C6-7D32-53FB-DB9AC79BCE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2493400"/>
            <a:ext cx="2807728" cy="1007608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GB"/>
              <a:t>Department</a:t>
            </a:r>
            <a:br>
              <a:rPr lang="en-GB"/>
            </a:br>
            <a:r>
              <a:rPr lang="en-GB"/>
              <a:t>DD/MM/YYYY</a:t>
            </a:r>
          </a:p>
        </p:txBody>
      </p:sp>
    </p:spTree>
    <p:extLst>
      <p:ext uri="{BB962C8B-B14F-4D97-AF65-F5344CB8AC3E}">
        <p14:creationId xmlns:p14="http://schemas.microsoft.com/office/powerpoint/2010/main" val="1021113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2 |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DBAFD2A-AFFD-8CEE-84C0-6060437F51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3889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DBAFD2A-AFFD-8CEE-84C0-6060437F51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3" name="Gruppieren 592">
            <a:extLst>
              <a:ext uri="{FF2B5EF4-FFF2-40B4-BE49-F238E27FC236}">
                <a16:creationId xmlns:a16="http://schemas.microsoft.com/office/drawing/2014/main" id="{598AAC5A-5AD9-8002-C6B8-A19895EB8112}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594" name="Rechteck 593">
              <a:extLst>
                <a:ext uri="{FF2B5EF4-FFF2-40B4-BE49-F238E27FC236}">
                  <a16:creationId xmlns:a16="http://schemas.microsoft.com/office/drawing/2014/main" id="{9A6C7912-7B39-43B5-9288-201EB1AEC882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5" name="Rechteck 594">
              <a:extLst>
                <a:ext uri="{FF2B5EF4-FFF2-40B4-BE49-F238E27FC236}">
                  <a16:creationId xmlns:a16="http://schemas.microsoft.com/office/drawing/2014/main" id="{B4E52C24-2686-2370-9486-D589802F0F85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6" name="Rechteck 595">
              <a:extLst>
                <a:ext uri="{FF2B5EF4-FFF2-40B4-BE49-F238E27FC236}">
                  <a16:creationId xmlns:a16="http://schemas.microsoft.com/office/drawing/2014/main" id="{BF6F72EE-B557-9BB8-2E4F-FEC4B03E0265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7" name="Rechteck 596">
              <a:extLst>
                <a:ext uri="{FF2B5EF4-FFF2-40B4-BE49-F238E27FC236}">
                  <a16:creationId xmlns:a16="http://schemas.microsoft.com/office/drawing/2014/main" id="{81D270DC-7C1F-0E98-BFC0-B6C8CC3B48B0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8" name="Rechteck 597">
              <a:extLst>
                <a:ext uri="{FF2B5EF4-FFF2-40B4-BE49-F238E27FC236}">
                  <a16:creationId xmlns:a16="http://schemas.microsoft.com/office/drawing/2014/main" id="{3DF70B87-02B3-0FF2-4694-46B1B66FD13B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9" name="Rechteck 598">
              <a:extLst>
                <a:ext uri="{FF2B5EF4-FFF2-40B4-BE49-F238E27FC236}">
                  <a16:creationId xmlns:a16="http://schemas.microsoft.com/office/drawing/2014/main" id="{4639447E-0C0A-8CD8-4374-375153EF41D1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0" name="Rechteck 599">
              <a:extLst>
                <a:ext uri="{FF2B5EF4-FFF2-40B4-BE49-F238E27FC236}">
                  <a16:creationId xmlns:a16="http://schemas.microsoft.com/office/drawing/2014/main" id="{59768567-D9EB-AD99-85BB-684AFEB785FA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1" name="Rechteck 600">
              <a:extLst>
                <a:ext uri="{FF2B5EF4-FFF2-40B4-BE49-F238E27FC236}">
                  <a16:creationId xmlns:a16="http://schemas.microsoft.com/office/drawing/2014/main" id="{4F7DCC2D-F912-BF04-19E6-251DC351C74C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2" name="Rechteck 601">
              <a:extLst>
                <a:ext uri="{FF2B5EF4-FFF2-40B4-BE49-F238E27FC236}">
                  <a16:creationId xmlns:a16="http://schemas.microsoft.com/office/drawing/2014/main" id="{EFD07790-7B12-76C2-0D61-10DAE65135BC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3" name="Rechteck 602">
              <a:extLst>
                <a:ext uri="{FF2B5EF4-FFF2-40B4-BE49-F238E27FC236}">
                  <a16:creationId xmlns:a16="http://schemas.microsoft.com/office/drawing/2014/main" id="{8F90D23A-2B8A-9B69-09D1-D00BF21429D6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4" name="Rechteck 603">
              <a:extLst>
                <a:ext uri="{FF2B5EF4-FFF2-40B4-BE49-F238E27FC236}">
                  <a16:creationId xmlns:a16="http://schemas.microsoft.com/office/drawing/2014/main" id="{60506D1A-DA1C-7E93-9FD6-4BB72F178BCA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5" name="Rechteck 604">
              <a:extLst>
                <a:ext uri="{FF2B5EF4-FFF2-40B4-BE49-F238E27FC236}">
                  <a16:creationId xmlns:a16="http://schemas.microsoft.com/office/drawing/2014/main" id="{41A6AA1B-B77B-8601-17B0-191664E89BDB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6" name="Rechteck 605">
              <a:extLst>
                <a:ext uri="{FF2B5EF4-FFF2-40B4-BE49-F238E27FC236}">
                  <a16:creationId xmlns:a16="http://schemas.microsoft.com/office/drawing/2014/main" id="{3A5274FF-8B57-0038-A8DE-C32E73829188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7" name="Rechteck 606">
              <a:extLst>
                <a:ext uri="{FF2B5EF4-FFF2-40B4-BE49-F238E27FC236}">
                  <a16:creationId xmlns:a16="http://schemas.microsoft.com/office/drawing/2014/main" id="{8A9610F6-2A54-91FE-55EC-87C2791C99DE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8" name="Rechteck 607">
              <a:extLst>
                <a:ext uri="{FF2B5EF4-FFF2-40B4-BE49-F238E27FC236}">
                  <a16:creationId xmlns:a16="http://schemas.microsoft.com/office/drawing/2014/main" id="{B0F5A61D-38A0-42E4-6068-0990C6C3B119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9" name="Rechteck 608">
              <a:extLst>
                <a:ext uri="{FF2B5EF4-FFF2-40B4-BE49-F238E27FC236}">
                  <a16:creationId xmlns:a16="http://schemas.microsoft.com/office/drawing/2014/main" id="{6CCF4523-D4AD-221E-F915-246FF7A13F82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0" name="Rechteck 609">
              <a:extLst>
                <a:ext uri="{FF2B5EF4-FFF2-40B4-BE49-F238E27FC236}">
                  <a16:creationId xmlns:a16="http://schemas.microsoft.com/office/drawing/2014/main" id="{4BE2EEC3-ABF0-BA5E-D472-FCF8D2855D12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1" name="Rechteck 610">
              <a:extLst>
                <a:ext uri="{FF2B5EF4-FFF2-40B4-BE49-F238E27FC236}">
                  <a16:creationId xmlns:a16="http://schemas.microsoft.com/office/drawing/2014/main" id="{8B46A593-D830-4F92-B73D-77CDD6F8F1B6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2" name="Rechteck 611">
              <a:extLst>
                <a:ext uri="{FF2B5EF4-FFF2-40B4-BE49-F238E27FC236}">
                  <a16:creationId xmlns:a16="http://schemas.microsoft.com/office/drawing/2014/main" id="{5FF5C11C-F9F0-1659-244A-0FBAF61939CB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3" name="Rechteck 612">
              <a:extLst>
                <a:ext uri="{FF2B5EF4-FFF2-40B4-BE49-F238E27FC236}">
                  <a16:creationId xmlns:a16="http://schemas.microsoft.com/office/drawing/2014/main" id="{8159184C-0FC3-8791-F89A-584BCD892B95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4" name="Rechteck 613">
              <a:extLst>
                <a:ext uri="{FF2B5EF4-FFF2-40B4-BE49-F238E27FC236}">
                  <a16:creationId xmlns:a16="http://schemas.microsoft.com/office/drawing/2014/main" id="{93834599-1C5F-1316-5A40-5CA42AFC6725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5" name="Rechteck 614">
              <a:extLst>
                <a:ext uri="{FF2B5EF4-FFF2-40B4-BE49-F238E27FC236}">
                  <a16:creationId xmlns:a16="http://schemas.microsoft.com/office/drawing/2014/main" id="{B7670137-3046-CC49-F5E9-F378B795D56F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6" name="Rechteck 615">
              <a:extLst>
                <a:ext uri="{FF2B5EF4-FFF2-40B4-BE49-F238E27FC236}">
                  <a16:creationId xmlns:a16="http://schemas.microsoft.com/office/drawing/2014/main" id="{C7C82983-390D-3413-988A-E8494474A691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7" name="Rechteck 616">
              <a:extLst>
                <a:ext uri="{FF2B5EF4-FFF2-40B4-BE49-F238E27FC236}">
                  <a16:creationId xmlns:a16="http://schemas.microsoft.com/office/drawing/2014/main" id="{EEB075ED-D5FD-65F9-A22C-43DCD3F097F4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8" name="Rechteck 617">
              <a:extLst>
                <a:ext uri="{FF2B5EF4-FFF2-40B4-BE49-F238E27FC236}">
                  <a16:creationId xmlns:a16="http://schemas.microsoft.com/office/drawing/2014/main" id="{797EA9A1-A119-6F6C-B7F7-E937ABA64A85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9" name="Rechteck 618">
              <a:extLst>
                <a:ext uri="{FF2B5EF4-FFF2-40B4-BE49-F238E27FC236}">
                  <a16:creationId xmlns:a16="http://schemas.microsoft.com/office/drawing/2014/main" id="{4CD5AD10-5327-513C-AC83-C1808CA50FC1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0" name="Rechteck 619">
              <a:extLst>
                <a:ext uri="{FF2B5EF4-FFF2-40B4-BE49-F238E27FC236}">
                  <a16:creationId xmlns:a16="http://schemas.microsoft.com/office/drawing/2014/main" id="{546E9C88-8C63-72EE-CD9F-E33BD545181E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1" name="Rechteck 620">
              <a:extLst>
                <a:ext uri="{FF2B5EF4-FFF2-40B4-BE49-F238E27FC236}">
                  <a16:creationId xmlns:a16="http://schemas.microsoft.com/office/drawing/2014/main" id="{9A78F7E8-88A6-3554-AB2A-5D915E38EA70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2" name="Rechteck 621">
              <a:extLst>
                <a:ext uri="{FF2B5EF4-FFF2-40B4-BE49-F238E27FC236}">
                  <a16:creationId xmlns:a16="http://schemas.microsoft.com/office/drawing/2014/main" id="{1017378F-3C6D-B0F4-E0C1-7BD2B04F19A8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3" name="Rechteck 622">
              <a:extLst>
                <a:ext uri="{FF2B5EF4-FFF2-40B4-BE49-F238E27FC236}">
                  <a16:creationId xmlns:a16="http://schemas.microsoft.com/office/drawing/2014/main" id="{FAC43AD4-89FE-0486-68CF-EA860B58C3F2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4" name="Rechteck 623">
              <a:extLst>
                <a:ext uri="{FF2B5EF4-FFF2-40B4-BE49-F238E27FC236}">
                  <a16:creationId xmlns:a16="http://schemas.microsoft.com/office/drawing/2014/main" id="{97874330-9937-95FC-3233-9DF061EE48B2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5" name="Rechteck 624">
              <a:extLst>
                <a:ext uri="{FF2B5EF4-FFF2-40B4-BE49-F238E27FC236}">
                  <a16:creationId xmlns:a16="http://schemas.microsoft.com/office/drawing/2014/main" id="{786643A3-07FC-DDF0-C022-2038DBCD3DF5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6" name="Rechteck 625">
              <a:extLst>
                <a:ext uri="{FF2B5EF4-FFF2-40B4-BE49-F238E27FC236}">
                  <a16:creationId xmlns:a16="http://schemas.microsoft.com/office/drawing/2014/main" id="{7B71A69C-8F17-C140-8531-C06B5B97316B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7" name="Rechteck 626">
              <a:extLst>
                <a:ext uri="{FF2B5EF4-FFF2-40B4-BE49-F238E27FC236}">
                  <a16:creationId xmlns:a16="http://schemas.microsoft.com/office/drawing/2014/main" id="{F0F74B12-9665-A603-6F9E-B3766FE0CEED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8" name="Rechteck 627">
              <a:extLst>
                <a:ext uri="{FF2B5EF4-FFF2-40B4-BE49-F238E27FC236}">
                  <a16:creationId xmlns:a16="http://schemas.microsoft.com/office/drawing/2014/main" id="{6CE1945B-DD77-B490-7716-BD0A9BED8277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9" name="Rechteck 628">
              <a:extLst>
                <a:ext uri="{FF2B5EF4-FFF2-40B4-BE49-F238E27FC236}">
                  <a16:creationId xmlns:a16="http://schemas.microsoft.com/office/drawing/2014/main" id="{9CE256A9-4C89-CD28-6977-0320AA2FDDAC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0" name="Rechteck 629">
              <a:extLst>
                <a:ext uri="{FF2B5EF4-FFF2-40B4-BE49-F238E27FC236}">
                  <a16:creationId xmlns:a16="http://schemas.microsoft.com/office/drawing/2014/main" id="{FCCA9E0C-976F-DA26-1FA4-C0EC0EB1A258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1" name="Rechteck 630">
              <a:extLst>
                <a:ext uri="{FF2B5EF4-FFF2-40B4-BE49-F238E27FC236}">
                  <a16:creationId xmlns:a16="http://schemas.microsoft.com/office/drawing/2014/main" id="{4489D103-D90A-7667-9249-05C197D80601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2" name="Rechteck 631">
              <a:extLst>
                <a:ext uri="{FF2B5EF4-FFF2-40B4-BE49-F238E27FC236}">
                  <a16:creationId xmlns:a16="http://schemas.microsoft.com/office/drawing/2014/main" id="{CC5936ED-986D-CD67-203A-1854B7DF7717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3" name="Rechteck 632">
              <a:extLst>
                <a:ext uri="{FF2B5EF4-FFF2-40B4-BE49-F238E27FC236}">
                  <a16:creationId xmlns:a16="http://schemas.microsoft.com/office/drawing/2014/main" id="{2361A960-E43C-BF11-EE9E-D49816AB222D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4" name="Rechteck 633">
              <a:extLst>
                <a:ext uri="{FF2B5EF4-FFF2-40B4-BE49-F238E27FC236}">
                  <a16:creationId xmlns:a16="http://schemas.microsoft.com/office/drawing/2014/main" id="{61F68B3F-3729-1E93-8E1F-2DD5CCE7F644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5" name="Rechteck 634">
              <a:extLst>
                <a:ext uri="{FF2B5EF4-FFF2-40B4-BE49-F238E27FC236}">
                  <a16:creationId xmlns:a16="http://schemas.microsoft.com/office/drawing/2014/main" id="{6C4AD616-5821-6905-4D58-08FB364078E8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6" name="Rechteck 635">
              <a:extLst>
                <a:ext uri="{FF2B5EF4-FFF2-40B4-BE49-F238E27FC236}">
                  <a16:creationId xmlns:a16="http://schemas.microsoft.com/office/drawing/2014/main" id="{119E6CE3-2153-7AC3-DFFF-E5E468263719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7" name="Rechteck 636">
              <a:extLst>
                <a:ext uri="{FF2B5EF4-FFF2-40B4-BE49-F238E27FC236}">
                  <a16:creationId xmlns:a16="http://schemas.microsoft.com/office/drawing/2014/main" id="{81428415-0C3D-CFAE-1561-4DDDA52132BF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8" name="Rechteck 637">
              <a:extLst>
                <a:ext uri="{FF2B5EF4-FFF2-40B4-BE49-F238E27FC236}">
                  <a16:creationId xmlns:a16="http://schemas.microsoft.com/office/drawing/2014/main" id="{6A0CCAAD-A37B-ACF5-0CC9-96707A2943D0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9" name="Rechteck 638">
              <a:extLst>
                <a:ext uri="{FF2B5EF4-FFF2-40B4-BE49-F238E27FC236}">
                  <a16:creationId xmlns:a16="http://schemas.microsoft.com/office/drawing/2014/main" id="{A0A1D6E6-32C7-3964-3ECF-4BE087162C6A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0" name="Rechteck 639">
              <a:extLst>
                <a:ext uri="{FF2B5EF4-FFF2-40B4-BE49-F238E27FC236}">
                  <a16:creationId xmlns:a16="http://schemas.microsoft.com/office/drawing/2014/main" id="{E5A31612-78DA-0A80-BED9-E2DC554D349A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1" name="Rechteck 640">
              <a:extLst>
                <a:ext uri="{FF2B5EF4-FFF2-40B4-BE49-F238E27FC236}">
                  <a16:creationId xmlns:a16="http://schemas.microsoft.com/office/drawing/2014/main" id="{8A2AD328-EA68-FC8F-0BA7-F46B80BB952E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2" name="Rechteck 641">
              <a:extLst>
                <a:ext uri="{FF2B5EF4-FFF2-40B4-BE49-F238E27FC236}">
                  <a16:creationId xmlns:a16="http://schemas.microsoft.com/office/drawing/2014/main" id="{614C70D5-AB8A-CFF6-7CFD-2EFC2BB2FE5F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3" name="Rechteck 642">
              <a:extLst>
                <a:ext uri="{FF2B5EF4-FFF2-40B4-BE49-F238E27FC236}">
                  <a16:creationId xmlns:a16="http://schemas.microsoft.com/office/drawing/2014/main" id="{F06ABA43-44A4-5987-E228-FAA040820D41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4" name="Rechteck 643">
              <a:extLst>
                <a:ext uri="{FF2B5EF4-FFF2-40B4-BE49-F238E27FC236}">
                  <a16:creationId xmlns:a16="http://schemas.microsoft.com/office/drawing/2014/main" id="{F05E31F7-974C-ACD0-2416-92CE8155BB48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5" name="Rechteck 644">
              <a:extLst>
                <a:ext uri="{FF2B5EF4-FFF2-40B4-BE49-F238E27FC236}">
                  <a16:creationId xmlns:a16="http://schemas.microsoft.com/office/drawing/2014/main" id="{45CD9E73-654C-F867-9103-A9332D2EE6D6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6" name="Rechteck 645">
              <a:extLst>
                <a:ext uri="{FF2B5EF4-FFF2-40B4-BE49-F238E27FC236}">
                  <a16:creationId xmlns:a16="http://schemas.microsoft.com/office/drawing/2014/main" id="{D6C58587-3860-9E15-E3C8-6AE128352672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7" name="Rechteck 646">
              <a:extLst>
                <a:ext uri="{FF2B5EF4-FFF2-40B4-BE49-F238E27FC236}">
                  <a16:creationId xmlns:a16="http://schemas.microsoft.com/office/drawing/2014/main" id="{BE6E00AE-7AD1-B393-2179-86320D054FF0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8" name="Rechteck 647">
              <a:extLst>
                <a:ext uri="{FF2B5EF4-FFF2-40B4-BE49-F238E27FC236}">
                  <a16:creationId xmlns:a16="http://schemas.microsoft.com/office/drawing/2014/main" id="{363D1571-2349-2FDB-BAD1-5D5E1022943D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9" name="Rechteck 648">
              <a:extLst>
                <a:ext uri="{FF2B5EF4-FFF2-40B4-BE49-F238E27FC236}">
                  <a16:creationId xmlns:a16="http://schemas.microsoft.com/office/drawing/2014/main" id="{AA00D247-76A6-DA4D-B3F0-109F13B2105E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0" name="Rechteck 649">
              <a:extLst>
                <a:ext uri="{FF2B5EF4-FFF2-40B4-BE49-F238E27FC236}">
                  <a16:creationId xmlns:a16="http://schemas.microsoft.com/office/drawing/2014/main" id="{891BD334-6B48-A753-BDFE-5AB6A0D0BE28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1" name="Rechteck 650">
              <a:extLst>
                <a:ext uri="{FF2B5EF4-FFF2-40B4-BE49-F238E27FC236}">
                  <a16:creationId xmlns:a16="http://schemas.microsoft.com/office/drawing/2014/main" id="{383838E7-8B93-AC1C-B3DE-DD5DE58BA6F1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2" name="Rechteck 651">
              <a:extLst>
                <a:ext uri="{FF2B5EF4-FFF2-40B4-BE49-F238E27FC236}">
                  <a16:creationId xmlns:a16="http://schemas.microsoft.com/office/drawing/2014/main" id="{AE704177-0308-981C-E43C-6A929ACE6C3C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3" name="Rechteck 652">
              <a:extLst>
                <a:ext uri="{FF2B5EF4-FFF2-40B4-BE49-F238E27FC236}">
                  <a16:creationId xmlns:a16="http://schemas.microsoft.com/office/drawing/2014/main" id="{D87B48BE-4C92-6A68-A73A-F1630BC8EE7E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4" name="Rechteck 653">
              <a:extLst>
                <a:ext uri="{FF2B5EF4-FFF2-40B4-BE49-F238E27FC236}">
                  <a16:creationId xmlns:a16="http://schemas.microsoft.com/office/drawing/2014/main" id="{5CA50CFF-31D8-AB0F-6139-41ECC28CF743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5" name="Rechteck 654">
              <a:extLst>
                <a:ext uri="{FF2B5EF4-FFF2-40B4-BE49-F238E27FC236}">
                  <a16:creationId xmlns:a16="http://schemas.microsoft.com/office/drawing/2014/main" id="{59531C09-A862-0E66-B412-22DF3A29A02C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6" name="Rechteck 655">
              <a:extLst>
                <a:ext uri="{FF2B5EF4-FFF2-40B4-BE49-F238E27FC236}">
                  <a16:creationId xmlns:a16="http://schemas.microsoft.com/office/drawing/2014/main" id="{B2C5084B-F745-1752-7993-D8592932D155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7" name="Rechteck 656">
              <a:extLst>
                <a:ext uri="{FF2B5EF4-FFF2-40B4-BE49-F238E27FC236}">
                  <a16:creationId xmlns:a16="http://schemas.microsoft.com/office/drawing/2014/main" id="{7F828FD5-6390-7FB3-CBA4-4566675630C6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8" name="Rechteck 657">
              <a:extLst>
                <a:ext uri="{FF2B5EF4-FFF2-40B4-BE49-F238E27FC236}">
                  <a16:creationId xmlns:a16="http://schemas.microsoft.com/office/drawing/2014/main" id="{97B57982-6F8C-8254-A683-14E7F3B94EDE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9" name="Rechteck 658">
              <a:extLst>
                <a:ext uri="{FF2B5EF4-FFF2-40B4-BE49-F238E27FC236}">
                  <a16:creationId xmlns:a16="http://schemas.microsoft.com/office/drawing/2014/main" id="{84F28DF9-B484-8521-9795-AEE6A570607C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0" name="Rechteck 659">
              <a:extLst>
                <a:ext uri="{FF2B5EF4-FFF2-40B4-BE49-F238E27FC236}">
                  <a16:creationId xmlns:a16="http://schemas.microsoft.com/office/drawing/2014/main" id="{BD4DA1EF-963E-7D11-B06D-CC3991F78EB5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1" name="Rechteck 660">
              <a:extLst>
                <a:ext uri="{FF2B5EF4-FFF2-40B4-BE49-F238E27FC236}">
                  <a16:creationId xmlns:a16="http://schemas.microsoft.com/office/drawing/2014/main" id="{282D95EA-DBFF-6A0A-F4BC-F79EFDDC1786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2" name="Rechteck 661">
              <a:extLst>
                <a:ext uri="{FF2B5EF4-FFF2-40B4-BE49-F238E27FC236}">
                  <a16:creationId xmlns:a16="http://schemas.microsoft.com/office/drawing/2014/main" id="{2F6E8338-7A07-84FF-73D3-97FE19F63562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3" name="Rechteck 662">
              <a:extLst>
                <a:ext uri="{FF2B5EF4-FFF2-40B4-BE49-F238E27FC236}">
                  <a16:creationId xmlns:a16="http://schemas.microsoft.com/office/drawing/2014/main" id="{BDAC5CA9-726B-0475-B673-735F2E472583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4" name="Rechteck 663">
              <a:extLst>
                <a:ext uri="{FF2B5EF4-FFF2-40B4-BE49-F238E27FC236}">
                  <a16:creationId xmlns:a16="http://schemas.microsoft.com/office/drawing/2014/main" id="{A7838953-D5B3-A22A-0352-80BE95CD829D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5" name="Rechteck 664">
              <a:extLst>
                <a:ext uri="{FF2B5EF4-FFF2-40B4-BE49-F238E27FC236}">
                  <a16:creationId xmlns:a16="http://schemas.microsoft.com/office/drawing/2014/main" id="{F2CDE6FB-9857-7D96-2503-AFF38C0A8C27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6" name="Rechteck 665">
              <a:extLst>
                <a:ext uri="{FF2B5EF4-FFF2-40B4-BE49-F238E27FC236}">
                  <a16:creationId xmlns:a16="http://schemas.microsoft.com/office/drawing/2014/main" id="{65556F8D-3A0C-79B8-52AE-C913BDE8143B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7" name="Rechteck 666">
              <a:extLst>
                <a:ext uri="{FF2B5EF4-FFF2-40B4-BE49-F238E27FC236}">
                  <a16:creationId xmlns:a16="http://schemas.microsoft.com/office/drawing/2014/main" id="{8FFE7B4D-7B6F-54B2-D0B4-E828DAFD9F41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8" name="Rechteck 667">
              <a:extLst>
                <a:ext uri="{FF2B5EF4-FFF2-40B4-BE49-F238E27FC236}">
                  <a16:creationId xmlns:a16="http://schemas.microsoft.com/office/drawing/2014/main" id="{CBFF1EFD-6085-5E61-9ADC-FD2F20B6106A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9" name="Rechteck 668">
              <a:extLst>
                <a:ext uri="{FF2B5EF4-FFF2-40B4-BE49-F238E27FC236}">
                  <a16:creationId xmlns:a16="http://schemas.microsoft.com/office/drawing/2014/main" id="{FD0BD573-52C7-81C8-E5CF-D0833B45A223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0" name="Rechteck 669">
              <a:extLst>
                <a:ext uri="{FF2B5EF4-FFF2-40B4-BE49-F238E27FC236}">
                  <a16:creationId xmlns:a16="http://schemas.microsoft.com/office/drawing/2014/main" id="{782D1D8C-4C4D-6448-3FEB-703A397A3CC6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1" name="Rechteck 670">
              <a:extLst>
                <a:ext uri="{FF2B5EF4-FFF2-40B4-BE49-F238E27FC236}">
                  <a16:creationId xmlns:a16="http://schemas.microsoft.com/office/drawing/2014/main" id="{7B63E3E0-5636-B199-C23A-95CBCC70D859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2" name="Rechteck 671">
              <a:extLst>
                <a:ext uri="{FF2B5EF4-FFF2-40B4-BE49-F238E27FC236}">
                  <a16:creationId xmlns:a16="http://schemas.microsoft.com/office/drawing/2014/main" id="{5D8CD377-07C0-59FD-98C7-41362090C2F8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3" name="Rechteck 672">
              <a:extLst>
                <a:ext uri="{FF2B5EF4-FFF2-40B4-BE49-F238E27FC236}">
                  <a16:creationId xmlns:a16="http://schemas.microsoft.com/office/drawing/2014/main" id="{86466632-C024-35D7-8D7D-D4A0166729FA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4" name="Rechteck 673">
              <a:extLst>
                <a:ext uri="{FF2B5EF4-FFF2-40B4-BE49-F238E27FC236}">
                  <a16:creationId xmlns:a16="http://schemas.microsoft.com/office/drawing/2014/main" id="{8EEB4898-E16E-C1C7-89F5-4A8FF6AD2AF4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5" name="Rechteck 674">
              <a:extLst>
                <a:ext uri="{FF2B5EF4-FFF2-40B4-BE49-F238E27FC236}">
                  <a16:creationId xmlns:a16="http://schemas.microsoft.com/office/drawing/2014/main" id="{72C43264-B605-19EE-9EC6-8201A249E706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6" name="Rechteck 675">
              <a:extLst>
                <a:ext uri="{FF2B5EF4-FFF2-40B4-BE49-F238E27FC236}">
                  <a16:creationId xmlns:a16="http://schemas.microsoft.com/office/drawing/2014/main" id="{D36205A9-3D94-0561-C9E9-F5E37EBDAF8C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7" name="Rechteck 676">
              <a:extLst>
                <a:ext uri="{FF2B5EF4-FFF2-40B4-BE49-F238E27FC236}">
                  <a16:creationId xmlns:a16="http://schemas.microsoft.com/office/drawing/2014/main" id="{D1C290E5-4A7D-A98F-0DEB-07D5C0C6331D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8" name="Rechteck 677">
              <a:extLst>
                <a:ext uri="{FF2B5EF4-FFF2-40B4-BE49-F238E27FC236}">
                  <a16:creationId xmlns:a16="http://schemas.microsoft.com/office/drawing/2014/main" id="{3C5D23EB-6CDF-C180-1751-736F72303EBC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9" name="Rechteck 678">
              <a:extLst>
                <a:ext uri="{FF2B5EF4-FFF2-40B4-BE49-F238E27FC236}">
                  <a16:creationId xmlns:a16="http://schemas.microsoft.com/office/drawing/2014/main" id="{759763DD-7E92-2349-E5E8-D56CB1B3DAD1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0" name="Rechteck 679">
              <a:extLst>
                <a:ext uri="{FF2B5EF4-FFF2-40B4-BE49-F238E27FC236}">
                  <a16:creationId xmlns:a16="http://schemas.microsoft.com/office/drawing/2014/main" id="{D72B1E55-C768-1705-013C-074933DFCA45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1" name="Rechteck 680">
              <a:extLst>
                <a:ext uri="{FF2B5EF4-FFF2-40B4-BE49-F238E27FC236}">
                  <a16:creationId xmlns:a16="http://schemas.microsoft.com/office/drawing/2014/main" id="{3B377DA8-9E65-12D5-D9D2-30322DBE3CCA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2" name="Rechteck 681">
              <a:extLst>
                <a:ext uri="{FF2B5EF4-FFF2-40B4-BE49-F238E27FC236}">
                  <a16:creationId xmlns:a16="http://schemas.microsoft.com/office/drawing/2014/main" id="{5C1636F3-AD20-FAD8-1A87-FB2EFEEFFBDA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3" name="Rechteck 682">
              <a:extLst>
                <a:ext uri="{FF2B5EF4-FFF2-40B4-BE49-F238E27FC236}">
                  <a16:creationId xmlns:a16="http://schemas.microsoft.com/office/drawing/2014/main" id="{81C12471-8695-B197-E9B9-5247755AF52B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4" name="Rechteck 683">
              <a:extLst>
                <a:ext uri="{FF2B5EF4-FFF2-40B4-BE49-F238E27FC236}">
                  <a16:creationId xmlns:a16="http://schemas.microsoft.com/office/drawing/2014/main" id="{4D1CCC77-25C9-1AE4-015A-1EE85F7C8AEC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5" name="Rechteck 684">
              <a:extLst>
                <a:ext uri="{FF2B5EF4-FFF2-40B4-BE49-F238E27FC236}">
                  <a16:creationId xmlns:a16="http://schemas.microsoft.com/office/drawing/2014/main" id="{4EA24215-EA8C-4427-1749-8E5FA018401C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6" name="Rechteck 685">
              <a:extLst>
                <a:ext uri="{FF2B5EF4-FFF2-40B4-BE49-F238E27FC236}">
                  <a16:creationId xmlns:a16="http://schemas.microsoft.com/office/drawing/2014/main" id="{38D83867-C513-2080-4473-12E76A3DCBB0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7" name="Rechteck 686">
              <a:extLst>
                <a:ext uri="{FF2B5EF4-FFF2-40B4-BE49-F238E27FC236}">
                  <a16:creationId xmlns:a16="http://schemas.microsoft.com/office/drawing/2014/main" id="{929AE39E-E1CB-78D4-6B7A-3CC4349551D4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8" name="Rechteck 687">
              <a:extLst>
                <a:ext uri="{FF2B5EF4-FFF2-40B4-BE49-F238E27FC236}">
                  <a16:creationId xmlns:a16="http://schemas.microsoft.com/office/drawing/2014/main" id="{96C7CB3C-A193-A8D2-BA75-2A4C567CB354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9" name="Rechteck 688">
              <a:extLst>
                <a:ext uri="{FF2B5EF4-FFF2-40B4-BE49-F238E27FC236}">
                  <a16:creationId xmlns:a16="http://schemas.microsoft.com/office/drawing/2014/main" id="{2D08F3F1-AAE3-6EB2-11EA-EB4AA76B4D78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0" name="Rechteck 689">
              <a:extLst>
                <a:ext uri="{FF2B5EF4-FFF2-40B4-BE49-F238E27FC236}">
                  <a16:creationId xmlns:a16="http://schemas.microsoft.com/office/drawing/2014/main" id="{2E5509C7-A1C6-AD32-4E19-BC1B65909709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1" name="Rechteck 690">
              <a:extLst>
                <a:ext uri="{FF2B5EF4-FFF2-40B4-BE49-F238E27FC236}">
                  <a16:creationId xmlns:a16="http://schemas.microsoft.com/office/drawing/2014/main" id="{09F6A495-7550-480E-750B-183E5D67497B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2" name="Rechteck 691">
              <a:extLst>
                <a:ext uri="{FF2B5EF4-FFF2-40B4-BE49-F238E27FC236}">
                  <a16:creationId xmlns:a16="http://schemas.microsoft.com/office/drawing/2014/main" id="{BBEE76EA-7D53-6271-816A-4DE74B341694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3" name="Rechteck 692">
              <a:extLst>
                <a:ext uri="{FF2B5EF4-FFF2-40B4-BE49-F238E27FC236}">
                  <a16:creationId xmlns:a16="http://schemas.microsoft.com/office/drawing/2014/main" id="{F213176D-9D6E-B24C-2C10-CC183DD2A6C0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4" name="Rechteck 693">
              <a:extLst>
                <a:ext uri="{FF2B5EF4-FFF2-40B4-BE49-F238E27FC236}">
                  <a16:creationId xmlns:a16="http://schemas.microsoft.com/office/drawing/2014/main" id="{7064590B-8A97-E58C-F569-D9E272ECC1B2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5" name="Rechteck 694">
              <a:extLst>
                <a:ext uri="{FF2B5EF4-FFF2-40B4-BE49-F238E27FC236}">
                  <a16:creationId xmlns:a16="http://schemas.microsoft.com/office/drawing/2014/main" id="{315E0949-277A-4783-AF02-44BE40809FA9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6" name="Rechteck 695">
              <a:extLst>
                <a:ext uri="{FF2B5EF4-FFF2-40B4-BE49-F238E27FC236}">
                  <a16:creationId xmlns:a16="http://schemas.microsoft.com/office/drawing/2014/main" id="{1903809D-98A7-9AED-EDA3-88B35CAC4CF0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7" name="Rechteck 696">
              <a:extLst>
                <a:ext uri="{FF2B5EF4-FFF2-40B4-BE49-F238E27FC236}">
                  <a16:creationId xmlns:a16="http://schemas.microsoft.com/office/drawing/2014/main" id="{2DBFA402-77BB-5708-D744-566FAA163375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8" name="Rechteck 697">
              <a:extLst>
                <a:ext uri="{FF2B5EF4-FFF2-40B4-BE49-F238E27FC236}">
                  <a16:creationId xmlns:a16="http://schemas.microsoft.com/office/drawing/2014/main" id="{90550800-2BE9-1182-9F1F-F56C9847734F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9" name="Rechteck 698">
              <a:extLst>
                <a:ext uri="{FF2B5EF4-FFF2-40B4-BE49-F238E27FC236}">
                  <a16:creationId xmlns:a16="http://schemas.microsoft.com/office/drawing/2014/main" id="{12CC2F8C-4B80-66DC-7695-2FC7DF6B0C3F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0" name="Rechteck 699">
              <a:extLst>
                <a:ext uri="{FF2B5EF4-FFF2-40B4-BE49-F238E27FC236}">
                  <a16:creationId xmlns:a16="http://schemas.microsoft.com/office/drawing/2014/main" id="{E7BB6321-E23B-1C1F-6FC5-6FB76793A994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1" name="Rechteck 700">
              <a:extLst>
                <a:ext uri="{FF2B5EF4-FFF2-40B4-BE49-F238E27FC236}">
                  <a16:creationId xmlns:a16="http://schemas.microsoft.com/office/drawing/2014/main" id="{B015C7F2-B9B8-EDB1-D801-4680E5BAC55B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2" name="Rechteck 701">
              <a:extLst>
                <a:ext uri="{FF2B5EF4-FFF2-40B4-BE49-F238E27FC236}">
                  <a16:creationId xmlns:a16="http://schemas.microsoft.com/office/drawing/2014/main" id="{D167FE14-8DEE-EAC5-02D3-F13EE9754030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3" name="Rechteck 702">
              <a:extLst>
                <a:ext uri="{FF2B5EF4-FFF2-40B4-BE49-F238E27FC236}">
                  <a16:creationId xmlns:a16="http://schemas.microsoft.com/office/drawing/2014/main" id="{24D327D3-8CF4-4643-4BBD-7B78D571A0EB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4" name="Rechteck 703">
              <a:extLst>
                <a:ext uri="{FF2B5EF4-FFF2-40B4-BE49-F238E27FC236}">
                  <a16:creationId xmlns:a16="http://schemas.microsoft.com/office/drawing/2014/main" id="{12F991E9-14EB-E0EE-C3C5-A2B84A90B4B4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5" name="Rechteck 704">
              <a:extLst>
                <a:ext uri="{FF2B5EF4-FFF2-40B4-BE49-F238E27FC236}">
                  <a16:creationId xmlns:a16="http://schemas.microsoft.com/office/drawing/2014/main" id="{288F7C08-FE36-1BCF-6529-58C3699C2F87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6" name="Rechteck 705">
              <a:extLst>
                <a:ext uri="{FF2B5EF4-FFF2-40B4-BE49-F238E27FC236}">
                  <a16:creationId xmlns:a16="http://schemas.microsoft.com/office/drawing/2014/main" id="{1F42338E-EADA-A559-9FE4-98223FC2FFC9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7" name="Rechteck 706">
              <a:extLst>
                <a:ext uri="{FF2B5EF4-FFF2-40B4-BE49-F238E27FC236}">
                  <a16:creationId xmlns:a16="http://schemas.microsoft.com/office/drawing/2014/main" id="{B4541957-E768-CCC3-3163-B860690C53CD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8" name="Rechteck 707">
              <a:extLst>
                <a:ext uri="{FF2B5EF4-FFF2-40B4-BE49-F238E27FC236}">
                  <a16:creationId xmlns:a16="http://schemas.microsoft.com/office/drawing/2014/main" id="{45C75496-A6EB-F78A-5271-7F8EF62B5400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9" name="Rechteck 708">
              <a:extLst>
                <a:ext uri="{FF2B5EF4-FFF2-40B4-BE49-F238E27FC236}">
                  <a16:creationId xmlns:a16="http://schemas.microsoft.com/office/drawing/2014/main" id="{D67399CE-F898-957D-F6A7-AD099D74A8B4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0" name="Rechteck 709">
              <a:extLst>
                <a:ext uri="{FF2B5EF4-FFF2-40B4-BE49-F238E27FC236}">
                  <a16:creationId xmlns:a16="http://schemas.microsoft.com/office/drawing/2014/main" id="{2D957C8E-27FC-501E-0A61-7984B4CD5641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1" name="Rechteck 710">
              <a:extLst>
                <a:ext uri="{FF2B5EF4-FFF2-40B4-BE49-F238E27FC236}">
                  <a16:creationId xmlns:a16="http://schemas.microsoft.com/office/drawing/2014/main" id="{81878111-D1F0-C25A-2FD1-C95BE80D5394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2" name="Rechteck 711">
              <a:extLst>
                <a:ext uri="{FF2B5EF4-FFF2-40B4-BE49-F238E27FC236}">
                  <a16:creationId xmlns:a16="http://schemas.microsoft.com/office/drawing/2014/main" id="{B3D51024-7A1E-741F-27FB-1C5B0074B6AE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3" name="Rechteck 712">
              <a:extLst>
                <a:ext uri="{FF2B5EF4-FFF2-40B4-BE49-F238E27FC236}">
                  <a16:creationId xmlns:a16="http://schemas.microsoft.com/office/drawing/2014/main" id="{6AB5962F-D899-501E-976E-B35AB5E887F4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4" name="Rechteck 713">
              <a:extLst>
                <a:ext uri="{FF2B5EF4-FFF2-40B4-BE49-F238E27FC236}">
                  <a16:creationId xmlns:a16="http://schemas.microsoft.com/office/drawing/2014/main" id="{BBF67519-8E4C-B39A-6D8E-E7FF97DA230A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5" name="Rechteck 714">
              <a:extLst>
                <a:ext uri="{FF2B5EF4-FFF2-40B4-BE49-F238E27FC236}">
                  <a16:creationId xmlns:a16="http://schemas.microsoft.com/office/drawing/2014/main" id="{225F11FA-42D4-ADAD-6125-8C8BEB24B636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6" name="Rechteck 715">
              <a:extLst>
                <a:ext uri="{FF2B5EF4-FFF2-40B4-BE49-F238E27FC236}">
                  <a16:creationId xmlns:a16="http://schemas.microsoft.com/office/drawing/2014/main" id="{D8435F3F-6542-90B8-59F8-4564C7D64B40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7" name="Rechteck 716">
              <a:extLst>
                <a:ext uri="{FF2B5EF4-FFF2-40B4-BE49-F238E27FC236}">
                  <a16:creationId xmlns:a16="http://schemas.microsoft.com/office/drawing/2014/main" id="{98908F1A-DD3F-D888-F558-E297EEA49EC0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8" name="Rechteck 717">
              <a:extLst>
                <a:ext uri="{FF2B5EF4-FFF2-40B4-BE49-F238E27FC236}">
                  <a16:creationId xmlns:a16="http://schemas.microsoft.com/office/drawing/2014/main" id="{566B3B17-75CF-CE97-9BE0-299F46EA5777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9" name="Rechteck 718">
              <a:extLst>
                <a:ext uri="{FF2B5EF4-FFF2-40B4-BE49-F238E27FC236}">
                  <a16:creationId xmlns:a16="http://schemas.microsoft.com/office/drawing/2014/main" id="{AB4B39BC-1235-9F65-C2EB-C1E9D809DFF6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0" name="Rechteck 719">
              <a:extLst>
                <a:ext uri="{FF2B5EF4-FFF2-40B4-BE49-F238E27FC236}">
                  <a16:creationId xmlns:a16="http://schemas.microsoft.com/office/drawing/2014/main" id="{8C4F22D8-47BA-25A1-7FAD-EFD39CC27CB9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1" name="Rechteck 720">
              <a:extLst>
                <a:ext uri="{FF2B5EF4-FFF2-40B4-BE49-F238E27FC236}">
                  <a16:creationId xmlns:a16="http://schemas.microsoft.com/office/drawing/2014/main" id="{4EA2BB3A-5EEE-E64F-E1E2-F7F812BCD64C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2" name="Rechteck 721">
              <a:extLst>
                <a:ext uri="{FF2B5EF4-FFF2-40B4-BE49-F238E27FC236}">
                  <a16:creationId xmlns:a16="http://schemas.microsoft.com/office/drawing/2014/main" id="{129CAA3C-DE2C-0EB9-2CDA-E92D365C8D2A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3" name="Rechteck 722">
              <a:extLst>
                <a:ext uri="{FF2B5EF4-FFF2-40B4-BE49-F238E27FC236}">
                  <a16:creationId xmlns:a16="http://schemas.microsoft.com/office/drawing/2014/main" id="{7028E687-6DFD-C517-0724-65DCE4F8923B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4" name="Rechteck 723">
              <a:extLst>
                <a:ext uri="{FF2B5EF4-FFF2-40B4-BE49-F238E27FC236}">
                  <a16:creationId xmlns:a16="http://schemas.microsoft.com/office/drawing/2014/main" id="{829BB8C1-21BA-5F19-FF06-64FEAD068817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5" name="Rechteck 724">
              <a:extLst>
                <a:ext uri="{FF2B5EF4-FFF2-40B4-BE49-F238E27FC236}">
                  <a16:creationId xmlns:a16="http://schemas.microsoft.com/office/drawing/2014/main" id="{3577EFC8-DC90-F50D-14F5-24F07DE24029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6" name="Rechteck 725">
              <a:extLst>
                <a:ext uri="{FF2B5EF4-FFF2-40B4-BE49-F238E27FC236}">
                  <a16:creationId xmlns:a16="http://schemas.microsoft.com/office/drawing/2014/main" id="{358FD019-C3E3-DA42-63FB-4343E790F581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7" name="Rechteck 726">
              <a:extLst>
                <a:ext uri="{FF2B5EF4-FFF2-40B4-BE49-F238E27FC236}">
                  <a16:creationId xmlns:a16="http://schemas.microsoft.com/office/drawing/2014/main" id="{BCA8EB2F-8648-25DF-B826-B074853EF147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8" name="Rechteck 727">
              <a:extLst>
                <a:ext uri="{FF2B5EF4-FFF2-40B4-BE49-F238E27FC236}">
                  <a16:creationId xmlns:a16="http://schemas.microsoft.com/office/drawing/2014/main" id="{F55ECAE0-0B1F-DFC9-6DCF-D956D4D2012A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9" name="Rechteck 728">
              <a:extLst>
                <a:ext uri="{FF2B5EF4-FFF2-40B4-BE49-F238E27FC236}">
                  <a16:creationId xmlns:a16="http://schemas.microsoft.com/office/drawing/2014/main" id="{E26F383A-BA26-925F-1E24-61E905497545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0" name="Rechteck 729">
              <a:extLst>
                <a:ext uri="{FF2B5EF4-FFF2-40B4-BE49-F238E27FC236}">
                  <a16:creationId xmlns:a16="http://schemas.microsoft.com/office/drawing/2014/main" id="{083CD46C-1B41-3271-9EEE-1F0A731DA8E3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1" name="Rechteck 730">
              <a:extLst>
                <a:ext uri="{FF2B5EF4-FFF2-40B4-BE49-F238E27FC236}">
                  <a16:creationId xmlns:a16="http://schemas.microsoft.com/office/drawing/2014/main" id="{E9414595-80F7-1BDB-3ADC-E100F4A93F76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2" name="Rechteck 731">
              <a:extLst>
                <a:ext uri="{FF2B5EF4-FFF2-40B4-BE49-F238E27FC236}">
                  <a16:creationId xmlns:a16="http://schemas.microsoft.com/office/drawing/2014/main" id="{168B0E0F-0F91-DA12-D6F7-67A77AB00293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3" name="Rechteck 732">
              <a:extLst>
                <a:ext uri="{FF2B5EF4-FFF2-40B4-BE49-F238E27FC236}">
                  <a16:creationId xmlns:a16="http://schemas.microsoft.com/office/drawing/2014/main" id="{34C971AF-3A1F-27C9-D6E4-7FB1353EFD2C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4" name="Rechteck 733">
              <a:extLst>
                <a:ext uri="{FF2B5EF4-FFF2-40B4-BE49-F238E27FC236}">
                  <a16:creationId xmlns:a16="http://schemas.microsoft.com/office/drawing/2014/main" id="{00301F45-A746-051A-DBDB-85D062599720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5" name="Rechteck 734">
              <a:extLst>
                <a:ext uri="{FF2B5EF4-FFF2-40B4-BE49-F238E27FC236}">
                  <a16:creationId xmlns:a16="http://schemas.microsoft.com/office/drawing/2014/main" id="{01B7F67A-81D0-E5B0-8332-7741C224E55D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6" name="Rechteck 735">
              <a:extLst>
                <a:ext uri="{FF2B5EF4-FFF2-40B4-BE49-F238E27FC236}">
                  <a16:creationId xmlns:a16="http://schemas.microsoft.com/office/drawing/2014/main" id="{73FB4EFC-DD94-855D-EA26-0E97E8956D55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7" name="Rechteck 736">
              <a:extLst>
                <a:ext uri="{FF2B5EF4-FFF2-40B4-BE49-F238E27FC236}">
                  <a16:creationId xmlns:a16="http://schemas.microsoft.com/office/drawing/2014/main" id="{9B4990C7-A470-DF64-E948-E0D76458C34E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8" name="Rechteck 737">
              <a:extLst>
                <a:ext uri="{FF2B5EF4-FFF2-40B4-BE49-F238E27FC236}">
                  <a16:creationId xmlns:a16="http://schemas.microsoft.com/office/drawing/2014/main" id="{54A4701B-9077-80FA-90D7-D6DBBB1BB545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9" name="Rechteck 738">
              <a:extLst>
                <a:ext uri="{FF2B5EF4-FFF2-40B4-BE49-F238E27FC236}">
                  <a16:creationId xmlns:a16="http://schemas.microsoft.com/office/drawing/2014/main" id="{0FB6A773-ADA3-3846-36BF-0B9EB6A7534F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0" name="Rechteck 739">
              <a:extLst>
                <a:ext uri="{FF2B5EF4-FFF2-40B4-BE49-F238E27FC236}">
                  <a16:creationId xmlns:a16="http://schemas.microsoft.com/office/drawing/2014/main" id="{01EC8CC0-6EE0-B499-6AF4-8AC071A458AD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1" name="Rechteck 740">
              <a:extLst>
                <a:ext uri="{FF2B5EF4-FFF2-40B4-BE49-F238E27FC236}">
                  <a16:creationId xmlns:a16="http://schemas.microsoft.com/office/drawing/2014/main" id="{329A7E24-1B66-EA57-1379-9B81449338BC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2" name="Rechteck 741">
              <a:extLst>
                <a:ext uri="{FF2B5EF4-FFF2-40B4-BE49-F238E27FC236}">
                  <a16:creationId xmlns:a16="http://schemas.microsoft.com/office/drawing/2014/main" id="{A5F28040-6C26-122C-46F8-B9857498BE60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3" name="Rechteck 742">
              <a:extLst>
                <a:ext uri="{FF2B5EF4-FFF2-40B4-BE49-F238E27FC236}">
                  <a16:creationId xmlns:a16="http://schemas.microsoft.com/office/drawing/2014/main" id="{84978782-96D6-753C-4462-F4208A4D5C98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4" name="Rechteck 743">
              <a:extLst>
                <a:ext uri="{FF2B5EF4-FFF2-40B4-BE49-F238E27FC236}">
                  <a16:creationId xmlns:a16="http://schemas.microsoft.com/office/drawing/2014/main" id="{8196D607-49C1-DF0F-5005-AA70D061370E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5" name="Rechteck 744">
              <a:extLst>
                <a:ext uri="{FF2B5EF4-FFF2-40B4-BE49-F238E27FC236}">
                  <a16:creationId xmlns:a16="http://schemas.microsoft.com/office/drawing/2014/main" id="{BED54895-E0DD-AE1C-A2D3-EF4D65F97295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6" name="Rechteck 745">
              <a:extLst>
                <a:ext uri="{FF2B5EF4-FFF2-40B4-BE49-F238E27FC236}">
                  <a16:creationId xmlns:a16="http://schemas.microsoft.com/office/drawing/2014/main" id="{B7D7A7F7-192A-CB50-1D1C-63D518467619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7" name="Rechteck 746">
              <a:extLst>
                <a:ext uri="{FF2B5EF4-FFF2-40B4-BE49-F238E27FC236}">
                  <a16:creationId xmlns:a16="http://schemas.microsoft.com/office/drawing/2014/main" id="{1B6C9F7B-51FB-5FD8-8B21-16A78579DDD2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8" name="Rechteck 747">
              <a:extLst>
                <a:ext uri="{FF2B5EF4-FFF2-40B4-BE49-F238E27FC236}">
                  <a16:creationId xmlns:a16="http://schemas.microsoft.com/office/drawing/2014/main" id="{58C21DC8-B3AA-5896-470E-E9133E278DF6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9" name="Rechteck 748">
              <a:extLst>
                <a:ext uri="{FF2B5EF4-FFF2-40B4-BE49-F238E27FC236}">
                  <a16:creationId xmlns:a16="http://schemas.microsoft.com/office/drawing/2014/main" id="{A2046887-6738-2ABD-48A3-C5B2C77D1F91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0" name="Rechteck 749">
              <a:extLst>
                <a:ext uri="{FF2B5EF4-FFF2-40B4-BE49-F238E27FC236}">
                  <a16:creationId xmlns:a16="http://schemas.microsoft.com/office/drawing/2014/main" id="{2FC23CD3-852F-32F6-5A36-048091F962DD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1" name="Rechteck 750">
              <a:extLst>
                <a:ext uri="{FF2B5EF4-FFF2-40B4-BE49-F238E27FC236}">
                  <a16:creationId xmlns:a16="http://schemas.microsoft.com/office/drawing/2014/main" id="{2ADC1ABD-0FF2-A8AF-4214-B190C9AFD925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2" name="Rechteck 751">
              <a:extLst>
                <a:ext uri="{FF2B5EF4-FFF2-40B4-BE49-F238E27FC236}">
                  <a16:creationId xmlns:a16="http://schemas.microsoft.com/office/drawing/2014/main" id="{876C7295-7BC3-F559-9644-88BF2472BECD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3" name="Rechteck 752">
              <a:extLst>
                <a:ext uri="{FF2B5EF4-FFF2-40B4-BE49-F238E27FC236}">
                  <a16:creationId xmlns:a16="http://schemas.microsoft.com/office/drawing/2014/main" id="{8D301BA7-88DF-0133-F5F3-FEB69701D3E6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4" name="Rechteck 753">
              <a:extLst>
                <a:ext uri="{FF2B5EF4-FFF2-40B4-BE49-F238E27FC236}">
                  <a16:creationId xmlns:a16="http://schemas.microsoft.com/office/drawing/2014/main" id="{C03A0295-81A5-EB01-5CA0-A09F68F19784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5" name="Rechteck 754">
              <a:extLst>
                <a:ext uri="{FF2B5EF4-FFF2-40B4-BE49-F238E27FC236}">
                  <a16:creationId xmlns:a16="http://schemas.microsoft.com/office/drawing/2014/main" id="{32AEABEE-2E20-F4B9-4B41-341ADADF5682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6" name="Rechteck 755">
              <a:extLst>
                <a:ext uri="{FF2B5EF4-FFF2-40B4-BE49-F238E27FC236}">
                  <a16:creationId xmlns:a16="http://schemas.microsoft.com/office/drawing/2014/main" id="{4F30E8D3-12BA-D0E1-19B3-5F511E5E717B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7" name="Rechteck 756">
              <a:extLst>
                <a:ext uri="{FF2B5EF4-FFF2-40B4-BE49-F238E27FC236}">
                  <a16:creationId xmlns:a16="http://schemas.microsoft.com/office/drawing/2014/main" id="{36F57986-489F-3376-55EA-B3DFBB9A1658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8" name="Rechteck 757">
              <a:extLst>
                <a:ext uri="{FF2B5EF4-FFF2-40B4-BE49-F238E27FC236}">
                  <a16:creationId xmlns:a16="http://schemas.microsoft.com/office/drawing/2014/main" id="{FF897E14-ED01-ED84-031B-FB4B09880FFD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9" name="Rechteck 758">
              <a:extLst>
                <a:ext uri="{FF2B5EF4-FFF2-40B4-BE49-F238E27FC236}">
                  <a16:creationId xmlns:a16="http://schemas.microsoft.com/office/drawing/2014/main" id="{D36769E4-34B4-A6E7-D902-B1DAC0E85E51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0" name="Rechteck 759">
              <a:extLst>
                <a:ext uri="{FF2B5EF4-FFF2-40B4-BE49-F238E27FC236}">
                  <a16:creationId xmlns:a16="http://schemas.microsoft.com/office/drawing/2014/main" id="{A5D481BB-3BAB-B6E9-834A-63CC7597374D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1" name="Rechteck 760">
              <a:extLst>
                <a:ext uri="{FF2B5EF4-FFF2-40B4-BE49-F238E27FC236}">
                  <a16:creationId xmlns:a16="http://schemas.microsoft.com/office/drawing/2014/main" id="{E0C76091-875F-C3CB-EA96-1ACA4A747B8D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2" name="Rechteck 761">
              <a:extLst>
                <a:ext uri="{FF2B5EF4-FFF2-40B4-BE49-F238E27FC236}">
                  <a16:creationId xmlns:a16="http://schemas.microsoft.com/office/drawing/2014/main" id="{E582FEA3-3BF7-9E35-CC8D-8677F4EF083E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3" name="Rechteck 762">
              <a:extLst>
                <a:ext uri="{FF2B5EF4-FFF2-40B4-BE49-F238E27FC236}">
                  <a16:creationId xmlns:a16="http://schemas.microsoft.com/office/drawing/2014/main" id="{1A074261-E289-0B13-E247-503E79EE2934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4" name="Rechteck 763">
              <a:extLst>
                <a:ext uri="{FF2B5EF4-FFF2-40B4-BE49-F238E27FC236}">
                  <a16:creationId xmlns:a16="http://schemas.microsoft.com/office/drawing/2014/main" id="{0EE25944-43D7-88D3-63F5-FB037A4852D9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5" name="Rechteck 764">
              <a:extLst>
                <a:ext uri="{FF2B5EF4-FFF2-40B4-BE49-F238E27FC236}">
                  <a16:creationId xmlns:a16="http://schemas.microsoft.com/office/drawing/2014/main" id="{0647F3F3-1E6D-7430-B2A3-316943FA4A36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6" name="Rechteck 765">
              <a:extLst>
                <a:ext uri="{FF2B5EF4-FFF2-40B4-BE49-F238E27FC236}">
                  <a16:creationId xmlns:a16="http://schemas.microsoft.com/office/drawing/2014/main" id="{E17FA1CE-FAF1-42BC-1746-3B95CD64065D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7" name="Rechteck 766">
              <a:extLst>
                <a:ext uri="{FF2B5EF4-FFF2-40B4-BE49-F238E27FC236}">
                  <a16:creationId xmlns:a16="http://schemas.microsoft.com/office/drawing/2014/main" id="{75EDB93E-B3C4-6DCB-5C12-CC08C1B5FC2D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8" name="Rechteck 767">
              <a:extLst>
                <a:ext uri="{FF2B5EF4-FFF2-40B4-BE49-F238E27FC236}">
                  <a16:creationId xmlns:a16="http://schemas.microsoft.com/office/drawing/2014/main" id="{7AB17AD0-9388-A3D7-62CD-F283155FA188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9" name="Rechteck 768">
              <a:extLst>
                <a:ext uri="{FF2B5EF4-FFF2-40B4-BE49-F238E27FC236}">
                  <a16:creationId xmlns:a16="http://schemas.microsoft.com/office/drawing/2014/main" id="{D45898F7-F506-3FC4-C7DA-FDCDD6296B71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0" name="Rechteck 769">
              <a:extLst>
                <a:ext uri="{FF2B5EF4-FFF2-40B4-BE49-F238E27FC236}">
                  <a16:creationId xmlns:a16="http://schemas.microsoft.com/office/drawing/2014/main" id="{B04633CD-270F-0F97-835B-8CF2162F42BD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1" name="Rechteck 770">
              <a:extLst>
                <a:ext uri="{FF2B5EF4-FFF2-40B4-BE49-F238E27FC236}">
                  <a16:creationId xmlns:a16="http://schemas.microsoft.com/office/drawing/2014/main" id="{4B55E7EE-7AD1-C04C-259F-56CD8AD15F4D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2" name="Rechteck 771">
              <a:extLst>
                <a:ext uri="{FF2B5EF4-FFF2-40B4-BE49-F238E27FC236}">
                  <a16:creationId xmlns:a16="http://schemas.microsoft.com/office/drawing/2014/main" id="{8BC8B5FC-CAEF-6700-7A38-9A8CADA20DED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3" name="Rechteck 772">
              <a:extLst>
                <a:ext uri="{FF2B5EF4-FFF2-40B4-BE49-F238E27FC236}">
                  <a16:creationId xmlns:a16="http://schemas.microsoft.com/office/drawing/2014/main" id="{09128C4B-DFAF-6352-32D7-46553A6F51E2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4" name="Rechteck 773">
              <a:extLst>
                <a:ext uri="{FF2B5EF4-FFF2-40B4-BE49-F238E27FC236}">
                  <a16:creationId xmlns:a16="http://schemas.microsoft.com/office/drawing/2014/main" id="{50A62D11-E173-46EC-B3E9-E8E1EF366C3C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5" name="Rechteck 774">
              <a:extLst>
                <a:ext uri="{FF2B5EF4-FFF2-40B4-BE49-F238E27FC236}">
                  <a16:creationId xmlns:a16="http://schemas.microsoft.com/office/drawing/2014/main" id="{C3650B50-9208-DBB1-A0DA-CDB3DEC20FD9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6" name="Rechteck 775">
              <a:extLst>
                <a:ext uri="{FF2B5EF4-FFF2-40B4-BE49-F238E27FC236}">
                  <a16:creationId xmlns:a16="http://schemas.microsoft.com/office/drawing/2014/main" id="{C08A26C0-6E12-8869-B3B4-10DFA572B79A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7" name="Rechteck 776">
              <a:extLst>
                <a:ext uri="{FF2B5EF4-FFF2-40B4-BE49-F238E27FC236}">
                  <a16:creationId xmlns:a16="http://schemas.microsoft.com/office/drawing/2014/main" id="{6E49D08E-546F-C138-6FD6-98AE4F4E7F22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8" name="Rechteck 777">
              <a:extLst>
                <a:ext uri="{FF2B5EF4-FFF2-40B4-BE49-F238E27FC236}">
                  <a16:creationId xmlns:a16="http://schemas.microsoft.com/office/drawing/2014/main" id="{29B46766-0DCE-BCB1-CD9E-1EA90F8A8F62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9" name="Rechteck 778">
              <a:extLst>
                <a:ext uri="{FF2B5EF4-FFF2-40B4-BE49-F238E27FC236}">
                  <a16:creationId xmlns:a16="http://schemas.microsoft.com/office/drawing/2014/main" id="{17531D5E-3100-35FA-6034-C40D7F913536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80" name="Rechteck 779">
              <a:extLst>
                <a:ext uri="{FF2B5EF4-FFF2-40B4-BE49-F238E27FC236}">
                  <a16:creationId xmlns:a16="http://schemas.microsoft.com/office/drawing/2014/main" id="{A262A629-40F9-B890-DB6C-2D705492B15B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81" name="Rechteck 780">
              <a:extLst>
                <a:ext uri="{FF2B5EF4-FFF2-40B4-BE49-F238E27FC236}">
                  <a16:creationId xmlns:a16="http://schemas.microsoft.com/office/drawing/2014/main" id="{ED7FB744-42A9-3ACD-681B-F874FC146D56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82" name="Rechteck 781">
              <a:extLst>
                <a:ext uri="{FF2B5EF4-FFF2-40B4-BE49-F238E27FC236}">
                  <a16:creationId xmlns:a16="http://schemas.microsoft.com/office/drawing/2014/main" id="{A9681D3B-5905-8DB2-8AE1-95FD6441503C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grpSp>
        <p:nvGrpSpPr>
          <p:cNvPr id="542" name="Gruppieren 541">
            <a:extLst>
              <a:ext uri="{FF2B5EF4-FFF2-40B4-BE49-F238E27FC236}">
                <a16:creationId xmlns:a16="http://schemas.microsoft.com/office/drawing/2014/main" id="{3592B50D-509E-E4AA-A003-A90C99398F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1" y="2082829"/>
            <a:ext cx="2448000" cy="0"/>
            <a:chOff x="983432" y="2082829"/>
            <a:chExt cx="2448000" cy="0"/>
          </a:xfrm>
        </p:grpSpPr>
        <p:cxnSp>
          <p:nvCxnSpPr>
            <p:cNvPr id="543" name="Line">
              <a:extLst>
                <a:ext uri="{FF2B5EF4-FFF2-40B4-BE49-F238E27FC236}">
                  <a16:creationId xmlns:a16="http://schemas.microsoft.com/office/drawing/2014/main" id="{BEF690D7-6F61-5687-3188-36C22075CBE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4" name="Line">
              <a:extLst>
                <a:ext uri="{FF2B5EF4-FFF2-40B4-BE49-F238E27FC236}">
                  <a16:creationId xmlns:a16="http://schemas.microsoft.com/office/drawing/2014/main" id="{C664D753-0D17-647C-CBA4-0397F3FAFD6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rgbClr val="519FB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45" name="Shape">
            <a:extLst>
              <a:ext uri="{FF2B5EF4-FFF2-40B4-BE49-F238E27FC236}">
                <a16:creationId xmlns:a16="http://schemas.microsoft.com/office/drawing/2014/main" id="{0DC4677F-00D7-E020-7EC2-DE23D89AF6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1400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46" name="Shape">
            <a:extLst>
              <a:ext uri="{FF2B5EF4-FFF2-40B4-BE49-F238E27FC236}">
                <a16:creationId xmlns:a16="http://schemas.microsoft.com/office/drawing/2014/main" id="{C74E1B5D-12AF-1CDC-D0F3-0E5760E76C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1400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rgbClr val="519FBC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547" name="Logo">
            <a:extLst>
              <a:ext uri="{FF2B5EF4-FFF2-40B4-BE49-F238E27FC236}">
                <a16:creationId xmlns:a16="http://schemas.microsoft.com/office/drawing/2014/main" id="{CCA92CE2-476A-5315-BD26-A67AB2EA0C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  <p:sp>
        <p:nvSpPr>
          <p:cNvPr id="548" name="Title">
            <a:extLst>
              <a:ext uri="{FF2B5EF4-FFF2-40B4-BE49-F238E27FC236}">
                <a16:creationId xmlns:a16="http://schemas.microsoft.com/office/drawing/2014/main" id="{79171480-CD40-D0DE-BBF6-E679E9CD8FC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83809" y="2205400"/>
            <a:ext cx="4968575" cy="1367992"/>
          </a:xfrm>
          <a:prstGeom prst="rect">
            <a:avLst/>
          </a:prstGeom>
        </p:spPr>
        <p:txBody>
          <a:bodyPr vert="horz" tIns="54000" anchor="t">
            <a:noAutofit/>
          </a:bodyPr>
          <a:lstStyle>
            <a:lvl1pPr algn="l">
              <a:lnSpc>
                <a:spcPct val="90000"/>
              </a:lnSpc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Insert your long title of presentation here in maximal three lines</a:t>
            </a:r>
          </a:p>
        </p:txBody>
      </p:sp>
      <p:sp>
        <p:nvSpPr>
          <p:cNvPr id="549" name="Subtitle 2">
            <a:extLst>
              <a:ext uri="{FF2B5EF4-FFF2-40B4-BE49-F238E27FC236}">
                <a16:creationId xmlns:a16="http://schemas.microsoft.com/office/drawing/2014/main" id="{FDF90E64-AD53-9879-700D-2BA43E45D1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583809" y="3789400"/>
            <a:ext cx="4392511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550" name="Author">
            <a:extLst>
              <a:ext uri="{FF2B5EF4-FFF2-40B4-BE49-F238E27FC236}">
                <a16:creationId xmlns:a16="http://schemas.microsoft.com/office/drawing/2014/main" id="{AAEB8FFD-E1C9-7577-99D0-32A5D5D6FB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400" y="2277400"/>
            <a:ext cx="2807728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GB"/>
              <a:t>First name Last name</a:t>
            </a:r>
          </a:p>
        </p:txBody>
      </p:sp>
      <p:sp>
        <p:nvSpPr>
          <p:cNvPr id="551" name="Department, Date">
            <a:extLst>
              <a:ext uri="{FF2B5EF4-FFF2-40B4-BE49-F238E27FC236}">
                <a16:creationId xmlns:a16="http://schemas.microsoft.com/office/drawing/2014/main" id="{B60B98D9-581C-5303-CCE6-F11CB97EDA8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2493400"/>
            <a:ext cx="2807728" cy="1007608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GB"/>
              <a:t>Department</a:t>
            </a:r>
            <a:br>
              <a:rPr lang="en-GB"/>
            </a:br>
            <a:r>
              <a:rPr lang="en-GB"/>
              <a:t>DD/MM/YYYY</a:t>
            </a:r>
          </a:p>
        </p:txBody>
      </p:sp>
    </p:spTree>
    <p:extLst>
      <p:ext uri="{BB962C8B-B14F-4D97-AF65-F5344CB8AC3E}">
        <p14:creationId xmlns:p14="http://schemas.microsoft.com/office/powerpoint/2010/main" val="20755488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with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6F4E996-AD7C-D166-F251-57A76841E9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944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6F4E996-AD7C-D166-F251-57A76841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1" name="Gruppieren 590">
            <a:extLst>
              <a:ext uri="{FF2B5EF4-FFF2-40B4-BE49-F238E27FC236}">
                <a16:creationId xmlns:a16="http://schemas.microsoft.com/office/drawing/2014/main" id="{FACBA9D5-1540-F873-38ED-3512958DAA50}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592" name="Rechteck 591">
              <a:extLst>
                <a:ext uri="{FF2B5EF4-FFF2-40B4-BE49-F238E27FC236}">
                  <a16:creationId xmlns:a16="http://schemas.microsoft.com/office/drawing/2014/main" id="{2E1ED19F-B3F1-1A20-768D-6DB78CC2D360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3" name="Rechteck 592">
              <a:extLst>
                <a:ext uri="{FF2B5EF4-FFF2-40B4-BE49-F238E27FC236}">
                  <a16:creationId xmlns:a16="http://schemas.microsoft.com/office/drawing/2014/main" id="{7F7ABCD6-5572-1F3B-A997-78BA9D7DC437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4" name="Rechteck 593">
              <a:extLst>
                <a:ext uri="{FF2B5EF4-FFF2-40B4-BE49-F238E27FC236}">
                  <a16:creationId xmlns:a16="http://schemas.microsoft.com/office/drawing/2014/main" id="{9C309A33-735B-AB0E-55A2-EA1758D8C131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5" name="Rechteck 594">
              <a:extLst>
                <a:ext uri="{FF2B5EF4-FFF2-40B4-BE49-F238E27FC236}">
                  <a16:creationId xmlns:a16="http://schemas.microsoft.com/office/drawing/2014/main" id="{5B819136-222B-F8EB-0AF2-6A13FC0276A8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6" name="Rechteck 595">
              <a:extLst>
                <a:ext uri="{FF2B5EF4-FFF2-40B4-BE49-F238E27FC236}">
                  <a16:creationId xmlns:a16="http://schemas.microsoft.com/office/drawing/2014/main" id="{ADD98442-98C6-C56D-A7BD-D8DF4396F904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7" name="Rechteck 596">
              <a:extLst>
                <a:ext uri="{FF2B5EF4-FFF2-40B4-BE49-F238E27FC236}">
                  <a16:creationId xmlns:a16="http://schemas.microsoft.com/office/drawing/2014/main" id="{0987B1E6-01F7-AD4D-6E41-1FEE6AEC6514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8" name="Rechteck 597">
              <a:extLst>
                <a:ext uri="{FF2B5EF4-FFF2-40B4-BE49-F238E27FC236}">
                  <a16:creationId xmlns:a16="http://schemas.microsoft.com/office/drawing/2014/main" id="{08E359C9-29E3-9D73-6E72-FA86841809E7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9" name="Rechteck 598">
              <a:extLst>
                <a:ext uri="{FF2B5EF4-FFF2-40B4-BE49-F238E27FC236}">
                  <a16:creationId xmlns:a16="http://schemas.microsoft.com/office/drawing/2014/main" id="{A77CA805-16C2-4003-EDD6-AB58D2F41C2A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0" name="Rechteck 599">
              <a:extLst>
                <a:ext uri="{FF2B5EF4-FFF2-40B4-BE49-F238E27FC236}">
                  <a16:creationId xmlns:a16="http://schemas.microsoft.com/office/drawing/2014/main" id="{93BDF181-AF4A-E003-C73F-8B330A1A28E7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1" name="Rechteck 600">
              <a:extLst>
                <a:ext uri="{FF2B5EF4-FFF2-40B4-BE49-F238E27FC236}">
                  <a16:creationId xmlns:a16="http://schemas.microsoft.com/office/drawing/2014/main" id="{F3C9E833-8472-A741-61B6-43F8DF655EA4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2" name="Rechteck 601">
              <a:extLst>
                <a:ext uri="{FF2B5EF4-FFF2-40B4-BE49-F238E27FC236}">
                  <a16:creationId xmlns:a16="http://schemas.microsoft.com/office/drawing/2014/main" id="{92B10999-5154-CC4D-BDF2-8429999232E1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3" name="Rechteck 602">
              <a:extLst>
                <a:ext uri="{FF2B5EF4-FFF2-40B4-BE49-F238E27FC236}">
                  <a16:creationId xmlns:a16="http://schemas.microsoft.com/office/drawing/2014/main" id="{7039CC67-5135-306B-D4B3-D91185BCA7F6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4" name="Rechteck 603">
              <a:extLst>
                <a:ext uri="{FF2B5EF4-FFF2-40B4-BE49-F238E27FC236}">
                  <a16:creationId xmlns:a16="http://schemas.microsoft.com/office/drawing/2014/main" id="{64239335-6054-C2ED-12FF-11DBF3A68A09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5" name="Rechteck 604">
              <a:extLst>
                <a:ext uri="{FF2B5EF4-FFF2-40B4-BE49-F238E27FC236}">
                  <a16:creationId xmlns:a16="http://schemas.microsoft.com/office/drawing/2014/main" id="{FCB026E4-44FD-97BF-96E0-CBD26DF06224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6" name="Rechteck 605">
              <a:extLst>
                <a:ext uri="{FF2B5EF4-FFF2-40B4-BE49-F238E27FC236}">
                  <a16:creationId xmlns:a16="http://schemas.microsoft.com/office/drawing/2014/main" id="{82EAC336-99B6-BF24-7BF4-99B54EF6491E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7" name="Rechteck 606">
              <a:extLst>
                <a:ext uri="{FF2B5EF4-FFF2-40B4-BE49-F238E27FC236}">
                  <a16:creationId xmlns:a16="http://schemas.microsoft.com/office/drawing/2014/main" id="{5B15A62A-C76A-AF35-8E90-72E133A3A600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8" name="Rechteck 607">
              <a:extLst>
                <a:ext uri="{FF2B5EF4-FFF2-40B4-BE49-F238E27FC236}">
                  <a16:creationId xmlns:a16="http://schemas.microsoft.com/office/drawing/2014/main" id="{D619B0CF-EC18-2383-F9CF-54108C4DE0CE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9" name="Rechteck 608">
              <a:extLst>
                <a:ext uri="{FF2B5EF4-FFF2-40B4-BE49-F238E27FC236}">
                  <a16:creationId xmlns:a16="http://schemas.microsoft.com/office/drawing/2014/main" id="{580EA520-845B-C5A7-101F-D2F3FA1A1C80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0" name="Rechteck 609">
              <a:extLst>
                <a:ext uri="{FF2B5EF4-FFF2-40B4-BE49-F238E27FC236}">
                  <a16:creationId xmlns:a16="http://schemas.microsoft.com/office/drawing/2014/main" id="{8E4ABB68-C30D-D096-4BD9-3BE9A34B884C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1" name="Rechteck 610">
              <a:extLst>
                <a:ext uri="{FF2B5EF4-FFF2-40B4-BE49-F238E27FC236}">
                  <a16:creationId xmlns:a16="http://schemas.microsoft.com/office/drawing/2014/main" id="{E290AA4C-070A-C0A5-37C5-82BADFE3D362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2" name="Rechteck 611">
              <a:extLst>
                <a:ext uri="{FF2B5EF4-FFF2-40B4-BE49-F238E27FC236}">
                  <a16:creationId xmlns:a16="http://schemas.microsoft.com/office/drawing/2014/main" id="{04946F20-14CD-09DF-A7E1-B8DFDB863ED1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3" name="Rechteck 612">
              <a:extLst>
                <a:ext uri="{FF2B5EF4-FFF2-40B4-BE49-F238E27FC236}">
                  <a16:creationId xmlns:a16="http://schemas.microsoft.com/office/drawing/2014/main" id="{6ED37962-D773-48CD-D041-4ADFA2974B9F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4" name="Rechteck 613">
              <a:extLst>
                <a:ext uri="{FF2B5EF4-FFF2-40B4-BE49-F238E27FC236}">
                  <a16:creationId xmlns:a16="http://schemas.microsoft.com/office/drawing/2014/main" id="{BB0C6AB8-AA94-0001-6BEC-972FC3765087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5" name="Rechteck 614">
              <a:extLst>
                <a:ext uri="{FF2B5EF4-FFF2-40B4-BE49-F238E27FC236}">
                  <a16:creationId xmlns:a16="http://schemas.microsoft.com/office/drawing/2014/main" id="{BDFF7C5A-A74B-8ED3-4D14-5FD8D11A3A81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6" name="Rechteck 615">
              <a:extLst>
                <a:ext uri="{FF2B5EF4-FFF2-40B4-BE49-F238E27FC236}">
                  <a16:creationId xmlns:a16="http://schemas.microsoft.com/office/drawing/2014/main" id="{688C8EB8-0EE0-A8FC-403A-6DD9875C003F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7" name="Rechteck 616">
              <a:extLst>
                <a:ext uri="{FF2B5EF4-FFF2-40B4-BE49-F238E27FC236}">
                  <a16:creationId xmlns:a16="http://schemas.microsoft.com/office/drawing/2014/main" id="{C9FD5FA7-032D-C419-BB89-AEEC69461598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8" name="Rechteck 617">
              <a:extLst>
                <a:ext uri="{FF2B5EF4-FFF2-40B4-BE49-F238E27FC236}">
                  <a16:creationId xmlns:a16="http://schemas.microsoft.com/office/drawing/2014/main" id="{E8C0AAE1-1429-7015-9620-6A48A25F0F68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9" name="Rechteck 618">
              <a:extLst>
                <a:ext uri="{FF2B5EF4-FFF2-40B4-BE49-F238E27FC236}">
                  <a16:creationId xmlns:a16="http://schemas.microsoft.com/office/drawing/2014/main" id="{C823B77E-82FD-3412-30AA-FB7AFA74E2AF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0" name="Rechteck 619">
              <a:extLst>
                <a:ext uri="{FF2B5EF4-FFF2-40B4-BE49-F238E27FC236}">
                  <a16:creationId xmlns:a16="http://schemas.microsoft.com/office/drawing/2014/main" id="{8F0C8139-DD19-9109-C28C-3CB87CF8C1E2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1" name="Rechteck 620">
              <a:extLst>
                <a:ext uri="{FF2B5EF4-FFF2-40B4-BE49-F238E27FC236}">
                  <a16:creationId xmlns:a16="http://schemas.microsoft.com/office/drawing/2014/main" id="{AD06EB72-0EEE-D69A-03A3-00BA9ACC9AAF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2" name="Rechteck 621">
              <a:extLst>
                <a:ext uri="{FF2B5EF4-FFF2-40B4-BE49-F238E27FC236}">
                  <a16:creationId xmlns:a16="http://schemas.microsoft.com/office/drawing/2014/main" id="{CE672AD2-0157-086E-0272-CD40C269A166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3" name="Rechteck 622">
              <a:extLst>
                <a:ext uri="{FF2B5EF4-FFF2-40B4-BE49-F238E27FC236}">
                  <a16:creationId xmlns:a16="http://schemas.microsoft.com/office/drawing/2014/main" id="{F40EB4DA-B427-B7AF-A5FC-5C857713E726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4" name="Rechteck 623">
              <a:extLst>
                <a:ext uri="{FF2B5EF4-FFF2-40B4-BE49-F238E27FC236}">
                  <a16:creationId xmlns:a16="http://schemas.microsoft.com/office/drawing/2014/main" id="{319C3881-D709-5F10-12C3-E6060F1AC026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5" name="Rechteck 624">
              <a:extLst>
                <a:ext uri="{FF2B5EF4-FFF2-40B4-BE49-F238E27FC236}">
                  <a16:creationId xmlns:a16="http://schemas.microsoft.com/office/drawing/2014/main" id="{B241A9E7-8C93-E479-DD72-E2D9A4A0628E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6" name="Rechteck 625">
              <a:extLst>
                <a:ext uri="{FF2B5EF4-FFF2-40B4-BE49-F238E27FC236}">
                  <a16:creationId xmlns:a16="http://schemas.microsoft.com/office/drawing/2014/main" id="{4F44DF65-6AB4-97A6-0F3D-D4E17EAEC045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7" name="Rechteck 626">
              <a:extLst>
                <a:ext uri="{FF2B5EF4-FFF2-40B4-BE49-F238E27FC236}">
                  <a16:creationId xmlns:a16="http://schemas.microsoft.com/office/drawing/2014/main" id="{F6C1F254-8D99-D06D-C312-B8CF0317246F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8" name="Rechteck 627">
              <a:extLst>
                <a:ext uri="{FF2B5EF4-FFF2-40B4-BE49-F238E27FC236}">
                  <a16:creationId xmlns:a16="http://schemas.microsoft.com/office/drawing/2014/main" id="{406323E0-E3AD-07F7-DB46-A55D5B21B2EA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9" name="Rechteck 628">
              <a:extLst>
                <a:ext uri="{FF2B5EF4-FFF2-40B4-BE49-F238E27FC236}">
                  <a16:creationId xmlns:a16="http://schemas.microsoft.com/office/drawing/2014/main" id="{F126D5DD-D73F-1E0E-DF6A-E9981CA9B0C7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0" name="Rechteck 629">
              <a:extLst>
                <a:ext uri="{FF2B5EF4-FFF2-40B4-BE49-F238E27FC236}">
                  <a16:creationId xmlns:a16="http://schemas.microsoft.com/office/drawing/2014/main" id="{94DAD37B-5F53-17E4-D121-FEE1C0D6CF90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1" name="Rechteck 630">
              <a:extLst>
                <a:ext uri="{FF2B5EF4-FFF2-40B4-BE49-F238E27FC236}">
                  <a16:creationId xmlns:a16="http://schemas.microsoft.com/office/drawing/2014/main" id="{06A4145E-3BCE-29B4-3F3E-7A38662BDFF1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2" name="Rechteck 631">
              <a:extLst>
                <a:ext uri="{FF2B5EF4-FFF2-40B4-BE49-F238E27FC236}">
                  <a16:creationId xmlns:a16="http://schemas.microsoft.com/office/drawing/2014/main" id="{78795E9A-4F66-79DC-C97B-DF241031A736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3" name="Rechteck 632">
              <a:extLst>
                <a:ext uri="{FF2B5EF4-FFF2-40B4-BE49-F238E27FC236}">
                  <a16:creationId xmlns:a16="http://schemas.microsoft.com/office/drawing/2014/main" id="{B349D443-80F9-40B5-C8D7-F8989B179CFD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4" name="Rechteck 633">
              <a:extLst>
                <a:ext uri="{FF2B5EF4-FFF2-40B4-BE49-F238E27FC236}">
                  <a16:creationId xmlns:a16="http://schemas.microsoft.com/office/drawing/2014/main" id="{5AB10EEB-1538-C8F8-8329-09BE65288BD4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5" name="Rechteck 634">
              <a:extLst>
                <a:ext uri="{FF2B5EF4-FFF2-40B4-BE49-F238E27FC236}">
                  <a16:creationId xmlns:a16="http://schemas.microsoft.com/office/drawing/2014/main" id="{DA6FE7E3-8B15-08AB-22FD-D40093E25F28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6" name="Rechteck 635">
              <a:extLst>
                <a:ext uri="{FF2B5EF4-FFF2-40B4-BE49-F238E27FC236}">
                  <a16:creationId xmlns:a16="http://schemas.microsoft.com/office/drawing/2014/main" id="{CEBE05B8-F223-2CBE-D3CF-C02C1A998E97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7" name="Rechteck 636">
              <a:extLst>
                <a:ext uri="{FF2B5EF4-FFF2-40B4-BE49-F238E27FC236}">
                  <a16:creationId xmlns:a16="http://schemas.microsoft.com/office/drawing/2014/main" id="{DE3A48B7-CD82-EDE8-BA59-5273DE58613B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8" name="Rechteck 637">
              <a:extLst>
                <a:ext uri="{FF2B5EF4-FFF2-40B4-BE49-F238E27FC236}">
                  <a16:creationId xmlns:a16="http://schemas.microsoft.com/office/drawing/2014/main" id="{7EA87F7C-4C44-D7E3-5A08-567E89C618AA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9" name="Rechteck 638">
              <a:extLst>
                <a:ext uri="{FF2B5EF4-FFF2-40B4-BE49-F238E27FC236}">
                  <a16:creationId xmlns:a16="http://schemas.microsoft.com/office/drawing/2014/main" id="{74DC90CF-0146-867D-5CF6-E0F8904892CA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0" name="Rechteck 639">
              <a:extLst>
                <a:ext uri="{FF2B5EF4-FFF2-40B4-BE49-F238E27FC236}">
                  <a16:creationId xmlns:a16="http://schemas.microsoft.com/office/drawing/2014/main" id="{AAB3DF34-CAB0-CA8C-92EF-86167524C638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1" name="Rechteck 640">
              <a:extLst>
                <a:ext uri="{FF2B5EF4-FFF2-40B4-BE49-F238E27FC236}">
                  <a16:creationId xmlns:a16="http://schemas.microsoft.com/office/drawing/2014/main" id="{D282B6C7-ABC8-DE34-E122-A62BFEB7EFE4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2" name="Rechteck 641">
              <a:extLst>
                <a:ext uri="{FF2B5EF4-FFF2-40B4-BE49-F238E27FC236}">
                  <a16:creationId xmlns:a16="http://schemas.microsoft.com/office/drawing/2014/main" id="{DF673169-DD3E-1930-83D4-98B65D70D1AA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3" name="Rechteck 642">
              <a:extLst>
                <a:ext uri="{FF2B5EF4-FFF2-40B4-BE49-F238E27FC236}">
                  <a16:creationId xmlns:a16="http://schemas.microsoft.com/office/drawing/2014/main" id="{CD4B2529-D2AD-9890-40C6-4DB50B8AB49D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4" name="Rechteck 643">
              <a:extLst>
                <a:ext uri="{FF2B5EF4-FFF2-40B4-BE49-F238E27FC236}">
                  <a16:creationId xmlns:a16="http://schemas.microsoft.com/office/drawing/2014/main" id="{D2DB2F91-68CA-35B5-BCB0-862E97A4FBEA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5" name="Rechteck 644">
              <a:extLst>
                <a:ext uri="{FF2B5EF4-FFF2-40B4-BE49-F238E27FC236}">
                  <a16:creationId xmlns:a16="http://schemas.microsoft.com/office/drawing/2014/main" id="{D91B7D99-97DD-6A57-4B38-1EEB823AC6FF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6" name="Rechteck 645">
              <a:extLst>
                <a:ext uri="{FF2B5EF4-FFF2-40B4-BE49-F238E27FC236}">
                  <a16:creationId xmlns:a16="http://schemas.microsoft.com/office/drawing/2014/main" id="{984E0E49-AF2B-1D4B-A154-659A10B7C15F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7" name="Rechteck 646">
              <a:extLst>
                <a:ext uri="{FF2B5EF4-FFF2-40B4-BE49-F238E27FC236}">
                  <a16:creationId xmlns:a16="http://schemas.microsoft.com/office/drawing/2014/main" id="{7C8420AE-B1C4-1129-0619-253B1A02EACE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8" name="Rechteck 647">
              <a:extLst>
                <a:ext uri="{FF2B5EF4-FFF2-40B4-BE49-F238E27FC236}">
                  <a16:creationId xmlns:a16="http://schemas.microsoft.com/office/drawing/2014/main" id="{F0DDF3EB-4097-A322-6130-5E208D1CDD65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9" name="Rechteck 648">
              <a:extLst>
                <a:ext uri="{FF2B5EF4-FFF2-40B4-BE49-F238E27FC236}">
                  <a16:creationId xmlns:a16="http://schemas.microsoft.com/office/drawing/2014/main" id="{A6305B0B-07A2-D674-A02F-65F6F90F6A92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0" name="Rechteck 649">
              <a:extLst>
                <a:ext uri="{FF2B5EF4-FFF2-40B4-BE49-F238E27FC236}">
                  <a16:creationId xmlns:a16="http://schemas.microsoft.com/office/drawing/2014/main" id="{646A3421-5B9C-9DD0-D2CB-7B522D696251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1" name="Rechteck 650">
              <a:extLst>
                <a:ext uri="{FF2B5EF4-FFF2-40B4-BE49-F238E27FC236}">
                  <a16:creationId xmlns:a16="http://schemas.microsoft.com/office/drawing/2014/main" id="{7580B8B3-39D4-38BD-3E51-1E353EC988D4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2" name="Rechteck 651">
              <a:extLst>
                <a:ext uri="{FF2B5EF4-FFF2-40B4-BE49-F238E27FC236}">
                  <a16:creationId xmlns:a16="http://schemas.microsoft.com/office/drawing/2014/main" id="{D8740F73-D8A2-FB48-983A-0FE8505216C2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3" name="Rechteck 652">
              <a:extLst>
                <a:ext uri="{FF2B5EF4-FFF2-40B4-BE49-F238E27FC236}">
                  <a16:creationId xmlns:a16="http://schemas.microsoft.com/office/drawing/2014/main" id="{EF8043D2-7D98-9707-50D8-0657C612DD72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4" name="Rechteck 653">
              <a:extLst>
                <a:ext uri="{FF2B5EF4-FFF2-40B4-BE49-F238E27FC236}">
                  <a16:creationId xmlns:a16="http://schemas.microsoft.com/office/drawing/2014/main" id="{5382A319-7B08-39F5-2AD5-57209D581619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5" name="Rechteck 654">
              <a:extLst>
                <a:ext uri="{FF2B5EF4-FFF2-40B4-BE49-F238E27FC236}">
                  <a16:creationId xmlns:a16="http://schemas.microsoft.com/office/drawing/2014/main" id="{7BEB8CE0-8928-9712-C694-77A019127A97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6" name="Rechteck 655">
              <a:extLst>
                <a:ext uri="{FF2B5EF4-FFF2-40B4-BE49-F238E27FC236}">
                  <a16:creationId xmlns:a16="http://schemas.microsoft.com/office/drawing/2014/main" id="{E01370B8-7481-A189-4665-AA6F514F019E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7" name="Rechteck 656">
              <a:extLst>
                <a:ext uri="{FF2B5EF4-FFF2-40B4-BE49-F238E27FC236}">
                  <a16:creationId xmlns:a16="http://schemas.microsoft.com/office/drawing/2014/main" id="{084ACC61-AEEB-6B28-502D-530D4AC61077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8" name="Rechteck 657">
              <a:extLst>
                <a:ext uri="{FF2B5EF4-FFF2-40B4-BE49-F238E27FC236}">
                  <a16:creationId xmlns:a16="http://schemas.microsoft.com/office/drawing/2014/main" id="{F49164EC-9C2A-61C2-697E-335A29FD9CDD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9" name="Rechteck 658">
              <a:extLst>
                <a:ext uri="{FF2B5EF4-FFF2-40B4-BE49-F238E27FC236}">
                  <a16:creationId xmlns:a16="http://schemas.microsoft.com/office/drawing/2014/main" id="{CB1223B9-C25C-E9E9-8BE4-EAD4DAFC9424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0" name="Rechteck 659">
              <a:extLst>
                <a:ext uri="{FF2B5EF4-FFF2-40B4-BE49-F238E27FC236}">
                  <a16:creationId xmlns:a16="http://schemas.microsoft.com/office/drawing/2014/main" id="{4A031F4C-B3CE-492F-279F-4FF24960CF22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1" name="Rechteck 660">
              <a:extLst>
                <a:ext uri="{FF2B5EF4-FFF2-40B4-BE49-F238E27FC236}">
                  <a16:creationId xmlns:a16="http://schemas.microsoft.com/office/drawing/2014/main" id="{6A2EF561-2421-2394-7CED-2B354601FD2E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2" name="Rechteck 661">
              <a:extLst>
                <a:ext uri="{FF2B5EF4-FFF2-40B4-BE49-F238E27FC236}">
                  <a16:creationId xmlns:a16="http://schemas.microsoft.com/office/drawing/2014/main" id="{DBA5EA51-5D9F-8F9F-6093-9BA7F3551765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3" name="Rechteck 662">
              <a:extLst>
                <a:ext uri="{FF2B5EF4-FFF2-40B4-BE49-F238E27FC236}">
                  <a16:creationId xmlns:a16="http://schemas.microsoft.com/office/drawing/2014/main" id="{52DFB184-4E23-1544-2537-09B8159A180A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4" name="Rechteck 663">
              <a:extLst>
                <a:ext uri="{FF2B5EF4-FFF2-40B4-BE49-F238E27FC236}">
                  <a16:creationId xmlns:a16="http://schemas.microsoft.com/office/drawing/2014/main" id="{698B0AEF-EDC0-55E4-E6FF-E35FA1FACC11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5" name="Rechteck 664">
              <a:extLst>
                <a:ext uri="{FF2B5EF4-FFF2-40B4-BE49-F238E27FC236}">
                  <a16:creationId xmlns:a16="http://schemas.microsoft.com/office/drawing/2014/main" id="{C6BF89CF-8DE7-EE28-5B31-F480169399F2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6" name="Rechteck 665">
              <a:extLst>
                <a:ext uri="{FF2B5EF4-FFF2-40B4-BE49-F238E27FC236}">
                  <a16:creationId xmlns:a16="http://schemas.microsoft.com/office/drawing/2014/main" id="{2B96B8AB-3005-C1B2-CBE3-5283C9884B26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7" name="Rechteck 666">
              <a:extLst>
                <a:ext uri="{FF2B5EF4-FFF2-40B4-BE49-F238E27FC236}">
                  <a16:creationId xmlns:a16="http://schemas.microsoft.com/office/drawing/2014/main" id="{965F581F-DD6D-9E44-26D5-76238FAC7D8B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8" name="Rechteck 667">
              <a:extLst>
                <a:ext uri="{FF2B5EF4-FFF2-40B4-BE49-F238E27FC236}">
                  <a16:creationId xmlns:a16="http://schemas.microsoft.com/office/drawing/2014/main" id="{A2E402ED-65BF-B5DB-5D24-EBB6A605BEEE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9" name="Rechteck 668">
              <a:extLst>
                <a:ext uri="{FF2B5EF4-FFF2-40B4-BE49-F238E27FC236}">
                  <a16:creationId xmlns:a16="http://schemas.microsoft.com/office/drawing/2014/main" id="{96B6C8C6-A483-BE9D-64B5-1F2D36B50B21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0" name="Rechteck 669">
              <a:extLst>
                <a:ext uri="{FF2B5EF4-FFF2-40B4-BE49-F238E27FC236}">
                  <a16:creationId xmlns:a16="http://schemas.microsoft.com/office/drawing/2014/main" id="{F9D35263-3C48-E350-A82A-B9B1F1E8FBB7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1" name="Rechteck 670">
              <a:extLst>
                <a:ext uri="{FF2B5EF4-FFF2-40B4-BE49-F238E27FC236}">
                  <a16:creationId xmlns:a16="http://schemas.microsoft.com/office/drawing/2014/main" id="{DAA93CC6-7C3F-0D6E-90CA-C212FEE843D1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2" name="Rechteck 671">
              <a:extLst>
                <a:ext uri="{FF2B5EF4-FFF2-40B4-BE49-F238E27FC236}">
                  <a16:creationId xmlns:a16="http://schemas.microsoft.com/office/drawing/2014/main" id="{608C66C7-E01F-BC7E-0CBE-55F33189ED83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3" name="Rechteck 672">
              <a:extLst>
                <a:ext uri="{FF2B5EF4-FFF2-40B4-BE49-F238E27FC236}">
                  <a16:creationId xmlns:a16="http://schemas.microsoft.com/office/drawing/2014/main" id="{5CF58C74-93DC-07D6-80FA-F073ADE31B57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4" name="Rechteck 673">
              <a:extLst>
                <a:ext uri="{FF2B5EF4-FFF2-40B4-BE49-F238E27FC236}">
                  <a16:creationId xmlns:a16="http://schemas.microsoft.com/office/drawing/2014/main" id="{7D50977B-A394-D625-0893-E85C5A79C7B0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5" name="Rechteck 674">
              <a:extLst>
                <a:ext uri="{FF2B5EF4-FFF2-40B4-BE49-F238E27FC236}">
                  <a16:creationId xmlns:a16="http://schemas.microsoft.com/office/drawing/2014/main" id="{427D4A0E-4700-FC28-B11D-06D10E899A22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6" name="Rechteck 675">
              <a:extLst>
                <a:ext uri="{FF2B5EF4-FFF2-40B4-BE49-F238E27FC236}">
                  <a16:creationId xmlns:a16="http://schemas.microsoft.com/office/drawing/2014/main" id="{37D4604B-2678-1637-589C-F8F6705E7A53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7" name="Rechteck 676">
              <a:extLst>
                <a:ext uri="{FF2B5EF4-FFF2-40B4-BE49-F238E27FC236}">
                  <a16:creationId xmlns:a16="http://schemas.microsoft.com/office/drawing/2014/main" id="{B33F3DE0-0353-F612-858A-845F0FA0CCC2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8" name="Rechteck 677">
              <a:extLst>
                <a:ext uri="{FF2B5EF4-FFF2-40B4-BE49-F238E27FC236}">
                  <a16:creationId xmlns:a16="http://schemas.microsoft.com/office/drawing/2014/main" id="{691BD7DA-515B-5B11-E843-2D916BD97598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9" name="Rechteck 678">
              <a:extLst>
                <a:ext uri="{FF2B5EF4-FFF2-40B4-BE49-F238E27FC236}">
                  <a16:creationId xmlns:a16="http://schemas.microsoft.com/office/drawing/2014/main" id="{FE447532-113B-7FCE-D201-8D01C7F2766C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0" name="Rechteck 679">
              <a:extLst>
                <a:ext uri="{FF2B5EF4-FFF2-40B4-BE49-F238E27FC236}">
                  <a16:creationId xmlns:a16="http://schemas.microsoft.com/office/drawing/2014/main" id="{7932F380-1C42-F4BF-CA30-C2BD191BF94F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1" name="Rechteck 680">
              <a:extLst>
                <a:ext uri="{FF2B5EF4-FFF2-40B4-BE49-F238E27FC236}">
                  <a16:creationId xmlns:a16="http://schemas.microsoft.com/office/drawing/2014/main" id="{F1CDDA0C-DA0D-4170-55E4-BD2ABF43642F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2" name="Rechteck 681">
              <a:extLst>
                <a:ext uri="{FF2B5EF4-FFF2-40B4-BE49-F238E27FC236}">
                  <a16:creationId xmlns:a16="http://schemas.microsoft.com/office/drawing/2014/main" id="{0EE83806-19D9-5E9A-80C5-7C496A0358FC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3" name="Rechteck 682">
              <a:extLst>
                <a:ext uri="{FF2B5EF4-FFF2-40B4-BE49-F238E27FC236}">
                  <a16:creationId xmlns:a16="http://schemas.microsoft.com/office/drawing/2014/main" id="{8BD2553E-2198-66EA-0E4F-7E643BD5F873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4" name="Rechteck 683">
              <a:extLst>
                <a:ext uri="{FF2B5EF4-FFF2-40B4-BE49-F238E27FC236}">
                  <a16:creationId xmlns:a16="http://schemas.microsoft.com/office/drawing/2014/main" id="{B1FDA446-D043-F9B6-1AB8-1269C36C1809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5" name="Rechteck 684">
              <a:extLst>
                <a:ext uri="{FF2B5EF4-FFF2-40B4-BE49-F238E27FC236}">
                  <a16:creationId xmlns:a16="http://schemas.microsoft.com/office/drawing/2014/main" id="{C0EF851F-FAAE-10FC-A921-98380E89EE48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6" name="Rechteck 685">
              <a:extLst>
                <a:ext uri="{FF2B5EF4-FFF2-40B4-BE49-F238E27FC236}">
                  <a16:creationId xmlns:a16="http://schemas.microsoft.com/office/drawing/2014/main" id="{3B8A9F35-1E93-1A92-D679-8F7322221ACE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7" name="Rechteck 686">
              <a:extLst>
                <a:ext uri="{FF2B5EF4-FFF2-40B4-BE49-F238E27FC236}">
                  <a16:creationId xmlns:a16="http://schemas.microsoft.com/office/drawing/2014/main" id="{9B430A44-5702-3AAC-8E35-0A1A1A1C8DC3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8" name="Rechteck 687">
              <a:extLst>
                <a:ext uri="{FF2B5EF4-FFF2-40B4-BE49-F238E27FC236}">
                  <a16:creationId xmlns:a16="http://schemas.microsoft.com/office/drawing/2014/main" id="{A4BE96E7-311E-60DC-C280-E9FD43A3C56A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9" name="Rechteck 688">
              <a:extLst>
                <a:ext uri="{FF2B5EF4-FFF2-40B4-BE49-F238E27FC236}">
                  <a16:creationId xmlns:a16="http://schemas.microsoft.com/office/drawing/2014/main" id="{248AEC33-BC55-433C-F20A-C300AF0FD414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0" name="Rechteck 689">
              <a:extLst>
                <a:ext uri="{FF2B5EF4-FFF2-40B4-BE49-F238E27FC236}">
                  <a16:creationId xmlns:a16="http://schemas.microsoft.com/office/drawing/2014/main" id="{692F9F3B-3B28-821E-67DF-293415056948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1" name="Rechteck 690">
              <a:extLst>
                <a:ext uri="{FF2B5EF4-FFF2-40B4-BE49-F238E27FC236}">
                  <a16:creationId xmlns:a16="http://schemas.microsoft.com/office/drawing/2014/main" id="{77A7394B-9A0F-62AC-B872-083A8F46EDD8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2" name="Rechteck 691">
              <a:extLst>
                <a:ext uri="{FF2B5EF4-FFF2-40B4-BE49-F238E27FC236}">
                  <a16:creationId xmlns:a16="http://schemas.microsoft.com/office/drawing/2014/main" id="{D507F93B-0674-B465-D4A4-0A8A7EFFF468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3" name="Rechteck 692">
              <a:extLst>
                <a:ext uri="{FF2B5EF4-FFF2-40B4-BE49-F238E27FC236}">
                  <a16:creationId xmlns:a16="http://schemas.microsoft.com/office/drawing/2014/main" id="{436193EE-EEA9-A738-77C9-1FFCDB1D3967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4" name="Rechteck 693">
              <a:extLst>
                <a:ext uri="{FF2B5EF4-FFF2-40B4-BE49-F238E27FC236}">
                  <a16:creationId xmlns:a16="http://schemas.microsoft.com/office/drawing/2014/main" id="{2639EAC9-0917-8A8A-8E40-BD99D9BA8B30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5" name="Rechteck 694">
              <a:extLst>
                <a:ext uri="{FF2B5EF4-FFF2-40B4-BE49-F238E27FC236}">
                  <a16:creationId xmlns:a16="http://schemas.microsoft.com/office/drawing/2014/main" id="{FD2BE3E9-6469-35C4-F776-C1D01C8854AB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6" name="Rechteck 695">
              <a:extLst>
                <a:ext uri="{FF2B5EF4-FFF2-40B4-BE49-F238E27FC236}">
                  <a16:creationId xmlns:a16="http://schemas.microsoft.com/office/drawing/2014/main" id="{9B25980C-B898-0A52-FB40-E808F01AF7A9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7" name="Rechteck 696">
              <a:extLst>
                <a:ext uri="{FF2B5EF4-FFF2-40B4-BE49-F238E27FC236}">
                  <a16:creationId xmlns:a16="http://schemas.microsoft.com/office/drawing/2014/main" id="{64282E5F-A7C4-5625-8988-9D59649132FE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8" name="Rechteck 697">
              <a:extLst>
                <a:ext uri="{FF2B5EF4-FFF2-40B4-BE49-F238E27FC236}">
                  <a16:creationId xmlns:a16="http://schemas.microsoft.com/office/drawing/2014/main" id="{1DACDF36-2EC5-EEB4-0602-ACE52D92E38E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9" name="Rechteck 698">
              <a:extLst>
                <a:ext uri="{FF2B5EF4-FFF2-40B4-BE49-F238E27FC236}">
                  <a16:creationId xmlns:a16="http://schemas.microsoft.com/office/drawing/2014/main" id="{9E68720A-396A-D32B-8603-E5B3E105C1E9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0" name="Rechteck 699">
              <a:extLst>
                <a:ext uri="{FF2B5EF4-FFF2-40B4-BE49-F238E27FC236}">
                  <a16:creationId xmlns:a16="http://schemas.microsoft.com/office/drawing/2014/main" id="{D46D580B-8CF2-77C9-AE9A-44F7640997EB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1" name="Rechteck 700">
              <a:extLst>
                <a:ext uri="{FF2B5EF4-FFF2-40B4-BE49-F238E27FC236}">
                  <a16:creationId xmlns:a16="http://schemas.microsoft.com/office/drawing/2014/main" id="{BA31E667-25AB-317B-7E54-3E607B958698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2" name="Rechteck 701">
              <a:extLst>
                <a:ext uri="{FF2B5EF4-FFF2-40B4-BE49-F238E27FC236}">
                  <a16:creationId xmlns:a16="http://schemas.microsoft.com/office/drawing/2014/main" id="{BA8621CE-E486-4F30-4C10-FBFE49C79FBE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3" name="Rechteck 702">
              <a:extLst>
                <a:ext uri="{FF2B5EF4-FFF2-40B4-BE49-F238E27FC236}">
                  <a16:creationId xmlns:a16="http://schemas.microsoft.com/office/drawing/2014/main" id="{40020DCE-3FFC-79BF-EEE2-935EF916C383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4" name="Rechteck 703">
              <a:extLst>
                <a:ext uri="{FF2B5EF4-FFF2-40B4-BE49-F238E27FC236}">
                  <a16:creationId xmlns:a16="http://schemas.microsoft.com/office/drawing/2014/main" id="{DDEBBEC6-C100-C75B-6D8F-649E06827C40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5" name="Rechteck 704">
              <a:extLst>
                <a:ext uri="{FF2B5EF4-FFF2-40B4-BE49-F238E27FC236}">
                  <a16:creationId xmlns:a16="http://schemas.microsoft.com/office/drawing/2014/main" id="{A7628A2A-224C-165C-6407-6DBF1C74ED9E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6" name="Rechteck 705">
              <a:extLst>
                <a:ext uri="{FF2B5EF4-FFF2-40B4-BE49-F238E27FC236}">
                  <a16:creationId xmlns:a16="http://schemas.microsoft.com/office/drawing/2014/main" id="{9B9C2000-FB93-27C1-C22E-FB1FE43E639A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7" name="Rechteck 706">
              <a:extLst>
                <a:ext uri="{FF2B5EF4-FFF2-40B4-BE49-F238E27FC236}">
                  <a16:creationId xmlns:a16="http://schemas.microsoft.com/office/drawing/2014/main" id="{A7A40CAF-500D-5A3D-D3D6-AD6537C789C0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8" name="Rechteck 707">
              <a:extLst>
                <a:ext uri="{FF2B5EF4-FFF2-40B4-BE49-F238E27FC236}">
                  <a16:creationId xmlns:a16="http://schemas.microsoft.com/office/drawing/2014/main" id="{DB586457-25C5-A304-68BA-ACDC908E17EE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9" name="Rechteck 708">
              <a:extLst>
                <a:ext uri="{FF2B5EF4-FFF2-40B4-BE49-F238E27FC236}">
                  <a16:creationId xmlns:a16="http://schemas.microsoft.com/office/drawing/2014/main" id="{FD8F337F-9A7B-CFA8-E3D7-4707E0402467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0" name="Rechteck 709">
              <a:extLst>
                <a:ext uri="{FF2B5EF4-FFF2-40B4-BE49-F238E27FC236}">
                  <a16:creationId xmlns:a16="http://schemas.microsoft.com/office/drawing/2014/main" id="{B1CF8FAD-7814-0574-344D-8FE392B85A2F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1" name="Rechteck 710">
              <a:extLst>
                <a:ext uri="{FF2B5EF4-FFF2-40B4-BE49-F238E27FC236}">
                  <a16:creationId xmlns:a16="http://schemas.microsoft.com/office/drawing/2014/main" id="{E45D9227-4726-9DB7-1D3D-289029A4520F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2" name="Rechteck 711">
              <a:extLst>
                <a:ext uri="{FF2B5EF4-FFF2-40B4-BE49-F238E27FC236}">
                  <a16:creationId xmlns:a16="http://schemas.microsoft.com/office/drawing/2014/main" id="{9D947C33-BF0A-9A4E-6928-65D6DEF78D9E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3" name="Rechteck 712">
              <a:extLst>
                <a:ext uri="{FF2B5EF4-FFF2-40B4-BE49-F238E27FC236}">
                  <a16:creationId xmlns:a16="http://schemas.microsoft.com/office/drawing/2014/main" id="{8FC6D4C0-32DD-1A1B-4CC1-21489635CCCD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4" name="Rechteck 713">
              <a:extLst>
                <a:ext uri="{FF2B5EF4-FFF2-40B4-BE49-F238E27FC236}">
                  <a16:creationId xmlns:a16="http://schemas.microsoft.com/office/drawing/2014/main" id="{25DBD397-2A49-79A9-CE3D-C622D66D59DC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5" name="Rechteck 714">
              <a:extLst>
                <a:ext uri="{FF2B5EF4-FFF2-40B4-BE49-F238E27FC236}">
                  <a16:creationId xmlns:a16="http://schemas.microsoft.com/office/drawing/2014/main" id="{C3E85645-907E-2F79-3843-42446802E566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6" name="Rechteck 715">
              <a:extLst>
                <a:ext uri="{FF2B5EF4-FFF2-40B4-BE49-F238E27FC236}">
                  <a16:creationId xmlns:a16="http://schemas.microsoft.com/office/drawing/2014/main" id="{06A4EF9F-1512-F90A-AA4E-ECA7DE42083D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7" name="Rechteck 716">
              <a:extLst>
                <a:ext uri="{FF2B5EF4-FFF2-40B4-BE49-F238E27FC236}">
                  <a16:creationId xmlns:a16="http://schemas.microsoft.com/office/drawing/2014/main" id="{D4AF1218-756F-14CF-CE90-A233B2607D32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8" name="Rechteck 717">
              <a:extLst>
                <a:ext uri="{FF2B5EF4-FFF2-40B4-BE49-F238E27FC236}">
                  <a16:creationId xmlns:a16="http://schemas.microsoft.com/office/drawing/2014/main" id="{006809CD-2B8A-8CBB-22A3-00614F28A009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9" name="Rechteck 718">
              <a:extLst>
                <a:ext uri="{FF2B5EF4-FFF2-40B4-BE49-F238E27FC236}">
                  <a16:creationId xmlns:a16="http://schemas.microsoft.com/office/drawing/2014/main" id="{2218D21A-8C66-A8F0-0A2F-74DAE3037812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0" name="Rechteck 719">
              <a:extLst>
                <a:ext uri="{FF2B5EF4-FFF2-40B4-BE49-F238E27FC236}">
                  <a16:creationId xmlns:a16="http://schemas.microsoft.com/office/drawing/2014/main" id="{DA8AC3CD-59A6-EFFA-19B4-A51EFEF9095E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1" name="Rechteck 720">
              <a:extLst>
                <a:ext uri="{FF2B5EF4-FFF2-40B4-BE49-F238E27FC236}">
                  <a16:creationId xmlns:a16="http://schemas.microsoft.com/office/drawing/2014/main" id="{95A3CE54-B72E-79E8-5F71-15DB2A8FAD13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2" name="Rechteck 721">
              <a:extLst>
                <a:ext uri="{FF2B5EF4-FFF2-40B4-BE49-F238E27FC236}">
                  <a16:creationId xmlns:a16="http://schemas.microsoft.com/office/drawing/2014/main" id="{4E39ADB2-E659-EDB4-0BA9-3329D978481E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3" name="Rechteck 722">
              <a:extLst>
                <a:ext uri="{FF2B5EF4-FFF2-40B4-BE49-F238E27FC236}">
                  <a16:creationId xmlns:a16="http://schemas.microsoft.com/office/drawing/2014/main" id="{5DCBF9CD-E62D-4B79-29EC-E3C7471DC223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4" name="Rechteck 723">
              <a:extLst>
                <a:ext uri="{FF2B5EF4-FFF2-40B4-BE49-F238E27FC236}">
                  <a16:creationId xmlns:a16="http://schemas.microsoft.com/office/drawing/2014/main" id="{ED6155A0-5752-7FFA-F714-E30F95E8921E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5" name="Rechteck 724">
              <a:extLst>
                <a:ext uri="{FF2B5EF4-FFF2-40B4-BE49-F238E27FC236}">
                  <a16:creationId xmlns:a16="http://schemas.microsoft.com/office/drawing/2014/main" id="{0A994674-3494-6B86-6C76-472CA96DA46A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6" name="Rechteck 725">
              <a:extLst>
                <a:ext uri="{FF2B5EF4-FFF2-40B4-BE49-F238E27FC236}">
                  <a16:creationId xmlns:a16="http://schemas.microsoft.com/office/drawing/2014/main" id="{0B8BD171-6765-3122-9598-750AFA30E88D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7" name="Rechteck 726">
              <a:extLst>
                <a:ext uri="{FF2B5EF4-FFF2-40B4-BE49-F238E27FC236}">
                  <a16:creationId xmlns:a16="http://schemas.microsoft.com/office/drawing/2014/main" id="{A8BB0344-6F65-E8CC-48B0-85EFF06428BA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8" name="Rechteck 727">
              <a:extLst>
                <a:ext uri="{FF2B5EF4-FFF2-40B4-BE49-F238E27FC236}">
                  <a16:creationId xmlns:a16="http://schemas.microsoft.com/office/drawing/2014/main" id="{AA59F2C1-34EF-8FC8-DE95-4BDB3A598D0A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9" name="Rechteck 728">
              <a:extLst>
                <a:ext uri="{FF2B5EF4-FFF2-40B4-BE49-F238E27FC236}">
                  <a16:creationId xmlns:a16="http://schemas.microsoft.com/office/drawing/2014/main" id="{A4016017-5188-A200-7122-9FA69BBD6B42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0" name="Rechteck 729">
              <a:extLst>
                <a:ext uri="{FF2B5EF4-FFF2-40B4-BE49-F238E27FC236}">
                  <a16:creationId xmlns:a16="http://schemas.microsoft.com/office/drawing/2014/main" id="{34D42791-4ACF-DAB1-00C2-B4193F873F56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1" name="Rechteck 730">
              <a:extLst>
                <a:ext uri="{FF2B5EF4-FFF2-40B4-BE49-F238E27FC236}">
                  <a16:creationId xmlns:a16="http://schemas.microsoft.com/office/drawing/2014/main" id="{78467ECC-A2FD-966A-2F5A-B77A8380AC00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2" name="Rechteck 731">
              <a:extLst>
                <a:ext uri="{FF2B5EF4-FFF2-40B4-BE49-F238E27FC236}">
                  <a16:creationId xmlns:a16="http://schemas.microsoft.com/office/drawing/2014/main" id="{64EF1CE3-96A5-019F-3C7C-FCF61FC2E606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3" name="Rechteck 732">
              <a:extLst>
                <a:ext uri="{FF2B5EF4-FFF2-40B4-BE49-F238E27FC236}">
                  <a16:creationId xmlns:a16="http://schemas.microsoft.com/office/drawing/2014/main" id="{58DB4380-AAB1-90B4-13A7-7645B9A54C11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4" name="Rechteck 733">
              <a:extLst>
                <a:ext uri="{FF2B5EF4-FFF2-40B4-BE49-F238E27FC236}">
                  <a16:creationId xmlns:a16="http://schemas.microsoft.com/office/drawing/2014/main" id="{9265CAFE-EB97-9AB3-DBC0-9C6B157DC683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5" name="Rechteck 734">
              <a:extLst>
                <a:ext uri="{FF2B5EF4-FFF2-40B4-BE49-F238E27FC236}">
                  <a16:creationId xmlns:a16="http://schemas.microsoft.com/office/drawing/2014/main" id="{0BFF5C84-A4AB-2C67-E231-450814EBA185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6" name="Rechteck 735">
              <a:extLst>
                <a:ext uri="{FF2B5EF4-FFF2-40B4-BE49-F238E27FC236}">
                  <a16:creationId xmlns:a16="http://schemas.microsoft.com/office/drawing/2014/main" id="{22B9F759-DDB5-1C14-3AFD-706E64B80069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7" name="Rechteck 736">
              <a:extLst>
                <a:ext uri="{FF2B5EF4-FFF2-40B4-BE49-F238E27FC236}">
                  <a16:creationId xmlns:a16="http://schemas.microsoft.com/office/drawing/2014/main" id="{DCAD013C-80B1-45D8-DF13-69738D1F3D56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8" name="Rechteck 737">
              <a:extLst>
                <a:ext uri="{FF2B5EF4-FFF2-40B4-BE49-F238E27FC236}">
                  <a16:creationId xmlns:a16="http://schemas.microsoft.com/office/drawing/2014/main" id="{CFC636A0-5F55-F333-42E5-6F80C6CB9E19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9" name="Rechteck 738">
              <a:extLst>
                <a:ext uri="{FF2B5EF4-FFF2-40B4-BE49-F238E27FC236}">
                  <a16:creationId xmlns:a16="http://schemas.microsoft.com/office/drawing/2014/main" id="{7834C4BD-7E1F-5DC0-A326-44836272FD02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0" name="Rechteck 739">
              <a:extLst>
                <a:ext uri="{FF2B5EF4-FFF2-40B4-BE49-F238E27FC236}">
                  <a16:creationId xmlns:a16="http://schemas.microsoft.com/office/drawing/2014/main" id="{BFF1D1BA-A183-9DE8-237B-E39AFA66CA91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1" name="Rechteck 740">
              <a:extLst>
                <a:ext uri="{FF2B5EF4-FFF2-40B4-BE49-F238E27FC236}">
                  <a16:creationId xmlns:a16="http://schemas.microsoft.com/office/drawing/2014/main" id="{B6D75390-E005-D5B7-22B7-DAE9E4B3A151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2" name="Rechteck 741">
              <a:extLst>
                <a:ext uri="{FF2B5EF4-FFF2-40B4-BE49-F238E27FC236}">
                  <a16:creationId xmlns:a16="http://schemas.microsoft.com/office/drawing/2014/main" id="{8727940D-78FD-576E-2E94-8D5E0629BEBE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3" name="Rechteck 742">
              <a:extLst>
                <a:ext uri="{FF2B5EF4-FFF2-40B4-BE49-F238E27FC236}">
                  <a16:creationId xmlns:a16="http://schemas.microsoft.com/office/drawing/2014/main" id="{13C8ED0E-8E43-DEB3-1173-10D158614EB8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4" name="Rechteck 743">
              <a:extLst>
                <a:ext uri="{FF2B5EF4-FFF2-40B4-BE49-F238E27FC236}">
                  <a16:creationId xmlns:a16="http://schemas.microsoft.com/office/drawing/2014/main" id="{D46CC342-5CA5-DC06-15BF-022F3D7E79BC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5" name="Rechteck 744">
              <a:extLst>
                <a:ext uri="{FF2B5EF4-FFF2-40B4-BE49-F238E27FC236}">
                  <a16:creationId xmlns:a16="http://schemas.microsoft.com/office/drawing/2014/main" id="{8BF86CB3-EE95-0212-9F0F-CC8755EDD6DC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6" name="Rechteck 745">
              <a:extLst>
                <a:ext uri="{FF2B5EF4-FFF2-40B4-BE49-F238E27FC236}">
                  <a16:creationId xmlns:a16="http://schemas.microsoft.com/office/drawing/2014/main" id="{BB2341E0-77C1-8E2F-0427-EBD073140C3D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7" name="Rechteck 746">
              <a:extLst>
                <a:ext uri="{FF2B5EF4-FFF2-40B4-BE49-F238E27FC236}">
                  <a16:creationId xmlns:a16="http://schemas.microsoft.com/office/drawing/2014/main" id="{8CA92347-196D-DFDB-8D32-72C99A193066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8" name="Rechteck 747">
              <a:extLst>
                <a:ext uri="{FF2B5EF4-FFF2-40B4-BE49-F238E27FC236}">
                  <a16:creationId xmlns:a16="http://schemas.microsoft.com/office/drawing/2014/main" id="{00240955-6B4C-A79E-0780-E1E11B41D821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9" name="Rechteck 748">
              <a:extLst>
                <a:ext uri="{FF2B5EF4-FFF2-40B4-BE49-F238E27FC236}">
                  <a16:creationId xmlns:a16="http://schemas.microsoft.com/office/drawing/2014/main" id="{3A2A6650-0A7C-E1D8-5410-9FDB22AAB68C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0" name="Rechteck 749">
              <a:extLst>
                <a:ext uri="{FF2B5EF4-FFF2-40B4-BE49-F238E27FC236}">
                  <a16:creationId xmlns:a16="http://schemas.microsoft.com/office/drawing/2014/main" id="{56433D42-E992-BA20-B522-2CEE795DBFFD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1" name="Rechteck 750">
              <a:extLst>
                <a:ext uri="{FF2B5EF4-FFF2-40B4-BE49-F238E27FC236}">
                  <a16:creationId xmlns:a16="http://schemas.microsoft.com/office/drawing/2014/main" id="{240FA81D-D1B7-8723-66BA-AC1A99951245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2" name="Rechteck 751">
              <a:extLst>
                <a:ext uri="{FF2B5EF4-FFF2-40B4-BE49-F238E27FC236}">
                  <a16:creationId xmlns:a16="http://schemas.microsoft.com/office/drawing/2014/main" id="{2D2ADEA8-38CB-149A-1E84-B5F0ACBAE1FB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3" name="Rechteck 752">
              <a:extLst>
                <a:ext uri="{FF2B5EF4-FFF2-40B4-BE49-F238E27FC236}">
                  <a16:creationId xmlns:a16="http://schemas.microsoft.com/office/drawing/2014/main" id="{7327529C-69E6-0486-0764-79217A4BBB74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4" name="Rechteck 753">
              <a:extLst>
                <a:ext uri="{FF2B5EF4-FFF2-40B4-BE49-F238E27FC236}">
                  <a16:creationId xmlns:a16="http://schemas.microsoft.com/office/drawing/2014/main" id="{FAEF4771-F196-1E26-CDC1-68A13A664A22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5" name="Rechteck 754">
              <a:extLst>
                <a:ext uri="{FF2B5EF4-FFF2-40B4-BE49-F238E27FC236}">
                  <a16:creationId xmlns:a16="http://schemas.microsoft.com/office/drawing/2014/main" id="{EE82DB51-B2F6-0DA6-8778-2E7B62FC192E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6" name="Rechteck 755">
              <a:extLst>
                <a:ext uri="{FF2B5EF4-FFF2-40B4-BE49-F238E27FC236}">
                  <a16:creationId xmlns:a16="http://schemas.microsoft.com/office/drawing/2014/main" id="{371DFA45-A7F2-2C63-728D-3DD66D6F6EF0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7" name="Rechteck 756">
              <a:extLst>
                <a:ext uri="{FF2B5EF4-FFF2-40B4-BE49-F238E27FC236}">
                  <a16:creationId xmlns:a16="http://schemas.microsoft.com/office/drawing/2014/main" id="{0EC4A713-4815-6FFD-EC7E-A83B361FC02A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8" name="Rechteck 757">
              <a:extLst>
                <a:ext uri="{FF2B5EF4-FFF2-40B4-BE49-F238E27FC236}">
                  <a16:creationId xmlns:a16="http://schemas.microsoft.com/office/drawing/2014/main" id="{3628EB64-7690-78D0-126D-33AA701A5E49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9" name="Rechteck 758">
              <a:extLst>
                <a:ext uri="{FF2B5EF4-FFF2-40B4-BE49-F238E27FC236}">
                  <a16:creationId xmlns:a16="http://schemas.microsoft.com/office/drawing/2014/main" id="{EC1A7642-5614-164B-CBE7-6FCE358B72F8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0" name="Rechteck 759">
              <a:extLst>
                <a:ext uri="{FF2B5EF4-FFF2-40B4-BE49-F238E27FC236}">
                  <a16:creationId xmlns:a16="http://schemas.microsoft.com/office/drawing/2014/main" id="{7932EB53-809C-6FB8-F1AD-ECCC69405465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1" name="Rechteck 760">
              <a:extLst>
                <a:ext uri="{FF2B5EF4-FFF2-40B4-BE49-F238E27FC236}">
                  <a16:creationId xmlns:a16="http://schemas.microsoft.com/office/drawing/2014/main" id="{5A75E702-F979-665E-B8D1-A45CC8CB0B39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2" name="Rechteck 761">
              <a:extLst>
                <a:ext uri="{FF2B5EF4-FFF2-40B4-BE49-F238E27FC236}">
                  <a16:creationId xmlns:a16="http://schemas.microsoft.com/office/drawing/2014/main" id="{A9705E92-28DD-F369-3730-A3C422B1810A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3" name="Rechteck 762">
              <a:extLst>
                <a:ext uri="{FF2B5EF4-FFF2-40B4-BE49-F238E27FC236}">
                  <a16:creationId xmlns:a16="http://schemas.microsoft.com/office/drawing/2014/main" id="{C09D0151-EB64-0D37-315F-243E9A1C37D3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4" name="Rechteck 763">
              <a:extLst>
                <a:ext uri="{FF2B5EF4-FFF2-40B4-BE49-F238E27FC236}">
                  <a16:creationId xmlns:a16="http://schemas.microsoft.com/office/drawing/2014/main" id="{692E94C6-2A12-B201-8FE9-68FE94DC4C08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5" name="Rechteck 764">
              <a:extLst>
                <a:ext uri="{FF2B5EF4-FFF2-40B4-BE49-F238E27FC236}">
                  <a16:creationId xmlns:a16="http://schemas.microsoft.com/office/drawing/2014/main" id="{955B44DE-830A-E5CE-7140-938766BD381D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6" name="Rechteck 765">
              <a:extLst>
                <a:ext uri="{FF2B5EF4-FFF2-40B4-BE49-F238E27FC236}">
                  <a16:creationId xmlns:a16="http://schemas.microsoft.com/office/drawing/2014/main" id="{9BFB31CE-F8CA-8B27-675F-8DFA41DD5494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7" name="Rechteck 766">
              <a:extLst>
                <a:ext uri="{FF2B5EF4-FFF2-40B4-BE49-F238E27FC236}">
                  <a16:creationId xmlns:a16="http://schemas.microsoft.com/office/drawing/2014/main" id="{463B64C4-C15C-8568-A013-D7E0EAFDF459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8" name="Rechteck 767">
              <a:extLst>
                <a:ext uri="{FF2B5EF4-FFF2-40B4-BE49-F238E27FC236}">
                  <a16:creationId xmlns:a16="http://schemas.microsoft.com/office/drawing/2014/main" id="{1A3E50E2-A43B-D12A-E68D-59FA79D6F128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9" name="Rechteck 768">
              <a:extLst>
                <a:ext uri="{FF2B5EF4-FFF2-40B4-BE49-F238E27FC236}">
                  <a16:creationId xmlns:a16="http://schemas.microsoft.com/office/drawing/2014/main" id="{F3091E66-B0A5-D563-8F89-8863B938F6E9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0" name="Rechteck 769">
              <a:extLst>
                <a:ext uri="{FF2B5EF4-FFF2-40B4-BE49-F238E27FC236}">
                  <a16:creationId xmlns:a16="http://schemas.microsoft.com/office/drawing/2014/main" id="{37DD9AE5-1038-EFDA-4AB6-418D4CFA0CAA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1" name="Rechteck 770">
              <a:extLst>
                <a:ext uri="{FF2B5EF4-FFF2-40B4-BE49-F238E27FC236}">
                  <a16:creationId xmlns:a16="http://schemas.microsoft.com/office/drawing/2014/main" id="{9CEF40DF-AF85-810E-6EAC-DC2B2B3F02A0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2" name="Rechteck 771">
              <a:extLst>
                <a:ext uri="{FF2B5EF4-FFF2-40B4-BE49-F238E27FC236}">
                  <a16:creationId xmlns:a16="http://schemas.microsoft.com/office/drawing/2014/main" id="{D9C48390-640A-23EB-38D3-9E7E6CCF5B02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3" name="Rechteck 772">
              <a:extLst>
                <a:ext uri="{FF2B5EF4-FFF2-40B4-BE49-F238E27FC236}">
                  <a16:creationId xmlns:a16="http://schemas.microsoft.com/office/drawing/2014/main" id="{1B95AD7B-6A11-F893-0189-9CEECDA3A1FB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4" name="Rechteck 773">
              <a:extLst>
                <a:ext uri="{FF2B5EF4-FFF2-40B4-BE49-F238E27FC236}">
                  <a16:creationId xmlns:a16="http://schemas.microsoft.com/office/drawing/2014/main" id="{1A13EAD0-7106-98E7-9C38-15B85C9C1CAE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5" name="Rechteck 774">
              <a:extLst>
                <a:ext uri="{FF2B5EF4-FFF2-40B4-BE49-F238E27FC236}">
                  <a16:creationId xmlns:a16="http://schemas.microsoft.com/office/drawing/2014/main" id="{96F0B0B9-171C-40AF-C56D-EF02E8378BF8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6" name="Rechteck 775">
              <a:extLst>
                <a:ext uri="{FF2B5EF4-FFF2-40B4-BE49-F238E27FC236}">
                  <a16:creationId xmlns:a16="http://schemas.microsoft.com/office/drawing/2014/main" id="{60606EB1-F1E7-98DA-E561-D6CE34251662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7" name="Rechteck 776">
              <a:extLst>
                <a:ext uri="{FF2B5EF4-FFF2-40B4-BE49-F238E27FC236}">
                  <a16:creationId xmlns:a16="http://schemas.microsoft.com/office/drawing/2014/main" id="{6A18B3EB-D084-401B-199D-878DF27F55FE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8" name="Rechteck 777">
              <a:extLst>
                <a:ext uri="{FF2B5EF4-FFF2-40B4-BE49-F238E27FC236}">
                  <a16:creationId xmlns:a16="http://schemas.microsoft.com/office/drawing/2014/main" id="{82A81875-10C0-2464-E1C8-24C2C8CC0973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9" name="Rechteck 778">
              <a:extLst>
                <a:ext uri="{FF2B5EF4-FFF2-40B4-BE49-F238E27FC236}">
                  <a16:creationId xmlns:a16="http://schemas.microsoft.com/office/drawing/2014/main" id="{994F7DCB-E2B1-FF95-8C1C-4E66E1027214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80" name="Rechteck 779">
              <a:extLst>
                <a:ext uri="{FF2B5EF4-FFF2-40B4-BE49-F238E27FC236}">
                  <a16:creationId xmlns:a16="http://schemas.microsoft.com/office/drawing/2014/main" id="{C565CBFB-8799-F87E-4056-88CA21CE2C4D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pic>
        <p:nvPicPr>
          <p:cNvPr id="573" name="Logo">
            <a:extLst>
              <a:ext uri="{FF2B5EF4-FFF2-40B4-BE49-F238E27FC236}">
                <a16:creationId xmlns:a16="http://schemas.microsoft.com/office/drawing/2014/main" id="{23780D6D-1720-3BF1-EF01-8DB24DD9D5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  <p:grpSp>
        <p:nvGrpSpPr>
          <p:cNvPr id="576" name="Gruppieren 575">
            <a:extLst>
              <a:ext uri="{FF2B5EF4-FFF2-40B4-BE49-F238E27FC236}">
                <a16:creationId xmlns:a16="http://schemas.microsoft.com/office/drawing/2014/main" id="{BE823FBD-9A7C-6240-6CF4-F2826DCAB4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2" y="2082829"/>
            <a:ext cx="2448000" cy="0"/>
            <a:chOff x="983432" y="2082829"/>
            <a:chExt cx="2448000" cy="0"/>
          </a:xfrm>
        </p:grpSpPr>
        <p:cxnSp>
          <p:nvCxnSpPr>
            <p:cNvPr id="577" name="Line">
              <a:extLst>
                <a:ext uri="{FF2B5EF4-FFF2-40B4-BE49-F238E27FC236}">
                  <a16:creationId xmlns:a16="http://schemas.microsoft.com/office/drawing/2014/main" id="{66A40AA6-FF98-9986-2ACF-1647CB3E999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8" name="Line">
              <a:extLst>
                <a:ext uri="{FF2B5EF4-FFF2-40B4-BE49-F238E27FC236}">
                  <a16:creationId xmlns:a16="http://schemas.microsoft.com/office/drawing/2014/main" id="{B3E18CF1-FF35-92C0-5887-A09B6BA1327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79" name="Shape">
            <a:extLst>
              <a:ext uri="{FF2B5EF4-FFF2-40B4-BE49-F238E27FC236}">
                <a16:creationId xmlns:a16="http://schemas.microsoft.com/office/drawing/2014/main" id="{9725C881-C48E-28D4-36AA-F354AB9866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1400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695400" y="2565032"/>
            <a:ext cx="2952000" cy="1152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36000" rIns="216000" anchor="t">
            <a:noAutofit/>
          </a:bodyPr>
          <a:lstStyle>
            <a:lvl1pPr algn="l">
              <a:lnSpc>
                <a:spcPct val="90000"/>
              </a:lnSpc>
              <a:defRPr sz="2400"/>
            </a:lvl1pPr>
          </a:lstStyle>
          <a:p>
            <a:r>
              <a:rPr lang="en-GB"/>
              <a:t>Insert your long title here in max. three lines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695400" y="3717032"/>
            <a:ext cx="2952000" cy="1058353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31" name="Author"/>
          <p:cNvSpPr>
            <a:spLocks noGrp="1"/>
          </p:cNvSpPr>
          <p:nvPr userDrawn="1">
            <p:ph type="body" sz="quarter" idx="14" hasCustomPrompt="1"/>
          </p:nvPr>
        </p:nvSpPr>
        <p:spPr bwMode="gray">
          <a:xfrm>
            <a:off x="695400" y="4869160"/>
            <a:ext cx="2952000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GB"/>
              <a:t>First name Last name</a:t>
            </a:r>
          </a:p>
        </p:txBody>
      </p:sp>
      <p:sp>
        <p:nvSpPr>
          <p:cNvPr id="34" name="Department, Date"/>
          <p:cNvSpPr>
            <a:spLocks noGrp="1"/>
          </p:cNvSpPr>
          <p:nvPr userDrawn="1">
            <p:ph type="body" sz="quarter" idx="15" hasCustomPrompt="1"/>
          </p:nvPr>
        </p:nvSpPr>
        <p:spPr bwMode="gray">
          <a:xfrm>
            <a:off x="695400" y="5085160"/>
            <a:ext cx="2952000" cy="504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GB"/>
              <a:t>Department</a:t>
            </a:r>
            <a:br>
              <a:rPr lang="en-GB"/>
            </a:br>
            <a:r>
              <a:rPr lang="en-GB"/>
              <a:t>DD/MM/YYYY</a:t>
            </a:r>
          </a:p>
        </p:txBody>
      </p:sp>
      <p:sp>
        <p:nvSpPr>
          <p:cNvPr id="575" name="Picture">
            <a:extLst>
              <a:ext uri="{FF2B5EF4-FFF2-40B4-BE49-F238E27FC236}">
                <a16:creationId xmlns:a16="http://schemas.microsoft.com/office/drawing/2014/main" id="{1014EE1A-723A-828F-0A95-5CEA93B1BC7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367809" y="2061400"/>
            <a:ext cx="5775177" cy="3463099"/>
          </a:xfrm>
          <a:custGeom>
            <a:avLst/>
            <a:gdLst>
              <a:gd name="connsiteX0" fmla="*/ 5775177 w 5775177"/>
              <a:gd name="connsiteY0" fmla="*/ 0 h 3463099"/>
              <a:gd name="connsiteX1" fmla="*/ 4621085 w 5775177"/>
              <a:gd name="connsiteY1" fmla="*/ 2311556 h 3463099"/>
              <a:gd name="connsiteX2" fmla="*/ 0 w 5775177"/>
              <a:gd name="connsiteY2" fmla="*/ 3463099 h 3463099"/>
              <a:gd name="connsiteX3" fmla="*/ 0 w 5775177"/>
              <a:gd name="connsiteY3" fmla="*/ 518 h 3463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5177" h="3463099">
                <a:moveTo>
                  <a:pt x="5775177" y="0"/>
                </a:moveTo>
                <a:lnTo>
                  <a:pt x="4621085" y="2311556"/>
                </a:lnTo>
                <a:lnTo>
                  <a:pt x="0" y="3463099"/>
                </a:lnTo>
                <a:lnTo>
                  <a:pt x="0" y="518"/>
                </a:lnTo>
                <a:close/>
              </a:path>
            </a:pathLst>
          </a:custGeom>
          <a:solidFill>
            <a:srgbClr val="FFA52F"/>
          </a:solidFill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312461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with picture | Magent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12A1273-424B-4B5C-F404-80AFC304F9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7050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12A1273-424B-4B5C-F404-80AFC304F9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5" name="Gruppieren 594">
            <a:extLst>
              <a:ext uri="{FF2B5EF4-FFF2-40B4-BE49-F238E27FC236}">
                <a16:creationId xmlns:a16="http://schemas.microsoft.com/office/drawing/2014/main" id="{2CDF1380-56CB-C441-62BB-6B8AD0BAE3A5}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596" name="Rechteck 595">
              <a:extLst>
                <a:ext uri="{FF2B5EF4-FFF2-40B4-BE49-F238E27FC236}">
                  <a16:creationId xmlns:a16="http://schemas.microsoft.com/office/drawing/2014/main" id="{57450E35-59BF-DC62-B3B2-7F66EA6C7F53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7" name="Rechteck 596">
              <a:extLst>
                <a:ext uri="{FF2B5EF4-FFF2-40B4-BE49-F238E27FC236}">
                  <a16:creationId xmlns:a16="http://schemas.microsoft.com/office/drawing/2014/main" id="{179B8BEA-34AF-4C36-CA9B-9B23F8CD6466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8" name="Rechteck 597">
              <a:extLst>
                <a:ext uri="{FF2B5EF4-FFF2-40B4-BE49-F238E27FC236}">
                  <a16:creationId xmlns:a16="http://schemas.microsoft.com/office/drawing/2014/main" id="{C207626A-B153-50D2-2E24-1F2755258F52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9" name="Rechteck 598">
              <a:extLst>
                <a:ext uri="{FF2B5EF4-FFF2-40B4-BE49-F238E27FC236}">
                  <a16:creationId xmlns:a16="http://schemas.microsoft.com/office/drawing/2014/main" id="{A8E16EBE-CF58-4D6E-7BB3-8359A8651A3A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0" name="Rechteck 599">
              <a:extLst>
                <a:ext uri="{FF2B5EF4-FFF2-40B4-BE49-F238E27FC236}">
                  <a16:creationId xmlns:a16="http://schemas.microsoft.com/office/drawing/2014/main" id="{3AE48795-E95C-B406-4599-AC663555F9CE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1" name="Rechteck 600">
              <a:extLst>
                <a:ext uri="{FF2B5EF4-FFF2-40B4-BE49-F238E27FC236}">
                  <a16:creationId xmlns:a16="http://schemas.microsoft.com/office/drawing/2014/main" id="{4D4DD1B5-268F-B38B-13E7-A2EE33AAB9E7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2" name="Rechteck 601">
              <a:extLst>
                <a:ext uri="{FF2B5EF4-FFF2-40B4-BE49-F238E27FC236}">
                  <a16:creationId xmlns:a16="http://schemas.microsoft.com/office/drawing/2014/main" id="{485E85E7-0A1B-5784-1EEA-AFA09B2A2DB0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3" name="Rechteck 602">
              <a:extLst>
                <a:ext uri="{FF2B5EF4-FFF2-40B4-BE49-F238E27FC236}">
                  <a16:creationId xmlns:a16="http://schemas.microsoft.com/office/drawing/2014/main" id="{63FA9EBD-5210-5753-59FD-8A381C90D4A1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4" name="Rechteck 603">
              <a:extLst>
                <a:ext uri="{FF2B5EF4-FFF2-40B4-BE49-F238E27FC236}">
                  <a16:creationId xmlns:a16="http://schemas.microsoft.com/office/drawing/2014/main" id="{680177DF-C357-9F0C-6FCE-54BEEE4963A8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5" name="Rechteck 604">
              <a:extLst>
                <a:ext uri="{FF2B5EF4-FFF2-40B4-BE49-F238E27FC236}">
                  <a16:creationId xmlns:a16="http://schemas.microsoft.com/office/drawing/2014/main" id="{7F998685-2B94-20EF-DD39-A480471A8ECB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6" name="Rechteck 605">
              <a:extLst>
                <a:ext uri="{FF2B5EF4-FFF2-40B4-BE49-F238E27FC236}">
                  <a16:creationId xmlns:a16="http://schemas.microsoft.com/office/drawing/2014/main" id="{68E2C8AA-CE81-68E0-BB27-85431DE84C39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7" name="Rechteck 606">
              <a:extLst>
                <a:ext uri="{FF2B5EF4-FFF2-40B4-BE49-F238E27FC236}">
                  <a16:creationId xmlns:a16="http://schemas.microsoft.com/office/drawing/2014/main" id="{B604C74F-6826-DADA-E174-7B11E5440DC9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8" name="Rechteck 607">
              <a:extLst>
                <a:ext uri="{FF2B5EF4-FFF2-40B4-BE49-F238E27FC236}">
                  <a16:creationId xmlns:a16="http://schemas.microsoft.com/office/drawing/2014/main" id="{077C83B7-0C61-A6E4-4D21-A426EDFAFBE3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9" name="Rechteck 608">
              <a:extLst>
                <a:ext uri="{FF2B5EF4-FFF2-40B4-BE49-F238E27FC236}">
                  <a16:creationId xmlns:a16="http://schemas.microsoft.com/office/drawing/2014/main" id="{4B9F5B38-1849-EAD6-E0FD-D4A5F99E0516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0" name="Rechteck 609">
              <a:extLst>
                <a:ext uri="{FF2B5EF4-FFF2-40B4-BE49-F238E27FC236}">
                  <a16:creationId xmlns:a16="http://schemas.microsoft.com/office/drawing/2014/main" id="{19CB3F7D-D394-61A4-CE48-B60C116791EE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1" name="Rechteck 610">
              <a:extLst>
                <a:ext uri="{FF2B5EF4-FFF2-40B4-BE49-F238E27FC236}">
                  <a16:creationId xmlns:a16="http://schemas.microsoft.com/office/drawing/2014/main" id="{44050C3C-BDC9-91D3-355C-E0C311D5440F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2" name="Rechteck 611">
              <a:extLst>
                <a:ext uri="{FF2B5EF4-FFF2-40B4-BE49-F238E27FC236}">
                  <a16:creationId xmlns:a16="http://schemas.microsoft.com/office/drawing/2014/main" id="{FE34B3E9-0738-78AA-6550-1BA5DCF5E2BC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3" name="Rechteck 612">
              <a:extLst>
                <a:ext uri="{FF2B5EF4-FFF2-40B4-BE49-F238E27FC236}">
                  <a16:creationId xmlns:a16="http://schemas.microsoft.com/office/drawing/2014/main" id="{338B2631-5AF8-AD65-8186-B78033904BCC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4" name="Rechteck 613">
              <a:extLst>
                <a:ext uri="{FF2B5EF4-FFF2-40B4-BE49-F238E27FC236}">
                  <a16:creationId xmlns:a16="http://schemas.microsoft.com/office/drawing/2014/main" id="{0E82E398-2FF4-7A2B-C3BB-46F8501C13E4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5" name="Rechteck 614">
              <a:extLst>
                <a:ext uri="{FF2B5EF4-FFF2-40B4-BE49-F238E27FC236}">
                  <a16:creationId xmlns:a16="http://schemas.microsoft.com/office/drawing/2014/main" id="{4F38BF42-E2B8-2AD7-15A2-F1AD3C1CDFB0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6" name="Rechteck 615">
              <a:extLst>
                <a:ext uri="{FF2B5EF4-FFF2-40B4-BE49-F238E27FC236}">
                  <a16:creationId xmlns:a16="http://schemas.microsoft.com/office/drawing/2014/main" id="{56BB3959-E509-8F42-2902-78AB986BFA2F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7" name="Rechteck 616">
              <a:extLst>
                <a:ext uri="{FF2B5EF4-FFF2-40B4-BE49-F238E27FC236}">
                  <a16:creationId xmlns:a16="http://schemas.microsoft.com/office/drawing/2014/main" id="{35B3C77C-02A8-1B7B-CB6B-E5A13C5A2CD5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8" name="Rechteck 617">
              <a:extLst>
                <a:ext uri="{FF2B5EF4-FFF2-40B4-BE49-F238E27FC236}">
                  <a16:creationId xmlns:a16="http://schemas.microsoft.com/office/drawing/2014/main" id="{DA7EB4BD-6B57-4F59-AC03-961C75F3050D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9" name="Rechteck 618">
              <a:extLst>
                <a:ext uri="{FF2B5EF4-FFF2-40B4-BE49-F238E27FC236}">
                  <a16:creationId xmlns:a16="http://schemas.microsoft.com/office/drawing/2014/main" id="{3760875F-8937-A63B-7540-3FBCBF242992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0" name="Rechteck 619">
              <a:extLst>
                <a:ext uri="{FF2B5EF4-FFF2-40B4-BE49-F238E27FC236}">
                  <a16:creationId xmlns:a16="http://schemas.microsoft.com/office/drawing/2014/main" id="{A37B8398-CCE8-2741-9BAC-DEE13CAA5F99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1" name="Rechteck 620">
              <a:extLst>
                <a:ext uri="{FF2B5EF4-FFF2-40B4-BE49-F238E27FC236}">
                  <a16:creationId xmlns:a16="http://schemas.microsoft.com/office/drawing/2014/main" id="{78E13DFC-21C8-F53C-0B35-A9272B8A4DAC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2" name="Rechteck 621">
              <a:extLst>
                <a:ext uri="{FF2B5EF4-FFF2-40B4-BE49-F238E27FC236}">
                  <a16:creationId xmlns:a16="http://schemas.microsoft.com/office/drawing/2014/main" id="{044E4A67-472A-5368-2D65-EFA532511824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3" name="Rechteck 622">
              <a:extLst>
                <a:ext uri="{FF2B5EF4-FFF2-40B4-BE49-F238E27FC236}">
                  <a16:creationId xmlns:a16="http://schemas.microsoft.com/office/drawing/2014/main" id="{7B1774A3-6173-1C24-4751-630986D8C98C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4" name="Rechteck 623">
              <a:extLst>
                <a:ext uri="{FF2B5EF4-FFF2-40B4-BE49-F238E27FC236}">
                  <a16:creationId xmlns:a16="http://schemas.microsoft.com/office/drawing/2014/main" id="{D5DA09DD-CC00-4978-D6A2-1A3BEF049DE9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5" name="Rechteck 624">
              <a:extLst>
                <a:ext uri="{FF2B5EF4-FFF2-40B4-BE49-F238E27FC236}">
                  <a16:creationId xmlns:a16="http://schemas.microsoft.com/office/drawing/2014/main" id="{6F67BABF-4130-67A7-CBA9-BF03B1AEB512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6" name="Rechteck 625">
              <a:extLst>
                <a:ext uri="{FF2B5EF4-FFF2-40B4-BE49-F238E27FC236}">
                  <a16:creationId xmlns:a16="http://schemas.microsoft.com/office/drawing/2014/main" id="{D7825AC9-58DE-3AF3-E3F8-824582B15B78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7" name="Rechteck 626">
              <a:extLst>
                <a:ext uri="{FF2B5EF4-FFF2-40B4-BE49-F238E27FC236}">
                  <a16:creationId xmlns:a16="http://schemas.microsoft.com/office/drawing/2014/main" id="{386E1AA1-30DA-9DD6-BC19-550B19E50970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8" name="Rechteck 627">
              <a:extLst>
                <a:ext uri="{FF2B5EF4-FFF2-40B4-BE49-F238E27FC236}">
                  <a16:creationId xmlns:a16="http://schemas.microsoft.com/office/drawing/2014/main" id="{36FA9510-D2AA-56C1-6753-6266F934F705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9" name="Rechteck 628">
              <a:extLst>
                <a:ext uri="{FF2B5EF4-FFF2-40B4-BE49-F238E27FC236}">
                  <a16:creationId xmlns:a16="http://schemas.microsoft.com/office/drawing/2014/main" id="{839575AA-49D3-ED8A-648E-094472174E43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0" name="Rechteck 629">
              <a:extLst>
                <a:ext uri="{FF2B5EF4-FFF2-40B4-BE49-F238E27FC236}">
                  <a16:creationId xmlns:a16="http://schemas.microsoft.com/office/drawing/2014/main" id="{0B556570-8180-7193-ED4D-5AD8482F0576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1" name="Rechteck 630">
              <a:extLst>
                <a:ext uri="{FF2B5EF4-FFF2-40B4-BE49-F238E27FC236}">
                  <a16:creationId xmlns:a16="http://schemas.microsoft.com/office/drawing/2014/main" id="{4CD7B9C9-6A27-87BA-B990-E35B7534A3F5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2" name="Rechteck 631">
              <a:extLst>
                <a:ext uri="{FF2B5EF4-FFF2-40B4-BE49-F238E27FC236}">
                  <a16:creationId xmlns:a16="http://schemas.microsoft.com/office/drawing/2014/main" id="{BCA46068-288D-4342-77BD-8868D00CDBA9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3" name="Rechteck 632">
              <a:extLst>
                <a:ext uri="{FF2B5EF4-FFF2-40B4-BE49-F238E27FC236}">
                  <a16:creationId xmlns:a16="http://schemas.microsoft.com/office/drawing/2014/main" id="{3951A1C4-90A1-B3A4-C895-D4B831424330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4" name="Rechteck 633">
              <a:extLst>
                <a:ext uri="{FF2B5EF4-FFF2-40B4-BE49-F238E27FC236}">
                  <a16:creationId xmlns:a16="http://schemas.microsoft.com/office/drawing/2014/main" id="{26EF6DCF-C671-165A-5924-CB0707B7E4BC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5" name="Rechteck 634">
              <a:extLst>
                <a:ext uri="{FF2B5EF4-FFF2-40B4-BE49-F238E27FC236}">
                  <a16:creationId xmlns:a16="http://schemas.microsoft.com/office/drawing/2014/main" id="{4BFCF84F-6E58-4A43-BCB4-2D63541CC101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6" name="Rechteck 635">
              <a:extLst>
                <a:ext uri="{FF2B5EF4-FFF2-40B4-BE49-F238E27FC236}">
                  <a16:creationId xmlns:a16="http://schemas.microsoft.com/office/drawing/2014/main" id="{82400076-18F9-1181-E21E-74C42D14FF2D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7" name="Rechteck 636">
              <a:extLst>
                <a:ext uri="{FF2B5EF4-FFF2-40B4-BE49-F238E27FC236}">
                  <a16:creationId xmlns:a16="http://schemas.microsoft.com/office/drawing/2014/main" id="{8ED6F9BC-EBE6-B216-8EB8-D0F77E947602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8" name="Rechteck 637">
              <a:extLst>
                <a:ext uri="{FF2B5EF4-FFF2-40B4-BE49-F238E27FC236}">
                  <a16:creationId xmlns:a16="http://schemas.microsoft.com/office/drawing/2014/main" id="{D154DF7B-42A7-CE9C-A444-574177BAF104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9" name="Rechteck 638">
              <a:extLst>
                <a:ext uri="{FF2B5EF4-FFF2-40B4-BE49-F238E27FC236}">
                  <a16:creationId xmlns:a16="http://schemas.microsoft.com/office/drawing/2014/main" id="{4C1777D7-340C-8A4F-5E93-AA01F46D5998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0" name="Rechteck 639">
              <a:extLst>
                <a:ext uri="{FF2B5EF4-FFF2-40B4-BE49-F238E27FC236}">
                  <a16:creationId xmlns:a16="http://schemas.microsoft.com/office/drawing/2014/main" id="{5E721475-2C0E-3B23-9F4E-5E7D2C14BCD7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1" name="Rechteck 640">
              <a:extLst>
                <a:ext uri="{FF2B5EF4-FFF2-40B4-BE49-F238E27FC236}">
                  <a16:creationId xmlns:a16="http://schemas.microsoft.com/office/drawing/2014/main" id="{F9353410-B4A8-3F8F-FBAD-A783F8AF73DA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2" name="Rechteck 641">
              <a:extLst>
                <a:ext uri="{FF2B5EF4-FFF2-40B4-BE49-F238E27FC236}">
                  <a16:creationId xmlns:a16="http://schemas.microsoft.com/office/drawing/2014/main" id="{BD32E677-B1D8-F329-B974-9AADD9526FB7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3" name="Rechteck 642">
              <a:extLst>
                <a:ext uri="{FF2B5EF4-FFF2-40B4-BE49-F238E27FC236}">
                  <a16:creationId xmlns:a16="http://schemas.microsoft.com/office/drawing/2014/main" id="{3ABBB52A-0FAF-39CC-3AA7-7E63C883E091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4" name="Rechteck 643">
              <a:extLst>
                <a:ext uri="{FF2B5EF4-FFF2-40B4-BE49-F238E27FC236}">
                  <a16:creationId xmlns:a16="http://schemas.microsoft.com/office/drawing/2014/main" id="{A74F059D-05BF-E8FE-C914-053D40D5082E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5" name="Rechteck 644">
              <a:extLst>
                <a:ext uri="{FF2B5EF4-FFF2-40B4-BE49-F238E27FC236}">
                  <a16:creationId xmlns:a16="http://schemas.microsoft.com/office/drawing/2014/main" id="{70F599B6-7027-CC85-6278-BED9B0E680D0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6" name="Rechteck 645">
              <a:extLst>
                <a:ext uri="{FF2B5EF4-FFF2-40B4-BE49-F238E27FC236}">
                  <a16:creationId xmlns:a16="http://schemas.microsoft.com/office/drawing/2014/main" id="{A6DE9E4B-A45D-9C40-E58E-DF9F92456A12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7" name="Rechteck 646">
              <a:extLst>
                <a:ext uri="{FF2B5EF4-FFF2-40B4-BE49-F238E27FC236}">
                  <a16:creationId xmlns:a16="http://schemas.microsoft.com/office/drawing/2014/main" id="{CF0C3543-084D-E389-5919-F38970FCFF66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8" name="Rechteck 647">
              <a:extLst>
                <a:ext uri="{FF2B5EF4-FFF2-40B4-BE49-F238E27FC236}">
                  <a16:creationId xmlns:a16="http://schemas.microsoft.com/office/drawing/2014/main" id="{9C5D6F99-FAC6-5C2F-C213-5AA847DD039A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9" name="Rechteck 648">
              <a:extLst>
                <a:ext uri="{FF2B5EF4-FFF2-40B4-BE49-F238E27FC236}">
                  <a16:creationId xmlns:a16="http://schemas.microsoft.com/office/drawing/2014/main" id="{C9A5BB3D-223F-7C5B-CF57-244A96FC42C0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0" name="Rechteck 649">
              <a:extLst>
                <a:ext uri="{FF2B5EF4-FFF2-40B4-BE49-F238E27FC236}">
                  <a16:creationId xmlns:a16="http://schemas.microsoft.com/office/drawing/2014/main" id="{29EF94BE-57CD-F619-996A-FA0B6DB8E699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1" name="Rechteck 650">
              <a:extLst>
                <a:ext uri="{FF2B5EF4-FFF2-40B4-BE49-F238E27FC236}">
                  <a16:creationId xmlns:a16="http://schemas.microsoft.com/office/drawing/2014/main" id="{0CAD3B4C-DE6F-7B9F-29D5-586FD271C77D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2" name="Rechteck 651">
              <a:extLst>
                <a:ext uri="{FF2B5EF4-FFF2-40B4-BE49-F238E27FC236}">
                  <a16:creationId xmlns:a16="http://schemas.microsoft.com/office/drawing/2014/main" id="{66F00FC5-9BA6-6CEB-45C6-ACF22E92C735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3" name="Rechteck 652">
              <a:extLst>
                <a:ext uri="{FF2B5EF4-FFF2-40B4-BE49-F238E27FC236}">
                  <a16:creationId xmlns:a16="http://schemas.microsoft.com/office/drawing/2014/main" id="{1670F31E-5D50-0958-4313-AB41B9D1063E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4" name="Rechteck 653">
              <a:extLst>
                <a:ext uri="{FF2B5EF4-FFF2-40B4-BE49-F238E27FC236}">
                  <a16:creationId xmlns:a16="http://schemas.microsoft.com/office/drawing/2014/main" id="{C0D7427E-CA96-7FC5-FB02-F91EDFA64771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5" name="Rechteck 654">
              <a:extLst>
                <a:ext uri="{FF2B5EF4-FFF2-40B4-BE49-F238E27FC236}">
                  <a16:creationId xmlns:a16="http://schemas.microsoft.com/office/drawing/2014/main" id="{1F952FDF-1327-826F-03D8-3DA9FA8D50C2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6" name="Rechteck 655">
              <a:extLst>
                <a:ext uri="{FF2B5EF4-FFF2-40B4-BE49-F238E27FC236}">
                  <a16:creationId xmlns:a16="http://schemas.microsoft.com/office/drawing/2014/main" id="{F1ABA83F-417B-A1BB-41AD-687198E87B6F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7" name="Rechteck 656">
              <a:extLst>
                <a:ext uri="{FF2B5EF4-FFF2-40B4-BE49-F238E27FC236}">
                  <a16:creationId xmlns:a16="http://schemas.microsoft.com/office/drawing/2014/main" id="{BAC414F8-E5FA-3E35-1386-200A424EA462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8" name="Rechteck 657">
              <a:extLst>
                <a:ext uri="{FF2B5EF4-FFF2-40B4-BE49-F238E27FC236}">
                  <a16:creationId xmlns:a16="http://schemas.microsoft.com/office/drawing/2014/main" id="{E2FD9C42-C2D1-F8AB-4D8C-E0AC087A91DE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9" name="Rechteck 658">
              <a:extLst>
                <a:ext uri="{FF2B5EF4-FFF2-40B4-BE49-F238E27FC236}">
                  <a16:creationId xmlns:a16="http://schemas.microsoft.com/office/drawing/2014/main" id="{85DACA96-62BC-B813-01C5-830C90E59149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0" name="Rechteck 659">
              <a:extLst>
                <a:ext uri="{FF2B5EF4-FFF2-40B4-BE49-F238E27FC236}">
                  <a16:creationId xmlns:a16="http://schemas.microsoft.com/office/drawing/2014/main" id="{E2A5FC50-F5DA-E8CC-C29A-5683819FD6E6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1" name="Rechteck 660">
              <a:extLst>
                <a:ext uri="{FF2B5EF4-FFF2-40B4-BE49-F238E27FC236}">
                  <a16:creationId xmlns:a16="http://schemas.microsoft.com/office/drawing/2014/main" id="{B25E0A23-24F9-4B35-713D-CBA870675772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2" name="Rechteck 661">
              <a:extLst>
                <a:ext uri="{FF2B5EF4-FFF2-40B4-BE49-F238E27FC236}">
                  <a16:creationId xmlns:a16="http://schemas.microsoft.com/office/drawing/2014/main" id="{1CCB2977-A7B0-6E94-19AB-74FD24FE1A28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3" name="Rechteck 662">
              <a:extLst>
                <a:ext uri="{FF2B5EF4-FFF2-40B4-BE49-F238E27FC236}">
                  <a16:creationId xmlns:a16="http://schemas.microsoft.com/office/drawing/2014/main" id="{7C262968-4130-0D8B-1F0F-E716166FB2C8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4" name="Rechteck 663">
              <a:extLst>
                <a:ext uri="{FF2B5EF4-FFF2-40B4-BE49-F238E27FC236}">
                  <a16:creationId xmlns:a16="http://schemas.microsoft.com/office/drawing/2014/main" id="{5AECB83A-E4D4-DB1F-95AE-3A450A3CC555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5" name="Rechteck 664">
              <a:extLst>
                <a:ext uri="{FF2B5EF4-FFF2-40B4-BE49-F238E27FC236}">
                  <a16:creationId xmlns:a16="http://schemas.microsoft.com/office/drawing/2014/main" id="{9ACBC2DE-5D92-5BE5-05D6-60CA087C8274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6" name="Rechteck 665">
              <a:extLst>
                <a:ext uri="{FF2B5EF4-FFF2-40B4-BE49-F238E27FC236}">
                  <a16:creationId xmlns:a16="http://schemas.microsoft.com/office/drawing/2014/main" id="{1CAF29E2-CF1C-C41F-75BF-E6E04BA12327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7" name="Rechteck 666">
              <a:extLst>
                <a:ext uri="{FF2B5EF4-FFF2-40B4-BE49-F238E27FC236}">
                  <a16:creationId xmlns:a16="http://schemas.microsoft.com/office/drawing/2014/main" id="{80BE6291-8A0C-6F88-7B62-0BB41A0C960E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8" name="Rechteck 667">
              <a:extLst>
                <a:ext uri="{FF2B5EF4-FFF2-40B4-BE49-F238E27FC236}">
                  <a16:creationId xmlns:a16="http://schemas.microsoft.com/office/drawing/2014/main" id="{4228B11A-C4AE-CF26-66FC-7C430A76AA4E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9" name="Rechteck 668">
              <a:extLst>
                <a:ext uri="{FF2B5EF4-FFF2-40B4-BE49-F238E27FC236}">
                  <a16:creationId xmlns:a16="http://schemas.microsoft.com/office/drawing/2014/main" id="{7B0C6B8E-9820-2F7F-85A1-16552A252060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0" name="Rechteck 669">
              <a:extLst>
                <a:ext uri="{FF2B5EF4-FFF2-40B4-BE49-F238E27FC236}">
                  <a16:creationId xmlns:a16="http://schemas.microsoft.com/office/drawing/2014/main" id="{4515281B-F0EA-5242-BDD1-C881DFB45AB9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1" name="Rechteck 670">
              <a:extLst>
                <a:ext uri="{FF2B5EF4-FFF2-40B4-BE49-F238E27FC236}">
                  <a16:creationId xmlns:a16="http://schemas.microsoft.com/office/drawing/2014/main" id="{91BBB5EE-35A3-7E2D-C5D7-F3FCC1CD9851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2" name="Rechteck 671">
              <a:extLst>
                <a:ext uri="{FF2B5EF4-FFF2-40B4-BE49-F238E27FC236}">
                  <a16:creationId xmlns:a16="http://schemas.microsoft.com/office/drawing/2014/main" id="{07950E77-1505-2658-FBEE-E92B566266D2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3" name="Rechteck 672">
              <a:extLst>
                <a:ext uri="{FF2B5EF4-FFF2-40B4-BE49-F238E27FC236}">
                  <a16:creationId xmlns:a16="http://schemas.microsoft.com/office/drawing/2014/main" id="{B8F07B3B-B889-DBA2-7578-CB0BEF62B3CE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4" name="Rechteck 673">
              <a:extLst>
                <a:ext uri="{FF2B5EF4-FFF2-40B4-BE49-F238E27FC236}">
                  <a16:creationId xmlns:a16="http://schemas.microsoft.com/office/drawing/2014/main" id="{F3CB31AE-57F9-1930-62E7-502E880CFAF9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5" name="Rechteck 674">
              <a:extLst>
                <a:ext uri="{FF2B5EF4-FFF2-40B4-BE49-F238E27FC236}">
                  <a16:creationId xmlns:a16="http://schemas.microsoft.com/office/drawing/2014/main" id="{C7FA50CD-A009-9A35-33D4-EA6656384128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6" name="Rechteck 675">
              <a:extLst>
                <a:ext uri="{FF2B5EF4-FFF2-40B4-BE49-F238E27FC236}">
                  <a16:creationId xmlns:a16="http://schemas.microsoft.com/office/drawing/2014/main" id="{A919A646-14C8-4014-C09F-D20B05E6E198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7" name="Rechteck 676">
              <a:extLst>
                <a:ext uri="{FF2B5EF4-FFF2-40B4-BE49-F238E27FC236}">
                  <a16:creationId xmlns:a16="http://schemas.microsoft.com/office/drawing/2014/main" id="{DC64FD7B-DC04-8978-CFBA-32EB1A0AE7C0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8" name="Rechteck 677">
              <a:extLst>
                <a:ext uri="{FF2B5EF4-FFF2-40B4-BE49-F238E27FC236}">
                  <a16:creationId xmlns:a16="http://schemas.microsoft.com/office/drawing/2014/main" id="{1047BEF4-CD5E-0ABF-4171-EA2614F4A660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9" name="Rechteck 678">
              <a:extLst>
                <a:ext uri="{FF2B5EF4-FFF2-40B4-BE49-F238E27FC236}">
                  <a16:creationId xmlns:a16="http://schemas.microsoft.com/office/drawing/2014/main" id="{40DBA58E-09F9-8D5E-FF89-CCB7A9DD474B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0" name="Rechteck 679">
              <a:extLst>
                <a:ext uri="{FF2B5EF4-FFF2-40B4-BE49-F238E27FC236}">
                  <a16:creationId xmlns:a16="http://schemas.microsoft.com/office/drawing/2014/main" id="{D154E357-4CCB-A83C-F214-06A459D7E5D9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1" name="Rechteck 680">
              <a:extLst>
                <a:ext uri="{FF2B5EF4-FFF2-40B4-BE49-F238E27FC236}">
                  <a16:creationId xmlns:a16="http://schemas.microsoft.com/office/drawing/2014/main" id="{C54D5686-674C-15FF-E4C8-D31BE23C21ED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2" name="Rechteck 681">
              <a:extLst>
                <a:ext uri="{FF2B5EF4-FFF2-40B4-BE49-F238E27FC236}">
                  <a16:creationId xmlns:a16="http://schemas.microsoft.com/office/drawing/2014/main" id="{E7CF2046-D741-4DAB-BB7E-276B4A947DC8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3" name="Rechteck 682">
              <a:extLst>
                <a:ext uri="{FF2B5EF4-FFF2-40B4-BE49-F238E27FC236}">
                  <a16:creationId xmlns:a16="http://schemas.microsoft.com/office/drawing/2014/main" id="{50C728C3-8918-3B03-3FB6-509619DAF8E5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4" name="Rechteck 683">
              <a:extLst>
                <a:ext uri="{FF2B5EF4-FFF2-40B4-BE49-F238E27FC236}">
                  <a16:creationId xmlns:a16="http://schemas.microsoft.com/office/drawing/2014/main" id="{3D9F05DD-B944-89DF-E282-85A9CE1AEE1E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5" name="Rechteck 684">
              <a:extLst>
                <a:ext uri="{FF2B5EF4-FFF2-40B4-BE49-F238E27FC236}">
                  <a16:creationId xmlns:a16="http://schemas.microsoft.com/office/drawing/2014/main" id="{6405A895-68D4-FF83-63D2-341B1E42CC4A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6" name="Rechteck 685">
              <a:extLst>
                <a:ext uri="{FF2B5EF4-FFF2-40B4-BE49-F238E27FC236}">
                  <a16:creationId xmlns:a16="http://schemas.microsoft.com/office/drawing/2014/main" id="{C6E17171-BBF6-C2EC-BD5B-5674F2DFF96C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7" name="Rechteck 686">
              <a:extLst>
                <a:ext uri="{FF2B5EF4-FFF2-40B4-BE49-F238E27FC236}">
                  <a16:creationId xmlns:a16="http://schemas.microsoft.com/office/drawing/2014/main" id="{EF215066-0DD3-88B4-65F9-E347E777F596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8" name="Rechteck 687">
              <a:extLst>
                <a:ext uri="{FF2B5EF4-FFF2-40B4-BE49-F238E27FC236}">
                  <a16:creationId xmlns:a16="http://schemas.microsoft.com/office/drawing/2014/main" id="{2BB7F436-5FC9-3DAF-24DA-7A3D9C1668A9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9" name="Rechteck 688">
              <a:extLst>
                <a:ext uri="{FF2B5EF4-FFF2-40B4-BE49-F238E27FC236}">
                  <a16:creationId xmlns:a16="http://schemas.microsoft.com/office/drawing/2014/main" id="{187BF125-0BBE-02ED-2ACA-2000741E111B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0" name="Rechteck 689">
              <a:extLst>
                <a:ext uri="{FF2B5EF4-FFF2-40B4-BE49-F238E27FC236}">
                  <a16:creationId xmlns:a16="http://schemas.microsoft.com/office/drawing/2014/main" id="{108DC7F4-B591-8142-3525-D4AE8E561A37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1" name="Rechteck 690">
              <a:extLst>
                <a:ext uri="{FF2B5EF4-FFF2-40B4-BE49-F238E27FC236}">
                  <a16:creationId xmlns:a16="http://schemas.microsoft.com/office/drawing/2014/main" id="{4AEDE410-669D-EEED-A5DB-A42D648409FD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2" name="Rechteck 691">
              <a:extLst>
                <a:ext uri="{FF2B5EF4-FFF2-40B4-BE49-F238E27FC236}">
                  <a16:creationId xmlns:a16="http://schemas.microsoft.com/office/drawing/2014/main" id="{40D69257-5814-26FB-AEDB-39AB4126C82B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3" name="Rechteck 692">
              <a:extLst>
                <a:ext uri="{FF2B5EF4-FFF2-40B4-BE49-F238E27FC236}">
                  <a16:creationId xmlns:a16="http://schemas.microsoft.com/office/drawing/2014/main" id="{A394CA40-DD39-C460-4DE3-8790DF7F77F7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4" name="Rechteck 693">
              <a:extLst>
                <a:ext uri="{FF2B5EF4-FFF2-40B4-BE49-F238E27FC236}">
                  <a16:creationId xmlns:a16="http://schemas.microsoft.com/office/drawing/2014/main" id="{ECFAD6E6-DE32-87E0-6449-A08215EB664C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5" name="Rechteck 694">
              <a:extLst>
                <a:ext uri="{FF2B5EF4-FFF2-40B4-BE49-F238E27FC236}">
                  <a16:creationId xmlns:a16="http://schemas.microsoft.com/office/drawing/2014/main" id="{885BA83C-5744-8E09-2D18-15589903E0FF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6" name="Rechteck 695">
              <a:extLst>
                <a:ext uri="{FF2B5EF4-FFF2-40B4-BE49-F238E27FC236}">
                  <a16:creationId xmlns:a16="http://schemas.microsoft.com/office/drawing/2014/main" id="{D6AE1E43-B718-62DF-11CE-5BF14483A86B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7" name="Rechteck 696">
              <a:extLst>
                <a:ext uri="{FF2B5EF4-FFF2-40B4-BE49-F238E27FC236}">
                  <a16:creationId xmlns:a16="http://schemas.microsoft.com/office/drawing/2014/main" id="{7A855A49-33B1-9A8B-BF40-1C28D3158B43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8" name="Rechteck 697">
              <a:extLst>
                <a:ext uri="{FF2B5EF4-FFF2-40B4-BE49-F238E27FC236}">
                  <a16:creationId xmlns:a16="http://schemas.microsoft.com/office/drawing/2014/main" id="{2CCCD5EE-86B8-E064-0E6F-2460E4363D95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9" name="Rechteck 698">
              <a:extLst>
                <a:ext uri="{FF2B5EF4-FFF2-40B4-BE49-F238E27FC236}">
                  <a16:creationId xmlns:a16="http://schemas.microsoft.com/office/drawing/2014/main" id="{839A2237-698A-6AC3-200E-F0689BEA8F3A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0" name="Rechteck 699">
              <a:extLst>
                <a:ext uri="{FF2B5EF4-FFF2-40B4-BE49-F238E27FC236}">
                  <a16:creationId xmlns:a16="http://schemas.microsoft.com/office/drawing/2014/main" id="{2DE42D5C-CDBA-4694-F398-6AD7550AA83B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1" name="Rechteck 700">
              <a:extLst>
                <a:ext uri="{FF2B5EF4-FFF2-40B4-BE49-F238E27FC236}">
                  <a16:creationId xmlns:a16="http://schemas.microsoft.com/office/drawing/2014/main" id="{08D051B7-CB42-D5C8-FEDD-501772491EA8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2" name="Rechteck 701">
              <a:extLst>
                <a:ext uri="{FF2B5EF4-FFF2-40B4-BE49-F238E27FC236}">
                  <a16:creationId xmlns:a16="http://schemas.microsoft.com/office/drawing/2014/main" id="{EFBF0877-DFE4-D29E-9C60-02448101EDAE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3" name="Rechteck 702">
              <a:extLst>
                <a:ext uri="{FF2B5EF4-FFF2-40B4-BE49-F238E27FC236}">
                  <a16:creationId xmlns:a16="http://schemas.microsoft.com/office/drawing/2014/main" id="{D8FA2F9B-BEB8-2A98-7BAF-75BC32757EB7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4" name="Rechteck 703">
              <a:extLst>
                <a:ext uri="{FF2B5EF4-FFF2-40B4-BE49-F238E27FC236}">
                  <a16:creationId xmlns:a16="http://schemas.microsoft.com/office/drawing/2014/main" id="{A5B62914-155C-B6E4-1816-1EA9A69FABF7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5" name="Rechteck 704">
              <a:extLst>
                <a:ext uri="{FF2B5EF4-FFF2-40B4-BE49-F238E27FC236}">
                  <a16:creationId xmlns:a16="http://schemas.microsoft.com/office/drawing/2014/main" id="{A6149FDF-2E78-CDB8-2B51-42285DCC657D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6" name="Rechteck 705">
              <a:extLst>
                <a:ext uri="{FF2B5EF4-FFF2-40B4-BE49-F238E27FC236}">
                  <a16:creationId xmlns:a16="http://schemas.microsoft.com/office/drawing/2014/main" id="{7A3D4E9F-DDF1-EFC9-2A16-5541FA1CCD61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7" name="Rechteck 706">
              <a:extLst>
                <a:ext uri="{FF2B5EF4-FFF2-40B4-BE49-F238E27FC236}">
                  <a16:creationId xmlns:a16="http://schemas.microsoft.com/office/drawing/2014/main" id="{D96050D1-4106-1E1F-4CB0-FCA52B1AD1EF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8" name="Rechteck 707">
              <a:extLst>
                <a:ext uri="{FF2B5EF4-FFF2-40B4-BE49-F238E27FC236}">
                  <a16:creationId xmlns:a16="http://schemas.microsoft.com/office/drawing/2014/main" id="{44D4D474-4925-F5AC-D34D-87FB536C2C24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9" name="Rechteck 708">
              <a:extLst>
                <a:ext uri="{FF2B5EF4-FFF2-40B4-BE49-F238E27FC236}">
                  <a16:creationId xmlns:a16="http://schemas.microsoft.com/office/drawing/2014/main" id="{3A0FD992-01BD-FC6D-D21F-D88363E315D8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0" name="Rechteck 709">
              <a:extLst>
                <a:ext uri="{FF2B5EF4-FFF2-40B4-BE49-F238E27FC236}">
                  <a16:creationId xmlns:a16="http://schemas.microsoft.com/office/drawing/2014/main" id="{14405D7B-EFA5-0DC4-6DDD-BA2268F80D8E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1" name="Rechteck 710">
              <a:extLst>
                <a:ext uri="{FF2B5EF4-FFF2-40B4-BE49-F238E27FC236}">
                  <a16:creationId xmlns:a16="http://schemas.microsoft.com/office/drawing/2014/main" id="{D3051C54-558E-969A-799F-E579264117A6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2" name="Rechteck 711">
              <a:extLst>
                <a:ext uri="{FF2B5EF4-FFF2-40B4-BE49-F238E27FC236}">
                  <a16:creationId xmlns:a16="http://schemas.microsoft.com/office/drawing/2014/main" id="{538B7CA8-C38D-F90E-D27D-9B8AD16810E3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3" name="Rechteck 712">
              <a:extLst>
                <a:ext uri="{FF2B5EF4-FFF2-40B4-BE49-F238E27FC236}">
                  <a16:creationId xmlns:a16="http://schemas.microsoft.com/office/drawing/2014/main" id="{088BEF0E-2480-F893-08F5-5F82662B2AE5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4" name="Rechteck 713">
              <a:extLst>
                <a:ext uri="{FF2B5EF4-FFF2-40B4-BE49-F238E27FC236}">
                  <a16:creationId xmlns:a16="http://schemas.microsoft.com/office/drawing/2014/main" id="{5F6874AB-90D3-45EF-81D5-17B34D70915E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5" name="Rechteck 714">
              <a:extLst>
                <a:ext uri="{FF2B5EF4-FFF2-40B4-BE49-F238E27FC236}">
                  <a16:creationId xmlns:a16="http://schemas.microsoft.com/office/drawing/2014/main" id="{E53E99BD-6D4F-2C79-AB72-B4B1F61F419E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6" name="Rechteck 715">
              <a:extLst>
                <a:ext uri="{FF2B5EF4-FFF2-40B4-BE49-F238E27FC236}">
                  <a16:creationId xmlns:a16="http://schemas.microsoft.com/office/drawing/2014/main" id="{38491A87-920F-5530-5598-C6848EA60DB7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7" name="Rechteck 716">
              <a:extLst>
                <a:ext uri="{FF2B5EF4-FFF2-40B4-BE49-F238E27FC236}">
                  <a16:creationId xmlns:a16="http://schemas.microsoft.com/office/drawing/2014/main" id="{7894266D-3166-F163-D5F1-F47CB304F95B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8" name="Rechteck 717">
              <a:extLst>
                <a:ext uri="{FF2B5EF4-FFF2-40B4-BE49-F238E27FC236}">
                  <a16:creationId xmlns:a16="http://schemas.microsoft.com/office/drawing/2014/main" id="{D37C443B-EE23-6B98-8A91-5D49EC030F31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9" name="Rechteck 718">
              <a:extLst>
                <a:ext uri="{FF2B5EF4-FFF2-40B4-BE49-F238E27FC236}">
                  <a16:creationId xmlns:a16="http://schemas.microsoft.com/office/drawing/2014/main" id="{C1A018C7-2A91-88A4-8DA0-E6847F9B93F9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0" name="Rechteck 719">
              <a:extLst>
                <a:ext uri="{FF2B5EF4-FFF2-40B4-BE49-F238E27FC236}">
                  <a16:creationId xmlns:a16="http://schemas.microsoft.com/office/drawing/2014/main" id="{6B137857-3FD1-2035-859B-549B8F4E3DFC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1" name="Rechteck 720">
              <a:extLst>
                <a:ext uri="{FF2B5EF4-FFF2-40B4-BE49-F238E27FC236}">
                  <a16:creationId xmlns:a16="http://schemas.microsoft.com/office/drawing/2014/main" id="{20761F8A-7EBC-19EC-46E2-E9908BAD417B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2" name="Rechteck 721">
              <a:extLst>
                <a:ext uri="{FF2B5EF4-FFF2-40B4-BE49-F238E27FC236}">
                  <a16:creationId xmlns:a16="http://schemas.microsoft.com/office/drawing/2014/main" id="{80AE10C6-E3F9-7526-15F4-05FAE072F32C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3" name="Rechteck 722">
              <a:extLst>
                <a:ext uri="{FF2B5EF4-FFF2-40B4-BE49-F238E27FC236}">
                  <a16:creationId xmlns:a16="http://schemas.microsoft.com/office/drawing/2014/main" id="{71B2E786-4BA5-DE88-4E93-C8DDF956BF48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4" name="Rechteck 723">
              <a:extLst>
                <a:ext uri="{FF2B5EF4-FFF2-40B4-BE49-F238E27FC236}">
                  <a16:creationId xmlns:a16="http://schemas.microsoft.com/office/drawing/2014/main" id="{CA54E93E-124F-EA7C-6CE8-F3403C2FADBF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5" name="Rechteck 724">
              <a:extLst>
                <a:ext uri="{FF2B5EF4-FFF2-40B4-BE49-F238E27FC236}">
                  <a16:creationId xmlns:a16="http://schemas.microsoft.com/office/drawing/2014/main" id="{200DF3AB-7EEC-424D-6395-4B9BE36C842B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6" name="Rechteck 725">
              <a:extLst>
                <a:ext uri="{FF2B5EF4-FFF2-40B4-BE49-F238E27FC236}">
                  <a16:creationId xmlns:a16="http://schemas.microsoft.com/office/drawing/2014/main" id="{F6564F97-8E27-BF3D-186D-E53D989394B3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7" name="Rechteck 726">
              <a:extLst>
                <a:ext uri="{FF2B5EF4-FFF2-40B4-BE49-F238E27FC236}">
                  <a16:creationId xmlns:a16="http://schemas.microsoft.com/office/drawing/2014/main" id="{A173284E-D6A5-3780-FBFA-3742C5A40C35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8" name="Rechteck 727">
              <a:extLst>
                <a:ext uri="{FF2B5EF4-FFF2-40B4-BE49-F238E27FC236}">
                  <a16:creationId xmlns:a16="http://schemas.microsoft.com/office/drawing/2014/main" id="{2B59DDEE-F1CC-1939-0A75-6040AE599823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9" name="Rechteck 728">
              <a:extLst>
                <a:ext uri="{FF2B5EF4-FFF2-40B4-BE49-F238E27FC236}">
                  <a16:creationId xmlns:a16="http://schemas.microsoft.com/office/drawing/2014/main" id="{559C252B-C216-F2F3-948A-D8316F811644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0" name="Rechteck 729">
              <a:extLst>
                <a:ext uri="{FF2B5EF4-FFF2-40B4-BE49-F238E27FC236}">
                  <a16:creationId xmlns:a16="http://schemas.microsoft.com/office/drawing/2014/main" id="{39CD628D-F89F-DF61-943C-B87A4FBB89C7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1" name="Rechteck 730">
              <a:extLst>
                <a:ext uri="{FF2B5EF4-FFF2-40B4-BE49-F238E27FC236}">
                  <a16:creationId xmlns:a16="http://schemas.microsoft.com/office/drawing/2014/main" id="{E04CC576-2864-4D55-46B8-EA54FB5EFCD5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2" name="Rechteck 731">
              <a:extLst>
                <a:ext uri="{FF2B5EF4-FFF2-40B4-BE49-F238E27FC236}">
                  <a16:creationId xmlns:a16="http://schemas.microsoft.com/office/drawing/2014/main" id="{0E13CFB1-DFFC-FDBA-CAF5-D983C2362A4F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3" name="Rechteck 732">
              <a:extLst>
                <a:ext uri="{FF2B5EF4-FFF2-40B4-BE49-F238E27FC236}">
                  <a16:creationId xmlns:a16="http://schemas.microsoft.com/office/drawing/2014/main" id="{A26A2C27-EC25-0B41-8F83-20CD10473790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4" name="Rechteck 733">
              <a:extLst>
                <a:ext uri="{FF2B5EF4-FFF2-40B4-BE49-F238E27FC236}">
                  <a16:creationId xmlns:a16="http://schemas.microsoft.com/office/drawing/2014/main" id="{D1B547CD-34FC-8AC3-8476-3A0508CF6116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5" name="Rechteck 734">
              <a:extLst>
                <a:ext uri="{FF2B5EF4-FFF2-40B4-BE49-F238E27FC236}">
                  <a16:creationId xmlns:a16="http://schemas.microsoft.com/office/drawing/2014/main" id="{C8277C31-17B4-66CE-F32D-1685C3E7ABA0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6" name="Rechteck 735">
              <a:extLst>
                <a:ext uri="{FF2B5EF4-FFF2-40B4-BE49-F238E27FC236}">
                  <a16:creationId xmlns:a16="http://schemas.microsoft.com/office/drawing/2014/main" id="{7BA1A5A3-2BEB-504C-5A6B-CE2F5D833864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7" name="Rechteck 736">
              <a:extLst>
                <a:ext uri="{FF2B5EF4-FFF2-40B4-BE49-F238E27FC236}">
                  <a16:creationId xmlns:a16="http://schemas.microsoft.com/office/drawing/2014/main" id="{91460C36-774F-F2A3-ED6B-9E03B9334DE8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8" name="Rechteck 737">
              <a:extLst>
                <a:ext uri="{FF2B5EF4-FFF2-40B4-BE49-F238E27FC236}">
                  <a16:creationId xmlns:a16="http://schemas.microsoft.com/office/drawing/2014/main" id="{555EF7C9-6979-30B9-EC2E-3082DC9CD691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9" name="Rechteck 738">
              <a:extLst>
                <a:ext uri="{FF2B5EF4-FFF2-40B4-BE49-F238E27FC236}">
                  <a16:creationId xmlns:a16="http://schemas.microsoft.com/office/drawing/2014/main" id="{ACB9DA70-14D8-6035-EE82-94D4FEC9728D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0" name="Rechteck 739">
              <a:extLst>
                <a:ext uri="{FF2B5EF4-FFF2-40B4-BE49-F238E27FC236}">
                  <a16:creationId xmlns:a16="http://schemas.microsoft.com/office/drawing/2014/main" id="{B8894396-805A-AC34-4FBD-E79C77390529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1" name="Rechteck 740">
              <a:extLst>
                <a:ext uri="{FF2B5EF4-FFF2-40B4-BE49-F238E27FC236}">
                  <a16:creationId xmlns:a16="http://schemas.microsoft.com/office/drawing/2014/main" id="{FA820CD6-A1CE-D9E3-92E5-B88356F2E355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2" name="Rechteck 741">
              <a:extLst>
                <a:ext uri="{FF2B5EF4-FFF2-40B4-BE49-F238E27FC236}">
                  <a16:creationId xmlns:a16="http://schemas.microsoft.com/office/drawing/2014/main" id="{55A5F9E9-99EE-F746-31E9-E8F28AF9FC65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3" name="Rechteck 742">
              <a:extLst>
                <a:ext uri="{FF2B5EF4-FFF2-40B4-BE49-F238E27FC236}">
                  <a16:creationId xmlns:a16="http://schemas.microsoft.com/office/drawing/2014/main" id="{C0E2C640-67F2-9CA1-A9F1-7392BEC708E2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4" name="Rechteck 743">
              <a:extLst>
                <a:ext uri="{FF2B5EF4-FFF2-40B4-BE49-F238E27FC236}">
                  <a16:creationId xmlns:a16="http://schemas.microsoft.com/office/drawing/2014/main" id="{F887F251-67DA-86FE-211E-4400C82524EC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5" name="Rechteck 744">
              <a:extLst>
                <a:ext uri="{FF2B5EF4-FFF2-40B4-BE49-F238E27FC236}">
                  <a16:creationId xmlns:a16="http://schemas.microsoft.com/office/drawing/2014/main" id="{0C57C643-D247-B9EE-EB49-ADA84E1F98CE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6" name="Rechteck 745">
              <a:extLst>
                <a:ext uri="{FF2B5EF4-FFF2-40B4-BE49-F238E27FC236}">
                  <a16:creationId xmlns:a16="http://schemas.microsoft.com/office/drawing/2014/main" id="{614002DF-8E0E-38E5-7241-30D38FDE062D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7" name="Rechteck 746">
              <a:extLst>
                <a:ext uri="{FF2B5EF4-FFF2-40B4-BE49-F238E27FC236}">
                  <a16:creationId xmlns:a16="http://schemas.microsoft.com/office/drawing/2014/main" id="{35DD3BCA-5AA6-297B-9620-01ABB6873F60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8" name="Rechteck 747">
              <a:extLst>
                <a:ext uri="{FF2B5EF4-FFF2-40B4-BE49-F238E27FC236}">
                  <a16:creationId xmlns:a16="http://schemas.microsoft.com/office/drawing/2014/main" id="{9653A8BD-3271-3F53-E95E-7E7E4DCF1F33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9" name="Rechteck 748">
              <a:extLst>
                <a:ext uri="{FF2B5EF4-FFF2-40B4-BE49-F238E27FC236}">
                  <a16:creationId xmlns:a16="http://schemas.microsoft.com/office/drawing/2014/main" id="{2C58E5A5-E015-186E-04EA-FDD526282F7F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0" name="Rechteck 749">
              <a:extLst>
                <a:ext uri="{FF2B5EF4-FFF2-40B4-BE49-F238E27FC236}">
                  <a16:creationId xmlns:a16="http://schemas.microsoft.com/office/drawing/2014/main" id="{85C2314E-F696-6015-9110-4F4952266571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1" name="Rechteck 750">
              <a:extLst>
                <a:ext uri="{FF2B5EF4-FFF2-40B4-BE49-F238E27FC236}">
                  <a16:creationId xmlns:a16="http://schemas.microsoft.com/office/drawing/2014/main" id="{92318C51-7765-FD00-2606-63C7D817A4C8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2" name="Rechteck 751">
              <a:extLst>
                <a:ext uri="{FF2B5EF4-FFF2-40B4-BE49-F238E27FC236}">
                  <a16:creationId xmlns:a16="http://schemas.microsoft.com/office/drawing/2014/main" id="{6F4FBB76-9048-534C-6828-4BC1B4A70E34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3" name="Rechteck 752">
              <a:extLst>
                <a:ext uri="{FF2B5EF4-FFF2-40B4-BE49-F238E27FC236}">
                  <a16:creationId xmlns:a16="http://schemas.microsoft.com/office/drawing/2014/main" id="{DB379BD7-0ABD-6B12-E6A2-3ABE82055916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4" name="Rechteck 753">
              <a:extLst>
                <a:ext uri="{FF2B5EF4-FFF2-40B4-BE49-F238E27FC236}">
                  <a16:creationId xmlns:a16="http://schemas.microsoft.com/office/drawing/2014/main" id="{F739147A-60FC-D015-FC42-1CDFA8A0703B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5" name="Rechteck 754">
              <a:extLst>
                <a:ext uri="{FF2B5EF4-FFF2-40B4-BE49-F238E27FC236}">
                  <a16:creationId xmlns:a16="http://schemas.microsoft.com/office/drawing/2014/main" id="{32B26F5F-82E5-0B80-CE4E-63BE1E245A5B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6" name="Rechteck 755">
              <a:extLst>
                <a:ext uri="{FF2B5EF4-FFF2-40B4-BE49-F238E27FC236}">
                  <a16:creationId xmlns:a16="http://schemas.microsoft.com/office/drawing/2014/main" id="{00E43CA4-F794-FFDB-7B1B-F29AA0CA6AAC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7" name="Rechteck 756">
              <a:extLst>
                <a:ext uri="{FF2B5EF4-FFF2-40B4-BE49-F238E27FC236}">
                  <a16:creationId xmlns:a16="http://schemas.microsoft.com/office/drawing/2014/main" id="{CBE23FAD-397E-83F9-607A-01A7AFF8DD40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8" name="Rechteck 757">
              <a:extLst>
                <a:ext uri="{FF2B5EF4-FFF2-40B4-BE49-F238E27FC236}">
                  <a16:creationId xmlns:a16="http://schemas.microsoft.com/office/drawing/2014/main" id="{3BF5BB13-3A93-9A16-7724-6AA699B2DCDF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9" name="Rechteck 758">
              <a:extLst>
                <a:ext uri="{FF2B5EF4-FFF2-40B4-BE49-F238E27FC236}">
                  <a16:creationId xmlns:a16="http://schemas.microsoft.com/office/drawing/2014/main" id="{4ED17F19-251B-8BAA-346C-E60B48838898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0" name="Rechteck 759">
              <a:extLst>
                <a:ext uri="{FF2B5EF4-FFF2-40B4-BE49-F238E27FC236}">
                  <a16:creationId xmlns:a16="http://schemas.microsoft.com/office/drawing/2014/main" id="{62AFAA44-AE58-52FE-6037-68669DFB7594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1" name="Rechteck 760">
              <a:extLst>
                <a:ext uri="{FF2B5EF4-FFF2-40B4-BE49-F238E27FC236}">
                  <a16:creationId xmlns:a16="http://schemas.microsoft.com/office/drawing/2014/main" id="{CBBE803C-0F58-7BCE-35C1-AB4B385C201C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2" name="Rechteck 761">
              <a:extLst>
                <a:ext uri="{FF2B5EF4-FFF2-40B4-BE49-F238E27FC236}">
                  <a16:creationId xmlns:a16="http://schemas.microsoft.com/office/drawing/2014/main" id="{B21BC56D-4481-DD58-BEB8-E76BCAC6A599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3" name="Rechteck 762">
              <a:extLst>
                <a:ext uri="{FF2B5EF4-FFF2-40B4-BE49-F238E27FC236}">
                  <a16:creationId xmlns:a16="http://schemas.microsoft.com/office/drawing/2014/main" id="{6482F971-EB85-B5AB-2FB7-EC7A806B3E79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4" name="Rechteck 763">
              <a:extLst>
                <a:ext uri="{FF2B5EF4-FFF2-40B4-BE49-F238E27FC236}">
                  <a16:creationId xmlns:a16="http://schemas.microsoft.com/office/drawing/2014/main" id="{017F2FD2-3EEB-4038-7BAF-F9783B0617C7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5" name="Rechteck 764">
              <a:extLst>
                <a:ext uri="{FF2B5EF4-FFF2-40B4-BE49-F238E27FC236}">
                  <a16:creationId xmlns:a16="http://schemas.microsoft.com/office/drawing/2014/main" id="{45CD61B6-82BA-5769-362C-A2FDCC6F2703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6" name="Rechteck 765">
              <a:extLst>
                <a:ext uri="{FF2B5EF4-FFF2-40B4-BE49-F238E27FC236}">
                  <a16:creationId xmlns:a16="http://schemas.microsoft.com/office/drawing/2014/main" id="{44748873-2925-9CFF-2827-4D236038F27C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7" name="Rechteck 766">
              <a:extLst>
                <a:ext uri="{FF2B5EF4-FFF2-40B4-BE49-F238E27FC236}">
                  <a16:creationId xmlns:a16="http://schemas.microsoft.com/office/drawing/2014/main" id="{8BFE5B1C-594E-B043-BC3F-70F7CB484846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8" name="Rechteck 767">
              <a:extLst>
                <a:ext uri="{FF2B5EF4-FFF2-40B4-BE49-F238E27FC236}">
                  <a16:creationId xmlns:a16="http://schemas.microsoft.com/office/drawing/2014/main" id="{0EB16FBD-E362-B885-DADD-0AA54A43C10E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9" name="Rechteck 768">
              <a:extLst>
                <a:ext uri="{FF2B5EF4-FFF2-40B4-BE49-F238E27FC236}">
                  <a16:creationId xmlns:a16="http://schemas.microsoft.com/office/drawing/2014/main" id="{746EC133-5431-AB2F-0704-E0610112E2F9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0" name="Rechteck 769">
              <a:extLst>
                <a:ext uri="{FF2B5EF4-FFF2-40B4-BE49-F238E27FC236}">
                  <a16:creationId xmlns:a16="http://schemas.microsoft.com/office/drawing/2014/main" id="{A1F91567-8AB0-00A3-9A48-97E4F29763EC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1" name="Rechteck 770">
              <a:extLst>
                <a:ext uri="{FF2B5EF4-FFF2-40B4-BE49-F238E27FC236}">
                  <a16:creationId xmlns:a16="http://schemas.microsoft.com/office/drawing/2014/main" id="{B97C7ACF-C7E6-8114-8D47-9FB72024A625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2" name="Rechteck 771">
              <a:extLst>
                <a:ext uri="{FF2B5EF4-FFF2-40B4-BE49-F238E27FC236}">
                  <a16:creationId xmlns:a16="http://schemas.microsoft.com/office/drawing/2014/main" id="{C629A43D-B4FE-BBB9-1F2F-641AA8123BFA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3" name="Rechteck 772">
              <a:extLst>
                <a:ext uri="{FF2B5EF4-FFF2-40B4-BE49-F238E27FC236}">
                  <a16:creationId xmlns:a16="http://schemas.microsoft.com/office/drawing/2014/main" id="{3C593A7A-2397-B5CC-616C-A59E8B4E188B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4" name="Rechteck 773">
              <a:extLst>
                <a:ext uri="{FF2B5EF4-FFF2-40B4-BE49-F238E27FC236}">
                  <a16:creationId xmlns:a16="http://schemas.microsoft.com/office/drawing/2014/main" id="{45B83485-3E82-029C-0E78-CA0B93851329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5" name="Rechteck 774">
              <a:extLst>
                <a:ext uri="{FF2B5EF4-FFF2-40B4-BE49-F238E27FC236}">
                  <a16:creationId xmlns:a16="http://schemas.microsoft.com/office/drawing/2014/main" id="{E1F46FAD-552F-80A0-65A2-31C474169671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6" name="Rechteck 775">
              <a:extLst>
                <a:ext uri="{FF2B5EF4-FFF2-40B4-BE49-F238E27FC236}">
                  <a16:creationId xmlns:a16="http://schemas.microsoft.com/office/drawing/2014/main" id="{F7B7402D-4FA8-A417-1714-664CBBF459BB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7" name="Rechteck 776">
              <a:extLst>
                <a:ext uri="{FF2B5EF4-FFF2-40B4-BE49-F238E27FC236}">
                  <a16:creationId xmlns:a16="http://schemas.microsoft.com/office/drawing/2014/main" id="{1DDCE34A-DEEE-CDDD-CCF2-C75B0728DFE4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8" name="Rechteck 777">
              <a:extLst>
                <a:ext uri="{FF2B5EF4-FFF2-40B4-BE49-F238E27FC236}">
                  <a16:creationId xmlns:a16="http://schemas.microsoft.com/office/drawing/2014/main" id="{AA8E2BD9-4689-FF77-3759-CA0633D32F93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9" name="Rechteck 778">
              <a:extLst>
                <a:ext uri="{FF2B5EF4-FFF2-40B4-BE49-F238E27FC236}">
                  <a16:creationId xmlns:a16="http://schemas.microsoft.com/office/drawing/2014/main" id="{0BA198B4-63D5-5188-25B8-68FCC1FBA19D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80" name="Rechteck 779">
              <a:extLst>
                <a:ext uri="{FF2B5EF4-FFF2-40B4-BE49-F238E27FC236}">
                  <a16:creationId xmlns:a16="http://schemas.microsoft.com/office/drawing/2014/main" id="{8A19EF65-2CCE-8C4B-74C2-1C694C7AD6BD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81" name="Rechteck 780">
              <a:extLst>
                <a:ext uri="{FF2B5EF4-FFF2-40B4-BE49-F238E27FC236}">
                  <a16:creationId xmlns:a16="http://schemas.microsoft.com/office/drawing/2014/main" id="{1964D5B3-00AD-7675-1B53-BEF714F02F23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82" name="Rechteck 781">
              <a:extLst>
                <a:ext uri="{FF2B5EF4-FFF2-40B4-BE49-F238E27FC236}">
                  <a16:creationId xmlns:a16="http://schemas.microsoft.com/office/drawing/2014/main" id="{DA24335F-AFC5-57F6-9D7D-4770CD89830C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83" name="Rechteck 782">
              <a:extLst>
                <a:ext uri="{FF2B5EF4-FFF2-40B4-BE49-F238E27FC236}">
                  <a16:creationId xmlns:a16="http://schemas.microsoft.com/office/drawing/2014/main" id="{D14F546B-CD24-1F74-462B-10BE703C7E2E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84" name="Rechteck 783">
              <a:extLst>
                <a:ext uri="{FF2B5EF4-FFF2-40B4-BE49-F238E27FC236}">
                  <a16:creationId xmlns:a16="http://schemas.microsoft.com/office/drawing/2014/main" id="{14C72AFE-E5EB-233A-2ECC-08E836943BD0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pic>
        <p:nvPicPr>
          <p:cNvPr id="391" name="Logo">
            <a:extLst>
              <a:ext uri="{FF2B5EF4-FFF2-40B4-BE49-F238E27FC236}">
                <a16:creationId xmlns:a16="http://schemas.microsoft.com/office/drawing/2014/main" id="{189AA4E2-F69B-B109-85F0-901CA503F8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  <p:grpSp>
        <p:nvGrpSpPr>
          <p:cNvPr id="392" name="Gruppieren 391">
            <a:extLst>
              <a:ext uri="{FF2B5EF4-FFF2-40B4-BE49-F238E27FC236}">
                <a16:creationId xmlns:a16="http://schemas.microsoft.com/office/drawing/2014/main" id="{701F0DA0-628B-0B40-98E7-97AB8CD4A4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9160" y="2082829"/>
            <a:ext cx="2448000" cy="0"/>
            <a:chOff x="983432" y="2082829"/>
            <a:chExt cx="2448000" cy="0"/>
          </a:xfrm>
        </p:grpSpPr>
        <p:cxnSp>
          <p:nvCxnSpPr>
            <p:cNvPr id="393" name="Line">
              <a:extLst>
                <a:ext uri="{FF2B5EF4-FFF2-40B4-BE49-F238E27FC236}">
                  <a16:creationId xmlns:a16="http://schemas.microsoft.com/office/drawing/2014/main" id="{48F79076-DD72-4841-D656-08D5F11BC78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4" name="Line">
              <a:extLst>
                <a:ext uri="{FF2B5EF4-FFF2-40B4-BE49-F238E27FC236}">
                  <a16:creationId xmlns:a16="http://schemas.microsoft.com/office/drawing/2014/main" id="{177C427B-5B00-95DD-C64E-A6DCB40DFDE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0" name="Shape">
            <a:extLst>
              <a:ext uri="{FF2B5EF4-FFF2-40B4-BE49-F238E27FC236}">
                <a16:creationId xmlns:a16="http://schemas.microsoft.com/office/drawing/2014/main" id="{6C190A2C-5CF4-F4F1-FEBA-00847E6DD6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1400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95" name="Title">
            <a:extLst>
              <a:ext uri="{FF2B5EF4-FFF2-40B4-BE49-F238E27FC236}">
                <a16:creationId xmlns:a16="http://schemas.microsoft.com/office/drawing/2014/main" id="{563ACDD7-4CAB-D04C-4575-B18CE6AE09F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695728" y="2565032"/>
            <a:ext cx="2952000" cy="1152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36000" rIns="216000" anchor="t">
            <a:noAutofit/>
          </a:bodyPr>
          <a:lstStyle>
            <a:lvl1pPr algn="l">
              <a:lnSpc>
                <a:spcPct val="90000"/>
              </a:lnSpc>
              <a:defRPr sz="2400"/>
            </a:lvl1pPr>
          </a:lstStyle>
          <a:p>
            <a:r>
              <a:rPr lang="en-GB"/>
              <a:t>Insert your long title here in max. three lines</a:t>
            </a:r>
          </a:p>
        </p:txBody>
      </p:sp>
      <p:sp>
        <p:nvSpPr>
          <p:cNvPr id="396" name="Subtitle 2">
            <a:extLst>
              <a:ext uri="{FF2B5EF4-FFF2-40B4-BE49-F238E27FC236}">
                <a16:creationId xmlns:a16="http://schemas.microsoft.com/office/drawing/2014/main" id="{A1C44B46-2A54-7005-61AA-44280E3A6E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728" y="3717032"/>
            <a:ext cx="2952000" cy="1058353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397" name="Author">
            <a:extLst>
              <a:ext uri="{FF2B5EF4-FFF2-40B4-BE49-F238E27FC236}">
                <a16:creationId xmlns:a16="http://schemas.microsoft.com/office/drawing/2014/main" id="{2046D7C3-DEE4-FEC0-1342-5EEBC1C3C0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728" y="4869160"/>
            <a:ext cx="2952000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GB"/>
              <a:t>First name Last name</a:t>
            </a:r>
          </a:p>
        </p:txBody>
      </p:sp>
      <p:sp>
        <p:nvSpPr>
          <p:cNvPr id="398" name="Department, Date">
            <a:extLst>
              <a:ext uri="{FF2B5EF4-FFF2-40B4-BE49-F238E27FC236}">
                <a16:creationId xmlns:a16="http://schemas.microsoft.com/office/drawing/2014/main" id="{2BBB8A8B-C5D0-C27F-7D76-13F119AE81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728" y="5085160"/>
            <a:ext cx="2952000" cy="504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GB"/>
              <a:t>Department</a:t>
            </a:r>
            <a:br>
              <a:rPr lang="en-GB"/>
            </a:br>
            <a:r>
              <a:rPr lang="en-GB"/>
              <a:t>DD/MM/YYYY</a:t>
            </a:r>
          </a:p>
        </p:txBody>
      </p:sp>
      <p:sp>
        <p:nvSpPr>
          <p:cNvPr id="399" name="Picture">
            <a:extLst>
              <a:ext uri="{FF2B5EF4-FFF2-40B4-BE49-F238E27FC236}">
                <a16:creationId xmlns:a16="http://schemas.microsoft.com/office/drawing/2014/main" id="{F7C72FB3-FFDE-F443-540E-3F4FBD0EEC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367809" y="2061400"/>
            <a:ext cx="5775177" cy="3463099"/>
          </a:xfrm>
          <a:custGeom>
            <a:avLst/>
            <a:gdLst>
              <a:gd name="connsiteX0" fmla="*/ 5775177 w 5775177"/>
              <a:gd name="connsiteY0" fmla="*/ 0 h 3463099"/>
              <a:gd name="connsiteX1" fmla="*/ 4621085 w 5775177"/>
              <a:gd name="connsiteY1" fmla="*/ 2311556 h 3463099"/>
              <a:gd name="connsiteX2" fmla="*/ 0 w 5775177"/>
              <a:gd name="connsiteY2" fmla="*/ 3463099 h 3463099"/>
              <a:gd name="connsiteX3" fmla="*/ 0 w 5775177"/>
              <a:gd name="connsiteY3" fmla="*/ 518 h 3463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5177" h="3463099">
                <a:moveTo>
                  <a:pt x="5775177" y="0"/>
                </a:moveTo>
                <a:lnTo>
                  <a:pt x="4621085" y="2311556"/>
                </a:lnTo>
                <a:lnTo>
                  <a:pt x="0" y="3463099"/>
                </a:lnTo>
                <a:lnTo>
                  <a:pt x="0" y="518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742787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with picture |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8DDE3C4-8204-7061-3383-8F9AF5C887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3521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8DDE3C4-8204-7061-3383-8F9AF5C887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5" name="Gruppieren 594">
            <a:extLst>
              <a:ext uri="{FF2B5EF4-FFF2-40B4-BE49-F238E27FC236}">
                <a16:creationId xmlns:a16="http://schemas.microsoft.com/office/drawing/2014/main" id="{939961D4-BB14-B695-95E3-8030942D4F68}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596" name="Rechteck 595">
              <a:extLst>
                <a:ext uri="{FF2B5EF4-FFF2-40B4-BE49-F238E27FC236}">
                  <a16:creationId xmlns:a16="http://schemas.microsoft.com/office/drawing/2014/main" id="{E492F1E0-49D2-7856-8688-23CEDFB7CE35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7" name="Rechteck 596">
              <a:extLst>
                <a:ext uri="{FF2B5EF4-FFF2-40B4-BE49-F238E27FC236}">
                  <a16:creationId xmlns:a16="http://schemas.microsoft.com/office/drawing/2014/main" id="{8704A1AA-1A7F-0D19-F324-50AF97D3C8D4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8" name="Rechteck 597">
              <a:extLst>
                <a:ext uri="{FF2B5EF4-FFF2-40B4-BE49-F238E27FC236}">
                  <a16:creationId xmlns:a16="http://schemas.microsoft.com/office/drawing/2014/main" id="{7B29536E-98CE-E40E-736D-34428A5E3879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9" name="Rechteck 598">
              <a:extLst>
                <a:ext uri="{FF2B5EF4-FFF2-40B4-BE49-F238E27FC236}">
                  <a16:creationId xmlns:a16="http://schemas.microsoft.com/office/drawing/2014/main" id="{EC4187C4-BDBD-73BD-41FF-53B6DD3ADC6B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0" name="Rechteck 599">
              <a:extLst>
                <a:ext uri="{FF2B5EF4-FFF2-40B4-BE49-F238E27FC236}">
                  <a16:creationId xmlns:a16="http://schemas.microsoft.com/office/drawing/2014/main" id="{451DFB31-B26A-6309-2E76-EF1B9AA0E5BB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1" name="Rechteck 600">
              <a:extLst>
                <a:ext uri="{FF2B5EF4-FFF2-40B4-BE49-F238E27FC236}">
                  <a16:creationId xmlns:a16="http://schemas.microsoft.com/office/drawing/2014/main" id="{5552DE8A-1D99-8BF5-17D7-5062E83235B2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2" name="Rechteck 601">
              <a:extLst>
                <a:ext uri="{FF2B5EF4-FFF2-40B4-BE49-F238E27FC236}">
                  <a16:creationId xmlns:a16="http://schemas.microsoft.com/office/drawing/2014/main" id="{780505B3-6781-E362-570A-65C9965CC26B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3" name="Rechteck 602">
              <a:extLst>
                <a:ext uri="{FF2B5EF4-FFF2-40B4-BE49-F238E27FC236}">
                  <a16:creationId xmlns:a16="http://schemas.microsoft.com/office/drawing/2014/main" id="{F49B613E-1BB7-CE2F-A304-E5C99E059A0F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4" name="Rechteck 603">
              <a:extLst>
                <a:ext uri="{FF2B5EF4-FFF2-40B4-BE49-F238E27FC236}">
                  <a16:creationId xmlns:a16="http://schemas.microsoft.com/office/drawing/2014/main" id="{22BC273F-1E27-7D0F-541B-52B370E08B5C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5" name="Rechteck 604">
              <a:extLst>
                <a:ext uri="{FF2B5EF4-FFF2-40B4-BE49-F238E27FC236}">
                  <a16:creationId xmlns:a16="http://schemas.microsoft.com/office/drawing/2014/main" id="{D3A3C09B-2F9A-0436-73C0-ADB42FD68F7C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6" name="Rechteck 605">
              <a:extLst>
                <a:ext uri="{FF2B5EF4-FFF2-40B4-BE49-F238E27FC236}">
                  <a16:creationId xmlns:a16="http://schemas.microsoft.com/office/drawing/2014/main" id="{162A8B49-C92A-3F7E-2FB6-CCBC9CF3F448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7" name="Rechteck 606">
              <a:extLst>
                <a:ext uri="{FF2B5EF4-FFF2-40B4-BE49-F238E27FC236}">
                  <a16:creationId xmlns:a16="http://schemas.microsoft.com/office/drawing/2014/main" id="{C52E83EF-0EEA-4E7F-9387-030F74B5C483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8" name="Rechteck 607">
              <a:extLst>
                <a:ext uri="{FF2B5EF4-FFF2-40B4-BE49-F238E27FC236}">
                  <a16:creationId xmlns:a16="http://schemas.microsoft.com/office/drawing/2014/main" id="{AE6FF4EF-5054-4199-8E6D-ECBA9F1ADDC2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9" name="Rechteck 608">
              <a:extLst>
                <a:ext uri="{FF2B5EF4-FFF2-40B4-BE49-F238E27FC236}">
                  <a16:creationId xmlns:a16="http://schemas.microsoft.com/office/drawing/2014/main" id="{AE21E1BE-EF1B-80CD-F139-F8586D590939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0" name="Rechteck 609">
              <a:extLst>
                <a:ext uri="{FF2B5EF4-FFF2-40B4-BE49-F238E27FC236}">
                  <a16:creationId xmlns:a16="http://schemas.microsoft.com/office/drawing/2014/main" id="{94B589FE-8416-8393-7DA8-8AB1C05A4ED7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1" name="Rechteck 610">
              <a:extLst>
                <a:ext uri="{FF2B5EF4-FFF2-40B4-BE49-F238E27FC236}">
                  <a16:creationId xmlns:a16="http://schemas.microsoft.com/office/drawing/2014/main" id="{D0282754-D14B-B7E0-48B6-174276C5D284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2" name="Rechteck 611">
              <a:extLst>
                <a:ext uri="{FF2B5EF4-FFF2-40B4-BE49-F238E27FC236}">
                  <a16:creationId xmlns:a16="http://schemas.microsoft.com/office/drawing/2014/main" id="{009A2BE9-CCA7-DDC0-1C8C-B322A93566BD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3" name="Rechteck 612">
              <a:extLst>
                <a:ext uri="{FF2B5EF4-FFF2-40B4-BE49-F238E27FC236}">
                  <a16:creationId xmlns:a16="http://schemas.microsoft.com/office/drawing/2014/main" id="{E5BFBFC2-A2A0-4C40-BD06-3F7D66689B25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4" name="Rechteck 613">
              <a:extLst>
                <a:ext uri="{FF2B5EF4-FFF2-40B4-BE49-F238E27FC236}">
                  <a16:creationId xmlns:a16="http://schemas.microsoft.com/office/drawing/2014/main" id="{9C6D0251-28A6-B419-21DE-6E0ACF81C919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5" name="Rechteck 614">
              <a:extLst>
                <a:ext uri="{FF2B5EF4-FFF2-40B4-BE49-F238E27FC236}">
                  <a16:creationId xmlns:a16="http://schemas.microsoft.com/office/drawing/2014/main" id="{1EBC05D9-A63F-48DB-68C0-9C4F1864A796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6" name="Rechteck 615">
              <a:extLst>
                <a:ext uri="{FF2B5EF4-FFF2-40B4-BE49-F238E27FC236}">
                  <a16:creationId xmlns:a16="http://schemas.microsoft.com/office/drawing/2014/main" id="{794A7827-84BF-05D9-DD13-CA9C8B044306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7" name="Rechteck 616">
              <a:extLst>
                <a:ext uri="{FF2B5EF4-FFF2-40B4-BE49-F238E27FC236}">
                  <a16:creationId xmlns:a16="http://schemas.microsoft.com/office/drawing/2014/main" id="{EEE13BD8-BCF8-299D-9D26-FD503DD564AE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8" name="Rechteck 617">
              <a:extLst>
                <a:ext uri="{FF2B5EF4-FFF2-40B4-BE49-F238E27FC236}">
                  <a16:creationId xmlns:a16="http://schemas.microsoft.com/office/drawing/2014/main" id="{84ACF3E5-333C-2847-B39E-E17B5BAA84B7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9" name="Rechteck 618">
              <a:extLst>
                <a:ext uri="{FF2B5EF4-FFF2-40B4-BE49-F238E27FC236}">
                  <a16:creationId xmlns:a16="http://schemas.microsoft.com/office/drawing/2014/main" id="{6BC077A5-97F1-8649-44C4-D39D3E7D4BDD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0" name="Rechteck 619">
              <a:extLst>
                <a:ext uri="{FF2B5EF4-FFF2-40B4-BE49-F238E27FC236}">
                  <a16:creationId xmlns:a16="http://schemas.microsoft.com/office/drawing/2014/main" id="{F95D8E2D-C6F0-5893-DF21-5D718C363DE4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1" name="Rechteck 620">
              <a:extLst>
                <a:ext uri="{FF2B5EF4-FFF2-40B4-BE49-F238E27FC236}">
                  <a16:creationId xmlns:a16="http://schemas.microsoft.com/office/drawing/2014/main" id="{206B3B12-2107-54B3-9026-606C04334BE3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2" name="Rechteck 621">
              <a:extLst>
                <a:ext uri="{FF2B5EF4-FFF2-40B4-BE49-F238E27FC236}">
                  <a16:creationId xmlns:a16="http://schemas.microsoft.com/office/drawing/2014/main" id="{140A08C7-AB05-4EA2-A6CB-73D0E3C5E2BF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3" name="Rechteck 622">
              <a:extLst>
                <a:ext uri="{FF2B5EF4-FFF2-40B4-BE49-F238E27FC236}">
                  <a16:creationId xmlns:a16="http://schemas.microsoft.com/office/drawing/2014/main" id="{1BB5F940-8610-E989-425C-EDC6615286E0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4" name="Rechteck 623">
              <a:extLst>
                <a:ext uri="{FF2B5EF4-FFF2-40B4-BE49-F238E27FC236}">
                  <a16:creationId xmlns:a16="http://schemas.microsoft.com/office/drawing/2014/main" id="{296F8B04-C5EF-70BB-4784-9FED0EE31E4D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5" name="Rechteck 624">
              <a:extLst>
                <a:ext uri="{FF2B5EF4-FFF2-40B4-BE49-F238E27FC236}">
                  <a16:creationId xmlns:a16="http://schemas.microsoft.com/office/drawing/2014/main" id="{A560F38D-B556-07C0-D372-5DD77EB9D01B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6" name="Rechteck 625">
              <a:extLst>
                <a:ext uri="{FF2B5EF4-FFF2-40B4-BE49-F238E27FC236}">
                  <a16:creationId xmlns:a16="http://schemas.microsoft.com/office/drawing/2014/main" id="{BCEB2EF0-E3D3-AAD0-1199-FE16AD50A5AA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7" name="Rechteck 626">
              <a:extLst>
                <a:ext uri="{FF2B5EF4-FFF2-40B4-BE49-F238E27FC236}">
                  <a16:creationId xmlns:a16="http://schemas.microsoft.com/office/drawing/2014/main" id="{395443FA-D762-5887-B658-E2ACC7C4DF28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8" name="Rechteck 627">
              <a:extLst>
                <a:ext uri="{FF2B5EF4-FFF2-40B4-BE49-F238E27FC236}">
                  <a16:creationId xmlns:a16="http://schemas.microsoft.com/office/drawing/2014/main" id="{118F0D79-5B1D-8371-E5FA-3F325C857199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9" name="Rechteck 628">
              <a:extLst>
                <a:ext uri="{FF2B5EF4-FFF2-40B4-BE49-F238E27FC236}">
                  <a16:creationId xmlns:a16="http://schemas.microsoft.com/office/drawing/2014/main" id="{D95B3FB6-03A9-04F4-7005-145906A6F913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0" name="Rechteck 629">
              <a:extLst>
                <a:ext uri="{FF2B5EF4-FFF2-40B4-BE49-F238E27FC236}">
                  <a16:creationId xmlns:a16="http://schemas.microsoft.com/office/drawing/2014/main" id="{3671FA43-9AE3-28E3-F89B-6CFCC2F985F2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1" name="Rechteck 630">
              <a:extLst>
                <a:ext uri="{FF2B5EF4-FFF2-40B4-BE49-F238E27FC236}">
                  <a16:creationId xmlns:a16="http://schemas.microsoft.com/office/drawing/2014/main" id="{53FF5D0E-56CD-66EB-1D01-8F4042C2AFD0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2" name="Rechteck 631">
              <a:extLst>
                <a:ext uri="{FF2B5EF4-FFF2-40B4-BE49-F238E27FC236}">
                  <a16:creationId xmlns:a16="http://schemas.microsoft.com/office/drawing/2014/main" id="{431D5C86-5F83-268E-1E97-ABA89540E719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3" name="Rechteck 632">
              <a:extLst>
                <a:ext uri="{FF2B5EF4-FFF2-40B4-BE49-F238E27FC236}">
                  <a16:creationId xmlns:a16="http://schemas.microsoft.com/office/drawing/2014/main" id="{B8EA9DF9-E9AD-BF8A-0CE6-0EDBDA80D7BA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4" name="Rechteck 633">
              <a:extLst>
                <a:ext uri="{FF2B5EF4-FFF2-40B4-BE49-F238E27FC236}">
                  <a16:creationId xmlns:a16="http://schemas.microsoft.com/office/drawing/2014/main" id="{6D97D6F1-5B59-752E-D961-FC6EE9CFE22A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5" name="Rechteck 634">
              <a:extLst>
                <a:ext uri="{FF2B5EF4-FFF2-40B4-BE49-F238E27FC236}">
                  <a16:creationId xmlns:a16="http://schemas.microsoft.com/office/drawing/2014/main" id="{A1226D9C-BE6D-DE6C-EA21-FE9680647E7F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6" name="Rechteck 635">
              <a:extLst>
                <a:ext uri="{FF2B5EF4-FFF2-40B4-BE49-F238E27FC236}">
                  <a16:creationId xmlns:a16="http://schemas.microsoft.com/office/drawing/2014/main" id="{64CBCC03-655E-CECB-0C8E-C253E198F5C0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7" name="Rechteck 636">
              <a:extLst>
                <a:ext uri="{FF2B5EF4-FFF2-40B4-BE49-F238E27FC236}">
                  <a16:creationId xmlns:a16="http://schemas.microsoft.com/office/drawing/2014/main" id="{A63D9178-5C98-D890-3CCF-5AA4A6D53157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8" name="Rechteck 637">
              <a:extLst>
                <a:ext uri="{FF2B5EF4-FFF2-40B4-BE49-F238E27FC236}">
                  <a16:creationId xmlns:a16="http://schemas.microsoft.com/office/drawing/2014/main" id="{60D90287-3F2E-12B8-2767-DA4DEBB3B4E7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9" name="Rechteck 638">
              <a:extLst>
                <a:ext uri="{FF2B5EF4-FFF2-40B4-BE49-F238E27FC236}">
                  <a16:creationId xmlns:a16="http://schemas.microsoft.com/office/drawing/2014/main" id="{6BB77FDB-3ADE-1F61-3897-CF8090FDAD77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0" name="Rechteck 639">
              <a:extLst>
                <a:ext uri="{FF2B5EF4-FFF2-40B4-BE49-F238E27FC236}">
                  <a16:creationId xmlns:a16="http://schemas.microsoft.com/office/drawing/2014/main" id="{A349204E-E8F6-8E07-B8E4-A8B3D101B908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1" name="Rechteck 640">
              <a:extLst>
                <a:ext uri="{FF2B5EF4-FFF2-40B4-BE49-F238E27FC236}">
                  <a16:creationId xmlns:a16="http://schemas.microsoft.com/office/drawing/2014/main" id="{0E3E8794-0B90-CAC4-C045-37A634AD529B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2" name="Rechteck 641">
              <a:extLst>
                <a:ext uri="{FF2B5EF4-FFF2-40B4-BE49-F238E27FC236}">
                  <a16:creationId xmlns:a16="http://schemas.microsoft.com/office/drawing/2014/main" id="{02D942D6-C1A9-73ED-12A6-ED3C70AEFF5D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3" name="Rechteck 642">
              <a:extLst>
                <a:ext uri="{FF2B5EF4-FFF2-40B4-BE49-F238E27FC236}">
                  <a16:creationId xmlns:a16="http://schemas.microsoft.com/office/drawing/2014/main" id="{FA1583CE-79C5-4207-47D0-E7AA3552CAF2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4" name="Rechteck 643">
              <a:extLst>
                <a:ext uri="{FF2B5EF4-FFF2-40B4-BE49-F238E27FC236}">
                  <a16:creationId xmlns:a16="http://schemas.microsoft.com/office/drawing/2014/main" id="{581546B3-1B80-7385-AE71-3887DACB9979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5" name="Rechteck 644">
              <a:extLst>
                <a:ext uri="{FF2B5EF4-FFF2-40B4-BE49-F238E27FC236}">
                  <a16:creationId xmlns:a16="http://schemas.microsoft.com/office/drawing/2014/main" id="{4C74DC45-D977-B1F4-4153-81362364D196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6" name="Rechteck 645">
              <a:extLst>
                <a:ext uri="{FF2B5EF4-FFF2-40B4-BE49-F238E27FC236}">
                  <a16:creationId xmlns:a16="http://schemas.microsoft.com/office/drawing/2014/main" id="{7FCC88D7-63AB-9456-A12B-7F2FA69E6564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7" name="Rechteck 646">
              <a:extLst>
                <a:ext uri="{FF2B5EF4-FFF2-40B4-BE49-F238E27FC236}">
                  <a16:creationId xmlns:a16="http://schemas.microsoft.com/office/drawing/2014/main" id="{B7C45509-F937-AE57-9B81-32EE917FA06F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8" name="Rechteck 647">
              <a:extLst>
                <a:ext uri="{FF2B5EF4-FFF2-40B4-BE49-F238E27FC236}">
                  <a16:creationId xmlns:a16="http://schemas.microsoft.com/office/drawing/2014/main" id="{47EDCF39-B792-AB48-5D59-13D914F82AFF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9" name="Rechteck 648">
              <a:extLst>
                <a:ext uri="{FF2B5EF4-FFF2-40B4-BE49-F238E27FC236}">
                  <a16:creationId xmlns:a16="http://schemas.microsoft.com/office/drawing/2014/main" id="{463EA683-6952-86DB-12B3-107994C7B116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0" name="Rechteck 649">
              <a:extLst>
                <a:ext uri="{FF2B5EF4-FFF2-40B4-BE49-F238E27FC236}">
                  <a16:creationId xmlns:a16="http://schemas.microsoft.com/office/drawing/2014/main" id="{FFA85C69-0CA9-0DA0-D962-5D0382E57B9C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1" name="Rechteck 650">
              <a:extLst>
                <a:ext uri="{FF2B5EF4-FFF2-40B4-BE49-F238E27FC236}">
                  <a16:creationId xmlns:a16="http://schemas.microsoft.com/office/drawing/2014/main" id="{3BFAFEBF-7087-5916-7D97-5A17621E96E3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2" name="Rechteck 651">
              <a:extLst>
                <a:ext uri="{FF2B5EF4-FFF2-40B4-BE49-F238E27FC236}">
                  <a16:creationId xmlns:a16="http://schemas.microsoft.com/office/drawing/2014/main" id="{1BE77380-8266-F827-C50C-FF95443E75BB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3" name="Rechteck 652">
              <a:extLst>
                <a:ext uri="{FF2B5EF4-FFF2-40B4-BE49-F238E27FC236}">
                  <a16:creationId xmlns:a16="http://schemas.microsoft.com/office/drawing/2014/main" id="{5BA8CA17-B96D-2D06-6504-9F2E526FDB19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4" name="Rechteck 653">
              <a:extLst>
                <a:ext uri="{FF2B5EF4-FFF2-40B4-BE49-F238E27FC236}">
                  <a16:creationId xmlns:a16="http://schemas.microsoft.com/office/drawing/2014/main" id="{F3E73BDD-D38A-81A5-E774-C3683B1AB234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5" name="Rechteck 654">
              <a:extLst>
                <a:ext uri="{FF2B5EF4-FFF2-40B4-BE49-F238E27FC236}">
                  <a16:creationId xmlns:a16="http://schemas.microsoft.com/office/drawing/2014/main" id="{9332C494-B746-9E69-A5B6-D7999D2F3F47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6" name="Rechteck 655">
              <a:extLst>
                <a:ext uri="{FF2B5EF4-FFF2-40B4-BE49-F238E27FC236}">
                  <a16:creationId xmlns:a16="http://schemas.microsoft.com/office/drawing/2014/main" id="{DF7B677A-261D-09AD-7C61-E89E425D0B6C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7" name="Rechteck 656">
              <a:extLst>
                <a:ext uri="{FF2B5EF4-FFF2-40B4-BE49-F238E27FC236}">
                  <a16:creationId xmlns:a16="http://schemas.microsoft.com/office/drawing/2014/main" id="{B4E1B679-E2FF-A237-A730-31AA97CC5952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8" name="Rechteck 657">
              <a:extLst>
                <a:ext uri="{FF2B5EF4-FFF2-40B4-BE49-F238E27FC236}">
                  <a16:creationId xmlns:a16="http://schemas.microsoft.com/office/drawing/2014/main" id="{CA1EFAFF-C5EB-1324-F802-CD3E5949C668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9" name="Rechteck 658">
              <a:extLst>
                <a:ext uri="{FF2B5EF4-FFF2-40B4-BE49-F238E27FC236}">
                  <a16:creationId xmlns:a16="http://schemas.microsoft.com/office/drawing/2014/main" id="{82C8220E-2A20-44DC-5ADA-8F837493BC90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0" name="Rechteck 659">
              <a:extLst>
                <a:ext uri="{FF2B5EF4-FFF2-40B4-BE49-F238E27FC236}">
                  <a16:creationId xmlns:a16="http://schemas.microsoft.com/office/drawing/2014/main" id="{9598A980-6027-7AF3-180C-EB83DF178130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1" name="Rechteck 660">
              <a:extLst>
                <a:ext uri="{FF2B5EF4-FFF2-40B4-BE49-F238E27FC236}">
                  <a16:creationId xmlns:a16="http://schemas.microsoft.com/office/drawing/2014/main" id="{0807272C-3969-E0B3-E96B-48406B02FFD4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2" name="Rechteck 661">
              <a:extLst>
                <a:ext uri="{FF2B5EF4-FFF2-40B4-BE49-F238E27FC236}">
                  <a16:creationId xmlns:a16="http://schemas.microsoft.com/office/drawing/2014/main" id="{419D1081-2D94-B648-7F95-9FF7226E752A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3" name="Rechteck 662">
              <a:extLst>
                <a:ext uri="{FF2B5EF4-FFF2-40B4-BE49-F238E27FC236}">
                  <a16:creationId xmlns:a16="http://schemas.microsoft.com/office/drawing/2014/main" id="{46151713-29C2-D282-ABAB-FE81AF577D0E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4" name="Rechteck 663">
              <a:extLst>
                <a:ext uri="{FF2B5EF4-FFF2-40B4-BE49-F238E27FC236}">
                  <a16:creationId xmlns:a16="http://schemas.microsoft.com/office/drawing/2014/main" id="{3194304F-8685-2232-5A79-5137DFEFDD66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5" name="Rechteck 664">
              <a:extLst>
                <a:ext uri="{FF2B5EF4-FFF2-40B4-BE49-F238E27FC236}">
                  <a16:creationId xmlns:a16="http://schemas.microsoft.com/office/drawing/2014/main" id="{D35C785F-4063-143A-34E2-118895526F22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6" name="Rechteck 665">
              <a:extLst>
                <a:ext uri="{FF2B5EF4-FFF2-40B4-BE49-F238E27FC236}">
                  <a16:creationId xmlns:a16="http://schemas.microsoft.com/office/drawing/2014/main" id="{B07B0011-6AF6-017B-EB37-5A0CEE6B7B66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7" name="Rechteck 666">
              <a:extLst>
                <a:ext uri="{FF2B5EF4-FFF2-40B4-BE49-F238E27FC236}">
                  <a16:creationId xmlns:a16="http://schemas.microsoft.com/office/drawing/2014/main" id="{07F5F325-281F-8D8C-05C8-8FEA2D874362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8" name="Rechteck 667">
              <a:extLst>
                <a:ext uri="{FF2B5EF4-FFF2-40B4-BE49-F238E27FC236}">
                  <a16:creationId xmlns:a16="http://schemas.microsoft.com/office/drawing/2014/main" id="{725BBC3B-BE28-C2BF-E985-01C14442BEB1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9" name="Rechteck 668">
              <a:extLst>
                <a:ext uri="{FF2B5EF4-FFF2-40B4-BE49-F238E27FC236}">
                  <a16:creationId xmlns:a16="http://schemas.microsoft.com/office/drawing/2014/main" id="{E70D0CB2-B809-5ACB-075B-CA6034576E3B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0" name="Rechteck 669">
              <a:extLst>
                <a:ext uri="{FF2B5EF4-FFF2-40B4-BE49-F238E27FC236}">
                  <a16:creationId xmlns:a16="http://schemas.microsoft.com/office/drawing/2014/main" id="{F69D1ADC-CD70-4103-09C2-A556837BB57A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1" name="Rechteck 670">
              <a:extLst>
                <a:ext uri="{FF2B5EF4-FFF2-40B4-BE49-F238E27FC236}">
                  <a16:creationId xmlns:a16="http://schemas.microsoft.com/office/drawing/2014/main" id="{96FA6A16-8156-131D-CFAB-18AFCCD39400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2" name="Rechteck 671">
              <a:extLst>
                <a:ext uri="{FF2B5EF4-FFF2-40B4-BE49-F238E27FC236}">
                  <a16:creationId xmlns:a16="http://schemas.microsoft.com/office/drawing/2014/main" id="{53B0C222-20E8-210A-3EB9-C84820243784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3" name="Rechteck 672">
              <a:extLst>
                <a:ext uri="{FF2B5EF4-FFF2-40B4-BE49-F238E27FC236}">
                  <a16:creationId xmlns:a16="http://schemas.microsoft.com/office/drawing/2014/main" id="{025D7DF0-B578-DC5C-9297-123A3ACF4822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4" name="Rechteck 673">
              <a:extLst>
                <a:ext uri="{FF2B5EF4-FFF2-40B4-BE49-F238E27FC236}">
                  <a16:creationId xmlns:a16="http://schemas.microsoft.com/office/drawing/2014/main" id="{57B358A9-8AD6-5207-99FF-514C2A2525B1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5" name="Rechteck 674">
              <a:extLst>
                <a:ext uri="{FF2B5EF4-FFF2-40B4-BE49-F238E27FC236}">
                  <a16:creationId xmlns:a16="http://schemas.microsoft.com/office/drawing/2014/main" id="{D0193752-5864-2E4B-9F39-D3139FC31C44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6" name="Rechteck 675">
              <a:extLst>
                <a:ext uri="{FF2B5EF4-FFF2-40B4-BE49-F238E27FC236}">
                  <a16:creationId xmlns:a16="http://schemas.microsoft.com/office/drawing/2014/main" id="{8C9EC265-2C88-C44F-A647-3254CCBAA757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7" name="Rechteck 676">
              <a:extLst>
                <a:ext uri="{FF2B5EF4-FFF2-40B4-BE49-F238E27FC236}">
                  <a16:creationId xmlns:a16="http://schemas.microsoft.com/office/drawing/2014/main" id="{B9715C15-481A-2FB7-770A-2FD8AAF6A0CD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8" name="Rechteck 677">
              <a:extLst>
                <a:ext uri="{FF2B5EF4-FFF2-40B4-BE49-F238E27FC236}">
                  <a16:creationId xmlns:a16="http://schemas.microsoft.com/office/drawing/2014/main" id="{DFDECC3A-1958-FEB7-AD42-6784C23AC6F7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9" name="Rechteck 678">
              <a:extLst>
                <a:ext uri="{FF2B5EF4-FFF2-40B4-BE49-F238E27FC236}">
                  <a16:creationId xmlns:a16="http://schemas.microsoft.com/office/drawing/2014/main" id="{D8F513C0-E63B-6252-4207-2C456B125509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0" name="Rechteck 679">
              <a:extLst>
                <a:ext uri="{FF2B5EF4-FFF2-40B4-BE49-F238E27FC236}">
                  <a16:creationId xmlns:a16="http://schemas.microsoft.com/office/drawing/2014/main" id="{46B63FC2-4C80-CE78-8948-D45B9D94ABEC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1" name="Rechteck 680">
              <a:extLst>
                <a:ext uri="{FF2B5EF4-FFF2-40B4-BE49-F238E27FC236}">
                  <a16:creationId xmlns:a16="http://schemas.microsoft.com/office/drawing/2014/main" id="{82E68FF8-95E0-30D1-2D29-B76B26E89919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2" name="Rechteck 681">
              <a:extLst>
                <a:ext uri="{FF2B5EF4-FFF2-40B4-BE49-F238E27FC236}">
                  <a16:creationId xmlns:a16="http://schemas.microsoft.com/office/drawing/2014/main" id="{1A8062F3-3A32-20CD-61ED-C5FEB60B5C93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3" name="Rechteck 682">
              <a:extLst>
                <a:ext uri="{FF2B5EF4-FFF2-40B4-BE49-F238E27FC236}">
                  <a16:creationId xmlns:a16="http://schemas.microsoft.com/office/drawing/2014/main" id="{01B35D75-0197-AF22-E84E-D65C2A4C5884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4" name="Rechteck 683">
              <a:extLst>
                <a:ext uri="{FF2B5EF4-FFF2-40B4-BE49-F238E27FC236}">
                  <a16:creationId xmlns:a16="http://schemas.microsoft.com/office/drawing/2014/main" id="{429EF493-3A1F-F9EF-7605-6E9A1AC55F84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5" name="Rechteck 684">
              <a:extLst>
                <a:ext uri="{FF2B5EF4-FFF2-40B4-BE49-F238E27FC236}">
                  <a16:creationId xmlns:a16="http://schemas.microsoft.com/office/drawing/2014/main" id="{DE9FD1C5-991A-C34D-79C1-3C295757F3A7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6" name="Rechteck 685">
              <a:extLst>
                <a:ext uri="{FF2B5EF4-FFF2-40B4-BE49-F238E27FC236}">
                  <a16:creationId xmlns:a16="http://schemas.microsoft.com/office/drawing/2014/main" id="{FD16DC80-BAE8-1568-272F-8F9C4CCF4977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7" name="Rechteck 686">
              <a:extLst>
                <a:ext uri="{FF2B5EF4-FFF2-40B4-BE49-F238E27FC236}">
                  <a16:creationId xmlns:a16="http://schemas.microsoft.com/office/drawing/2014/main" id="{BA6955F0-E821-4965-75B9-EB73D8E31192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8" name="Rechteck 687">
              <a:extLst>
                <a:ext uri="{FF2B5EF4-FFF2-40B4-BE49-F238E27FC236}">
                  <a16:creationId xmlns:a16="http://schemas.microsoft.com/office/drawing/2014/main" id="{71D0A235-C797-BA99-12EB-BB61F9B5E30B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9" name="Rechteck 688">
              <a:extLst>
                <a:ext uri="{FF2B5EF4-FFF2-40B4-BE49-F238E27FC236}">
                  <a16:creationId xmlns:a16="http://schemas.microsoft.com/office/drawing/2014/main" id="{14315AEF-89A0-57A2-1BAF-F1DBCF38A580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0" name="Rechteck 689">
              <a:extLst>
                <a:ext uri="{FF2B5EF4-FFF2-40B4-BE49-F238E27FC236}">
                  <a16:creationId xmlns:a16="http://schemas.microsoft.com/office/drawing/2014/main" id="{DF0D7CC7-E032-AC97-840E-FD60C8055024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1" name="Rechteck 690">
              <a:extLst>
                <a:ext uri="{FF2B5EF4-FFF2-40B4-BE49-F238E27FC236}">
                  <a16:creationId xmlns:a16="http://schemas.microsoft.com/office/drawing/2014/main" id="{EF5E68C3-C0C0-E77B-A100-70DED0DC46C3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2" name="Rechteck 691">
              <a:extLst>
                <a:ext uri="{FF2B5EF4-FFF2-40B4-BE49-F238E27FC236}">
                  <a16:creationId xmlns:a16="http://schemas.microsoft.com/office/drawing/2014/main" id="{2A9E081B-C29C-B8C7-1BF8-F2EDAFB918C0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3" name="Rechteck 692">
              <a:extLst>
                <a:ext uri="{FF2B5EF4-FFF2-40B4-BE49-F238E27FC236}">
                  <a16:creationId xmlns:a16="http://schemas.microsoft.com/office/drawing/2014/main" id="{312DCBD5-AEC0-AC41-21CE-829C50D7A668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4" name="Rechteck 693">
              <a:extLst>
                <a:ext uri="{FF2B5EF4-FFF2-40B4-BE49-F238E27FC236}">
                  <a16:creationId xmlns:a16="http://schemas.microsoft.com/office/drawing/2014/main" id="{85C7324F-03F7-07C0-7C88-CA7513564E0E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5" name="Rechteck 694">
              <a:extLst>
                <a:ext uri="{FF2B5EF4-FFF2-40B4-BE49-F238E27FC236}">
                  <a16:creationId xmlns:a16="http://schemas.microsoft.com/office/drawing/2014/main" id="{EC45F2CF-8FB0-81FF-E233-A9C98817B662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6" name="Rechteck 695">
              <a:extLst>
                <a:ext uri="{FF2B5EF4-FFF2-40B4-BE49-F238E27FC236}">
                  <a16:creationId xmlns:a16="http://schemas.microsoft.com/office/drawing/2014/main" id="{E311795C-F4C4-AECB-BFAB-79B0C19B54EE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7" name="Rechteck 696">
              <a:extLst>
                <a:ext uri="{FF2B5EF4-FFF2-40B4-BE49-F238E27FC236}">
                  <a16:creationId xmlns:a16="http://schemas.microsoft.com/office/drawing/2014/main" id="{1844BC78-8809-099D-5F8C-134C47E99370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8" name="Rechteck 697">
              <a:extLst>
                <a:ext uri="{FF2B5EF4-FFF2-40B4-BE49-F238E27FC236}">
                  <a16:creationId xmlns:a16="http://schemas.microsoft.com/office/drawing/2014/main" id="{1AD8BC0E-73FF-5FC3-82FD-DC1E87AB02DD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9" name="Rechteck 698">
              <a:extLst>
                <a:ext uri="{FF2B5EF4-FFF2-40B4-BE49-F238E27FC236}">
                  <a16:creationId xmlns:a16="http://schemas.microsoft.com/office/drawing/2014/main" id="{C5CCB73B-4DFF-5B62-3E73-8092723D429B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0" name="Rechteck 699">
              <a:extLst>
                <a:ext uri="{FF2B5EF4-FFF2-40B4-BE49-F238E27FC236}">
                  <a16:creationId xmlns:a16="http://schemas.microsoft.com/office/drawing/2014/main" id="{76E31459-B4E8-C377-3671-2A3E828CF522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1" name="Rechteck 700">
              <a:extLst>
                <a:ext uri="{FF2B5EF4-FFF2-40B4-BE49-F238E27FC236}">
                  <a16:creationId xmlns:a16="http://schemas.microsoft.com/office/drawing/2014/main" id="{7BA49C90-7A71-BD2E-B994-89E6CD4E5B32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2" name="Rechteck 701">
              <a:extLst>
                <a:ext uri="{FF2B5EF4-FFF2-40B4-BE49-F238E27FC236}">
                  <a16:creationId xmlns:a16="http://schemas.microsoft.com/office/drawing/2014/main" id="{BB714581-FA85-E210-75EF-ACE43B24297A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3" name="Rechteck 702">
              <a:extLst>
                <a:ext uri="{FF2B5EF4-FFF2-40B4-BE49-F238E27FC236}">
                  <a16:creationId xmlns:a16="http://schemas.microsoft.com/office/drawing/2014/main" id="{CBF97942-C1DA-08CE-634A-9FF5A5990AF6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4" name="Rechteck 703">
              <a:extLst>
                <a:ext uri="{FF2B5EF4-FFF2-40B4-BE49-F238E27FC236}">
                  <a16:creationId xmlns:a16="http://schemas.microsoft.com/office/drawing/2014/main" id="{4AA7E59D-50F1-6FDA-3788-65A9E90F5067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5" name="Rechteck 704">
              <a:extLst>
                <a:ext uri="{FF2B5EF4-FFF2-40B4-BE49-F238E27FC236}">
                  <a16:creationId xmlns:a16="http://schemas.microsoft.com/office/drawing/2014/main" id="{6AED30BC-899A-7525-D54A-21814E2F76F7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6" name="Rechteck 705">
              <a:extLst>
                <a:ext uri="{FF2B5EF4-FFF2-40B4-BE49-F238E27FC236}">
                  <a16:creationId xmlns:a16="http://schemas.microsoft.com/office/drawing/2014/main" id="{02B04685-EC65-9BE7-0386-F332F78073AE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7" name="Rechteck 706">
              <a:extLst>
                <a:ext uri="{FF2B5EF4-FFF2-40B4-BE49-F238E27FC236}">
                  <a16:creationId xmlns:a16="http://schemas.microsoft.com/office/drawing/2014/main" id="{EA4D47BD-238E-9C9D-A13F-8D01F2D69D4B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8" name="Rechteck 707">
              <a:extLst>
                <a:ext uri="{FF2B5EF4-FFF2-40B4-BE49-F238E27FC236}">
                  <a16:creationId xmlns:a16="http://schemas.microsoft.com/office/drawing/2014/main" id="{A8C7EF28-15A8-8C71-4C07-64D937E5E1A5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9" name="Rechteck 708">
              <a:extLst>
                <a:ext uri="{FF2B5EF4-FFF2-40B4-BE49-F238E27FC236}">
                  <a16:creationId xmlns:a16="http://schemas.microsoft.com/office/drawing/2014/main" id="{C1B06AFB-685C-F8AF-60A2-10895F58046D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0" name="Rechteck 709">
              <a:extLst>
                <a:ext uri="{FF2B5EF4-FFF2-40B4-BE49-F238E27FC236}">
                  <a16:creationId xmlns:a16="http://schemas.microsoft.com/office/drawing/2014/main" id="{A0907AA1-50AD-547F-09D9-1BDBF1A3DF30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1" name="Rechteck 710">
              <a:extLst>
                <a:ext uri="{FF2B5EF4-FFF2-40B4-BE49-F238E27FC236}">
                  <a16:creationId xmlns:a16="http://schemas.microsoft.com/office/drawing/2014/main" id="{EE59B82C-B9EC-3F9C-207B-91FC0C6EE0C6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2" name="Rechteck 711">
              <a:extLst>
                <a:ext uri="{FF2B5EF4-FFF2-40B4-BE49-F238E27FC236}">
                  <a16:creationId xmlns:a16="http://schemas.microsoft.com/office/drawing/2014/main" id="{9F51EE4A-A381-6447-6311-6579EE7B7C2F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3" name="Rechteck 712">
              <a:extLst>
                <a:ext uri="{FF2B5EF4-FFF2-40B4-BE49-F238E27FC236}">
                  <a16:creationId xmlns:a16="http://schemas.microsoft.com/office/drawing/2014/main" id="{934474EB-C414-2C6E-A779-BA1921B1646B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4" name="Rechteck 713">
              <a:extLst>
                <a:ext uri="{FF2B5EF4-FFF2-40B4-BE49-F238E27FC236}">
                  <a16:creationId xmlns:a16="http://schemas.microsoft.com/office/drawing/2014/main" id="{0F13FA9C-CD65-84AE-C827-9F16BDEA0C99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5" name="Rechteck 714">
              <a:extLst>
                <a:ext uri="{FF2B5EF4-FFF2-40B4-BE49-F238E27FC236}">
                  <a16:creationId xmlns:a16="http://schemas.microsoft.com/office/drawing/2014/main" id="{830FF5EE-2AED-B42D-FE0B-E745AFD77C72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6" name="Rechteck 715">
              <a:extLst>
                <a:ext uri="{FF2B5EF4-FFF2-40B4-BE49-F238E27FC236}">
                  <a16:creationId xmlns:a16="http://schemas.microsoft.com/office/drawing/2014/main" id="{1E63E335-BFAE-E42F-0728-E615191A17C6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7" name="Rechteck 716">
              <a:extLst>
                <a:ext uri="{FF2B5EF4-FFF2-40B4-BE49-F238E27FC236}">
                  <a16:creationId xmlns:a16="http://schemas.microsoft.com/office/drawing/2014/main" id="{D922EE03-FAFA-80BB-8183-B70797F4C8DB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8" name="Rechteck 717">
              <a:extLst>
                <a:ext uri="{FF2B5EF4-FFF2-40B4-BE49-F238E27FC236}">
                  <a16:creationId xmlns:a16="http://schemas.microsoft.com/office/drawing/2014/main" id="{2E15F58B-70B2-C436-38C9-F3C7832E6796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9" name="Rechteck 718">
              <a:extLst>
                <a:ext uri="{FF2B5EF4-FFF2-40B4-BE49-F238E27FC236}">
                  <a16:creationId xmlns:a16="http://schemas.microsoft.com/office/drawing/2014/main" id="{603416F4-6AA4-598D-3096-C8B79F77BC4F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0" name="Rechteck 719">
              <a:extLst>
                <a:ext uri="{FF2B5EF4-FFF2-40B4-BE49-F238E27FC236}">
                  <a16:creationId xmlns:a16="http://schemas.microsoft.com/office/drawing/2014/main" id="{7583A150-A970-FC7B-371D-C88BADC9F8A5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1" name="Rechteck 720">
              <a:extLst>
                <a:ext uri="{FF2B5EF4-FFF2-40B4-BE49-F238E27FC236}">
                  <a16:creationId xmlns:a16="http://schemas.microsoft.com/office/drawing/2014/main" id="{AB13C481-EE83-72F1-A9FD-BA4FBD288C7B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2" name="Rechteck 721">
              <a:extLst>
                <a:ext uri="{FF2B5EF4-FFF2-40B4-BE49-F238E27FC236}">
                  <a16:creationId xmlns:a16="http://schemas.microsoft.com/office/drawing/2014/main" id="{72A993EF-A2AC-3EE8-F939-120993FCCB7E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3" name="Rechteck 722">
              <a:extLst>
                <a:ext uri="{FF2B5EF4-FFF2-40B4-BE49-F238E27FC236}">
                  <a16:creationId xmlns:a16="http://schemas.microsoft.com/office/drawing/2014/main" id="{165C2892-0F6B-3AE2-3948-23409316D3B8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4" name="Rechteck 723">
              <a:extLst>
                <a:ext uri="{FF2B5EF4-FFF2-40B4-BE49-F238E27FC236}">
                  <a16:creationId xmlns:a16="http://schemas.microsoft.com/office/drawing/2014/main" id="{39DEFB63-CF59-AF4C-9C36-8A9822550E86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5" name="Rechteck 724">
              <a:extLst>
                <a:ext uri="{FF2B5EF4-FFF2-40B4-BE49-F238E27FC236}">
                  <a16:creationId xmlns:a16="http://schemas.microsoft.com/office/drawing/2014/main" id="{A4230A2A-34EC-C162-1611-2A7E1A04B1E5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6" name="Rechteck 725">
              <a:extLst>
                <a:ext uri="{FF2B5EF4-FFF2-40B4-BE49-F238E27FC236}">
                  <a16:creationId xmlns:a16="http://schemas.microsoft.com/office/drawing/2014/main" id="{8EEFC442-086F-E77E-1902-A5711EDC831D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7" name="Rechteck 726">
              <a:extLst>
                <a:ext uri="{FF2B5EF4-FFF2-40B4-BE49-F238E27FC236}">
                  <a16:creationId xmlns:a16="http://schemas.microsoft.com/office/drawing/2014/main" id="{73E0A429-4251-85D1-CA75-8A76BF1AC0A4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8" name="Rechteck 727">
              <a:extLst>
                <a:ext uri="{FF2B5EF4-FFF2-40B4-BE49-F238E27FC236}">
                  <a16:creationId xmlns:a16="http://schemas.microsoft.com/office/drawing/2014/main" id="{9FAE570A-F1A1-5B14-BC89-3A730CD8FFD3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9" name="Rechteck 728">
              <a:extLst>
                <a:ext uri="{FF2B5EF4-FFF2-40B4-BE49-F238E27FC236}">
                  <a16:creationId xmlns:a16="http://schemas.microsoft.com/office/drawing/2014/main" id="{E233D119-2E4E-83C8-5A53-BC982F3A3B56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0" name="Rechteck 729">
              <a:extLst>
                <a:ext uri="{FF2B5EF4-FFF2-40B4-BE49-F238E27FC236}">
                  <a16:creationId xmlns:a16="http://schemas.microsoft.com/office/drawing/2014/main" id="{B2D8DF3F-40B0-A1C7-4F97-0CE4A404494D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1" name="Rechteck 730">
              <a:extLst>
                <a:ext uri="{FF2B5EF4-FFF2-40B4-BE49-F238E27FC236}">
                  <a16:creationId xmlns:a16="http://schemas.microsoft.com/office/drawing/2014/main" id="{3671D9CC-DC0F-A472-4F6B-FE356FFF1E8E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2" name="Rechteck 731">
              <a:extLst>
                <a:ext uri="{FF2B5EF4-FFF2-40B4-BE49-F238E27FC236}">
                  <a16:creationId xmlns:a16="http://schemas.microsoft.com/office/drawing/2014/main" id="{D4A692C8-1CD7-86CE-AC8B-6D536068FCCD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3" name="Rechteck 732">
              <a:extLst>
                <a:ext uri="{FF2B5EF4-FFF2-40B4-BE49-F238E27FC236}">
                  <a16:creationId xmlns:a16="http://schemas.microsoft.com/office/drawing/2014/main" id="{B4C626CF-A716-96A1-6692-8DC04E238592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4" name="Rechteck 733">
              <a:extLst>
                <a:ext uri="{FF2B5EF4-FFF2-40B4-BE49-F238E27FC236}">
                  <a16:creationId xmlns:a16="http://schemas.microsoft.com/office/drawing/2014/main" id="{DFEDBD2C-B798-780B-44A2-75A0AACE0C22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5" name="Rechteck 734">
              <a:extLst>
                <a:ext uri="{FF2B5EF4-FFF2-40B4-BE49-F238E27FC236}">
                  <a16:creationId xmlns:a16="http://schemas.microsoft.com/office/drawing/2014/main" id="{1E03CC3E-BA37-4461-3E8B-F7F9787AF6AA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6" name="Rechteck 735">
              <a:extLst>
                <a:ext uri="{FF2B5EF4-FFF2-40B4-BE49-F238E27FC236}">
                  <a16:creationId xmlns:a16="http://schemas.microsoft.com/office/drawing/2014/main" id="{BC24A0A2-A451-E230-8DCC-11E55B014583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7" name="Rechteck 736">
              <a:extLst>
                <a:ext uri="{FF2B5EF4-FFF2-40B4-BE49-F238E27FC236}">
                  <a16:creationId xmlns:a16="http://schemas.microsoft.com/office/drawing/2014/main" id="{2D11A192-F4D7-2345-B006-46E7056E6625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8" name="Rechteck 737">
              <a:extLst>
                <a:ext uri="{FF2B5EF4-FFF2-40B4-BE49-F238E27FC236}">
                  <a16:creationId xmlns:a16="http://schemas.microsoft.com/office/drawing/2014/main" id="{ECE30256-7F40-282F-DC66-9D9E8C536A69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9" name="Rechteck 738">
              <a:extLst>
                <a:ext uri="{FF2B5EF4-FFF2-40B4-BE49-F238E27FC236}">
                  <a16:creationId xmlns:a16="http://schemas.microsoft.com/office/drawing/2014/main" id="{9BE795B8-843E-5F67-BB58-DACC78CACB6A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0" name="Rechteck 739">
              <a:extLst>
                <a:ext uri="{FF2B5EF4-FFF2-40B4-BE49-F238E27FC236}">
                  <a16:creationId xmlns:a16="http://schemas.microsoft.com/office/drawing/2014/main" id="{0E31861E-611B-FDDB-ABDF-CCE9040677B2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1" name="Rechteck 740">
              <a:extLst>
                <a:ext uri="{FF2B5EF4-FFF2-40B4-BE49-F238E27FC236}">
                  <a16:creationId xmlns:a16="http://schemas.microsoft.com/office/drawing/2014/main" id="{11911541-CA40-58EE-E3FD-E0003C9EC362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2" name="Rechteck 741">
              <a:extLst>
                <a:ext uri="{FF2B5EF4-FFF2-40B4-BE49-F238E27FC236}">
                  <a16:creationId xmlns:a16="http://schemas.microsoft.com/office/drawing/2014/main" id="{6C68FACD-4D89-1CC6-8DB0-502955405AC6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3" name="Rechteck 742">
              <a:extLst>
                <a:ext uri="{FF2B5EF4-FFF2-40B4-BE49-F238E27FC236}">
                  <a16:creationId xmlns:a16="http://schemas.microsoft.com/office/drawing/2014/main" id="{0876E247-FF6B-E150-62AD-7D3877DE48BD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4" name="Rechteck 743">
              <a:extLst>
                <a:ext uri="{FF2B5EF4-FFF2-40B4-BE49-F238E27FC236}">
                  <a16:creationId xmlns:a16="http://schemas.microsoft.com/office/drawing/2014/main" id="{99CB9D68-DAD6-67E1-52CA-AB209C184A35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5" name="Rechteck 744">
              <a:extLst>
                <a:ext uri="{FF2B5EF4-FFF2-40B4-BE49-F238E27FC236}">
                  <a16:creationId xmlns:a16="http://schemas.microsoft.com/office/drawing/2014/main" id="{36E0A7F2-5B00-E469-EE5C-F5D4C4274664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6" name="Rechteck 745">
              <a:extLst>
                <a:ext uri="{FF2B5EF4-FFF2-40B4-BE49-F238E27FC236}">
                  <a16:creationId xmlns:a16="http://schemas.microsoft.com/office/drawing/2014/main" id="{2D2BED5B-5823-59ED-93C1-4EA0BB825407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7" name="Rechteck 746">
              <a:extLst>
                <a:ext uri="{FF2B5EF4-FFF2-40B4-BE49-F238E27FC236}">
                  <a16:creationId xmlns:a16="http://schemas.microsoft.com/office/drawing/2014/main" id="{8E81C081-44F4-2D99-73E5-65759E0DEA9D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8" name="Rechteck 747">
              <a:extLst>
                <a:ext uri="{FF2B5EF4-FFF2-40B4-BE49-F238E27FC236}">
                  <a16:creationId xmlns:a16="http://schemas.microsoft.com/office/drawing/2014/main" id="{8C42C0D8-A725-6A94-4FBE-9A52C9CE3776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9" name="Rechteck 748">
              <a:extLst>
                <a:ext uri="{FF2B5EF4-FFF2-40B4-BE49-F238E27FC236}">
                  <a16:creationId xmlns:a16="http://schemas.microsoft.com/office/drawing/2014/main" id="{3A9FA064-B9CD-365F-BA34-410C773EB015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0" name="Rechteck 749">
              <a:extLst>
                <a:ext uri="{FF2B5EF4-FFF2-40B4-BE49-F238E27FC236}">
                  <a16:creationId xmlns:a16="http://schemas.microsoft.com/office/drawing/2014/main" id="{43CD646A-AEC9-A657-5940-D58A2F6273B5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1" name="Rechteck 750">
              <a:extLst>
                <a:ext uri="{FF2B5EF4-FFF2-40B4-BE49-F238E27FC236}">
                  <a16:creationId xmlns:a16="http://schemas.microsoft.com/office/drawing/2014/main" id="{17F2BA8A-1165-C0B2-11D6-7ECED13EDE39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2" name="Rechteck 751">
              <a:extLst>
                <a:ext uri="{FF2B5EF4-FFF2-40B4-BE49-F238E27FC236}">
                  <a16:creationId xmlns:a16="http://schemas.microsoft.com/office/drawing/2014/main" id="{8DB1110D-E41B-C74C-950E-E35AF1D9A2E0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3" name="Rechteck 752">
              <a:extLst>
                <a:ext uri="{FF2B5EF4-FFF2-40B4-BE49-F238E27FC236}">
                  <a16:creationId xmlns:a16="http://schemas.microsoft.com/office/drawing/2014/main" id="{2CCEE49E-9E2A-8E5F-2234-30B5AF34B91E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4" name="Rechteck 753">
              <a:extLst>
                <a:ext uri="{FF2B5EF4-FFF2-40B4-BE49-F238E27FC236}">
                  <a16:creationId xmlns:a16="http://schemas.microsoft.com/office/drawing/2014/main" id="{3812999F-AE69-247B-D211-B7B1957EA4E3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5" name="Rechteck 754">
              <a:extLst>
                <a:ext uri="{FF2B5EF4-FFF2-40B4-BE49-F238E27FC236}">
                  <a16:creationId xmlns:a16="http://schemas.microsoft.com/office/drawing/2014/main" id="{6C4821A3-DC2D-8228-DAFB-698D2206BC81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6" name="Rechteck 755">
              <a:extLst>
                <a:ext uri="{FF2B5EF4-FFF2-40B4-BE49-F238E27FC236}">
                  <a16:creationId xmlns:a16="http://schemas.microsoft.com/office/drawing/2014/main" id="{A2FEE517-7285-E39F-9299-1E8F537E5161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7" name="Rechteck 756">
              <a:extLst>
                <a:ext uri="{FF2B5EF4-FFF2-40B4-BE49-F238E27FC236}">
                  <a16:creationId xmlns:a16="http://schemas.microsoft.com/office/drawing/2014/main" id="{5AB8A4EE-264B-DD2F-7377-892DA7A2B041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8" name="Rechteck 757">
              <a:extLst>
                <a:ext uri="{FF2B5EF4-FFF2-40B4-BE49-F238E27FC236}">
                  <a16:creationId xmlns:a16="http://schemas.microsoft.com/office/drawing/2014/main" id="{63A1524B-8768-7C35-01F8-A1D351975B1E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9" name="Rechteck 758">
              <a:extLst>
                <a:ext uri="{FF2B5EF4-FFF2-40B4-BE49-F238E27FC236}">
                  <a16:creationId xmlns:a16="http://schemas.microsoft.com/office/drawing/2014/main" id="{34007513-C466-FA34-D1D0-C71E508FF16B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0" name="Rechteck 759">
              <a:extLst>
                <a:ext uri="{FF2B5EF4-FFF2-40B4-BE49-F238E27FC236}">
                  <a16:creationId xmlns:a16="http://schemas.microsoft.com/office/drawing/2014/main" id="{6E5315B8-A7AA-0596-A3EF-0859761C87E7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1" name="Rechteck 760">
              <a:extLst>
                <a:ext uri="{FF2B5EF4-FFF2-40B4-BE49-F238E27FC236}">
                  <a16:creationId xmlns:a16="http://schemas.microsoft.com/office/drawing/2014/main" id="{7E019C33-5388-14DB-3481-84303A085A04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2" name="Rechteck 761">
              <a:extLst>
                <a:ext uri="{FF2B5EF4-FFF2-40B4-BE49-F238E27FC236}">
                  <a16:creationId xmlns:a16="http://schemas.microsoft.com/office/drawing/2014/main" id="{2E4F25FB-350B-187C-5E24-329504A8340E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3" name="Rechteck 762">
              <a:extLst>
                <a:ext uri="{FF2B5EF4-FFF2-40B4-BE49-F238E27FC236}">
                  <a16:creationId xmlns:a16="http://schemas.microsoft.com/office/drawing/2014/main" id="{7EB50DFF-96AB-F05F-9C03-45A1ACF0C672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4" name="Rechteck 763">
              <a:extLst>
                <a:ext uri="{FF2B5EF4-FFF2-40B4-BE49-F238E27FC236}">
                  <a16:creationId xmlns:a16="http://schemas.microsoft.com/office/drawing/2014/main" id="{6AF9740A-7E91-8EF5-AC28-81711A842262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5" name="Rechteck 764">
              <a:extLst>
                <a:ext uri="{FF2B5EF4-FFF2-40B4-BE49-F238E27FC236}">
                  <a16:creationId xmlns:a16="http://schemas.microsoft.com/office/drawing/2014/main" id="{024022CE-1308-043C-830A-14A963938D09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6" name="Rechteck 765">
              <a:extLst>
                <a:ext uri="{FF2B5EF4-FFF2-40B4-BE49-F238E27FC236}">
                  <a16:creationId xmlns:a16="http://schemas.microsoft.com/office/drawing/2014/main" id="{12938792-DA5D-C163-320A-4385A1D4EC12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7" name="Rechteck 766">
              <a:extLst>
                <a:ext uri="{FF2B5EF4-FFF2-40B4-BE49-F238E27FC236}">
                  <a16:creationId xmlns:a16="http://schemas.microsoft.com/office/drawing/2014/main" id="{B39D2965-A34C-9AC2-C0E5-8A373BF0A434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8" name="Rechteck 767">
              <a:extLst>
                <a:ext uri="{FF2B5EF4-FFF2-40B4-BE49-F238E27FC236}">
                  <a16:creationId xmlns:a16="http://schemas.microsoft.com/office/drawing/2014/main" id="{EDB28DC5-71F8-2C60-6D9F-3CD3902B280F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9" name="Rechteck 768">
              <a:extLst>
                <a:ext uri="{FF2B5EF4-FFF2-40B4-BE49-F238E27FC236}">
                  <a16:creationId xmlns:a16="http://schemas.microsoft.com/office/drawing/2014/main" id="{654804C1-7155-2EA0-4A0E-2071B13E85A2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0" name="Rechteck 769">
              <a:extLst>
                <a:ext uri="{FF2B5EF4-FFF2-40B4-BE49-F238E27FC236}">
                  <a16:creationId xmlns:a16="http://schemas.microsoft.com/office/drawing/2014/main" id="{63A678C1-91FC-94D9-9C0D-0B4E7B684D46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1" name="Rechteck 770">
              <a:extLst>
                <a:ext uri="{FF2B5EF4-FFF2-40B4-BE49-F238E27FC236}">
                  <a16:creationId xmlns:a16="http://schemas.microsoft.com/office/drawing/2014/main" id="{D2C8BA6C-BC16-9685-DC6F-8452DDA2D8F0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2" name="Rechteck 771">
              <a:extLst>
                <a:ext uri="{FF2B5EF4-FFF2-40B4-BE49-F238E27FC236}">
                  <a16:creationId xmlns:a16="http://schemas.microsoft.com/office/drawing/2014/main" id="{1014DD1C-DFA7-1BE8-EF2A-6AE6C6D5CD8A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3" name="Rechteck 772">
              <a:extLst>
                <a:ext uri="{FF2B5EF4-FFF2-40B4-BE49-F238E27FC236}">
                  <a16:creationId xmlns:a16="http://schemas.microsoft.com/office/drawing/2014/main" id="{30B7275F-E722-01F1-BA49-47DDAF2976F7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4" name="Rechteck 773">
              <a:extLst>
                <a:ext uri="{FF2B5EF4-FFF2-40B4-BE49-F238E27FC236}">
                  <a16:creationId xmlns:a16="http://schemas.microsoft.com/office/drawing/2014/main" id="{3EF33796-3647-819C-D063-9613D7A04CBB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5" name="Rechteck 774">
              <a:extLst>
                <a:ext uri="{FF2B5EF4-FFF2-40B4-BE49-F238E27FC236}">
                  <a16:creationId xmlns:a16="http://schemas.microsoft.com/office/drawing/2014/main" id="{F0C30081-640E-D634-4A76-278D49513771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6" name="Rechteck 775">
              <a:extLst>
                <a:ext uri="{FF2B5EF4-FFF2-40B4-BE49-F238E27FC236}">
                  <a16:creationId xmlns:a16="http://schemas.microsoft.com/office/drawing/2014/main" id="{D2176598-5C05-2974-42F3-5085ACBFFE94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7" name="Rechteck 776">
              <a:extLst>
                <a:ext uri="{FF2B5EF4-FFF2-40B4-BE49-F238E27FC236}">
                  <a16:creationId xmlns:a16="http://schemas.microsoft.com/office/drawing/2014/main" id="{8F868BA6-58A1-8847-FFAB-2C494216CB5E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8" name="Rechteck 777">
              <a:extLst>
                <a:ext uri="{FF2B5EF4-FFF2-40B4-BE49-F238E27FC236}">
                  <a16:creationId xmlns:a16="http://schemas.microsoft.com/office/drawing/2014/main" id="{3BE13758-1238-586C-AF47-6A5313AD6F07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9" name="Rechteck 778">
              <a:extLst>
                <a:ext uri="{FF2B5EF4-FFF2-40B4-BE49-F238E27FC236}">
                  <a16:creationId xmlns:a16="http://schemas.microsoft.com/office/drawing/2014/main" id="{E36CEDE1-FF9A-E850-B09F-860528FD8766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80" name="Rechteck 779">
              <a:extLst>
                <a:ext uri="{FF2B5EF4-FFF2-40B4-BE49-F238E27FC236}">
                  <a16:creationId xmlns:a16="http://schemas.microsoft.com/office/drawing/2014/main" id="{1A04CC6C-5E7A-B15C-D856-5F3FBB17FEB4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81" name="Rechteck 780">
              <a:extLst>
                <a:ext uri="{FF2B5EF4-FFF2-40B4-BE49-F238E27FC236}">
                  <a16:creationId xmlns:a16="http://schemas.microsoft.com/office/drawing/2014/main" id="{526F886C-CB0C-1A21-ADE1-88ADCCC4B91F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82" name="Rechteck 781">
              <a:extLst>
                <a:ext uri="{FF2B5EF4-FFF2-40B4-BE49-F238E27FC236}">
                  <a16:creationId xmlns:a16="http://schemas.microsoft.com/office/drawing/2014/main" id="{5B9B50AC-91AA-E7E6-37A1-6770C4E3A836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83" name="Rechteck 782">
              <a:extLst>
                <a:ext uri="{FF2B5EF4-FFF2-40B4-BE49-F238E27FC236}">
                  <a16:creationId xmlns:a16="http://schemas.microsoft.com/office/drawing/2014/main" id="{BC6AC35B-ACDD-6BB6-5ACB-0D013C58CDB6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84" name="Rechteck 783">
              <a:extLst>
                <a:ext uri="{FF2B5EF4-FFF2-40B4-BE49-F238E27FC236}">
                  <a16:creationId xmlns:a16="http://schemas.microsoft.com/office/drawing/2014/main" id="{99C8FF31-35C2-2AB2-64F0-C6677C14E007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pic>
        <p:nvPicPr>
          <p:cNvPr id="391" name="Logo">
            <a:extLst>
              <a:ext uri="{FF2B5EF4-FFF2-40B4-BE49-F238E27FC236}">
                <a16:creationId xmlns:a16="http://schemas.microsoft.com/office/drawing/2014/main" id="{D8FEE713-70E1-73EC-EB6B-2FDFAE5742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  <p:grpSp>
        <p:nvGrpSpPr>
          <p:cNvPr id="392" name="Gruppieren 391">
            <a:extLst>
              <a:ext uri="{FF2B5EF4-FFF2-40B4-BE49-F238E27FC236}">
                <a16:creationId xmlns:a16="http://schemas.microsoft.com/office/drawing/2014/main" id="{5B7F50F2-7C8C-DDC5-B6A7-54D39F7E90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2" y="2082829"/>
            <a:ext cx="2448000" cy="0"/>
            <a:chOff x="983432" y="2082829"/>
            <a:chExt cx="2448000" cy="0"/>
          </a:xfrm>
        </p:grpSpPr>
        <p:cxnSp>
          <p:nvCxnSpPr>
            <p:cNvPr id="393" name="Line">
              <a:extLst>
                <a:ext uri="{FF2B5EF4-FFF2-40B4-BE49-F238E27FC236}">
                  <a16:creationId xmlns:a16="http://schemas.microsoft.com/office/drawing/2014/main" id="{8336875D-DCBC-B0C9-8BAC-7209E2C7DA7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4" name="Line">
              <a:extLst>
                <a:ext uri="{FF2B5EF4-FFF2-40B4-BE49-F238E27FC236}">
                  <a16:creationId xmlns:a16="http://schemas.microsoft.com/office/drawing/2014/main" id="{C5B65A3C-D4A0-7D55-7C7B-1C159A9B019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0" name="Shape">
            <a:extLst>
              <a:ext uri="{FF2B5EF4-FFF2-40B4-BE49-F238E27FC236}">
                <a16:creationId xmlns:a16="http://schemas.microsoft.com/office/drawing/2014/main" id="{632B8A72-93DF-9461-E2C5-7C80BFADDB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1400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95" name="Title">
            <a:extLst>
              <a:ext uri="{FF2B5EF4-FFF2-40B4-BE49-F238E27FC236}">
                <a16:creationId xmlns:a16="http://schemas.microsoft.com/office/drawing/2014/main" id="{B34D1F30-6B3B-2F44-24BC-0516B7F646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695400" y="2565032"/>
            <a:ext cx="2952000" cy="1152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36000" rIns="216000" anchor="t">
            <a:noAutofit/>
          </a:bodyPr>
          <a:lstStyle>
            <a:lvl1pPr algn="l">
              <a:lnSpc>
                <a:spcPct val="90000"/>
              </a:lnSpc>
              <a:defRPr sz="2400"/>
            </a:lvl1pPr>
          </a:lstStyle>
          <a:p>
            <a:r>
              <a:rPr lang="en-GB"/>
              <a:t>Insert your long title here in max. three lines</a:t>
            </a:r>
          </a:p>
        </p:txBody>
      </p:sp>
      <p:sp>
        <p:nvSpPr>
          <p:cNvPr id="396" name="Subtitle 2">
            <a:extLst>
              <a:ext uri="{FF2B5EF4-FFF2-40B4-BE49-F238E27FC236}">
                <a16:creationId xmlns:a16="http://schemas.microsoft.com/office/drawing/2014/main" id="{EA7DFA36-4B5D-27C2-3144-4753A43661F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400" y="3717032"/>
            <a:ext cx="2952000" cy="1058353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397" name="Author">
            <a:extLst>
              <a:ext uri="{FF2B5EF4-FFF2-40B4-BE49-F238E27FC236}">
                <a16:creationId xmlns:a16="http://schemas.microsoft.com/office/drawing/2014/main" id="{FB7223E8-C662-E621-886F-AF217EA79B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400" y="4869160"/>
            <a:ext cx="2952000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GB"/>
              <a:t>First name Last name</a:t>
            </a:r>
          </a:p>
        </p:txBody>
      </p:sp>
      <p:sp>
        <p:nvSpPr>
          <p:cNvPr id="398" name="Department, Date">
            <a:extLst>
              <a:ext uri="{FF2B5EF4-FFF2-40B4-BE49-F238E27FC236}">
                <a16:creationId xmlns:a16="http://schemas.microsoft.com/office/drawing/2014/main" id="{A86E7518-EA24-1988-A194-33889DDFCE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5085160"/>
            <a:ext cx="2952000" cy="504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GB"/>
              <a:t>Department</a:t>
            </a:r>
            <a:br>
              <a:rPr lang="en-GB"/>
            </a:br>
            <a:r>
              <a:rPr lang="en-GB"/>
              <a:t>DD/MM/YYYY</a:t>
            </a:r>
          </a:p>
        </p:txBody>
      </p:sp>
      <p:sp>
        <p:nvSpPr>
          <p:cNvPr id="399" name="Picture">
            <a:extLst>
              <a:ext uri="{FF2B5EF4-FFF2-40B4-BE49-F238E27FC236}">
                <a16:creationId xmlns:a16="http://schemas.microsoft.com/office/drawing/2014/main" id="{348164E4-2450-9DF3-99B4-C1D70D36C74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367809" y="2061400"/>
            <a:ext cx="5775177" cy="3463099"/>
          </a:xfrm>
          <a:custGeom>
            <a:avLst/>
            <a:gdLst>
              <a:gd name="connsiteX0" fmla="*/ 5775177 w 5775177"/>
              <a:gd name="connsiteY0" fmla="*/ 0 h 3463099"/>
              <a:gd name="connsiteX1" fmla="*/ 4621085 w 5775177"/>
              <a:gd name="connsiteY1" fmla="*/ 2311556 h 3463099"/>
              <a:gd name="connsiteX2" fmla="*/ 0 w 5775177"/>
              <a:gd name="connsiteY2" fmla="*/ 3463099 h 3463099"/>
              <a:gd name="connsiteX3" fmla="*/ 0 w 5775177"/>
              <a:gd name="connsiteY3" fmla="*/ 518 h 3463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5177" h="3463099">
                <a:moveTo>
                  <a:pt x="5775177" y="0"/>
                </a:moveTo>
                <a:lnTo>
                  <a:pt x="4621085" y="2311556"/>
                </a:lnTo>
                <a:lnTo>
                  <a:pt x="0" y="3463099"/>
                </a:lnTo>
                <a:lnTo>
                  <a:pt x="0" y="518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604291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with picture |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73118C1-116C-AAB7-426E-FE8ACC85F3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612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73118C1-116C-AAB7-426E-FE8ACC85F3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5" name="Gruppieren 594">
            <a:extLst>
              <a:ext uri="{FF2B5EF4-FFF2-40B4-BE49-F238E27FC236}">
                <a16:creationId xmlns:a16="http://schemas.microsoft.com/office/drawing/2014/main" id="{8E100385-864A-CA00-3229-EB5730416F83}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596" name="Rechteck 595">
              <a:extLst>
                <a:ext uri="{FF2B5EF4-FFF2-40B4-BE49-F238E27FC236}">
                  <a16:creationId xmlns:a16="http://schemas.microsoft.com/office/drawing/2014/main" id="{FE95FE0D-1192-1645-89F5-F9D3B40654A4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7" name="Rechteck 596">
              <a:extLst>
                <a:ext uri="{FF2B5EF4-FFF2-40B4-BE49-F238E27FC236}">
                  <a16:creationId xmlns:a16="http://schemas.microsoft.com/office/drawing/2014/main" id="{CA5BABD9-2F50-38D8-E9C7-0EE8CA427D1B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8" name="Rechteck 597">
              <a:extLst>
                <a:ext uri="{FF2B5EF4-FFF2-40B4-BE49-F238E27FC236}">
                  <a16:creationId xmlns:a16="http://schemas.microsoft.com/office/drawing/2014/main" id="{EC42B37E-F3FC-45DE-0E54-98459D00D09C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9" name="Rechteck 598">
              <a:extLst>
                <a:ext uri="{FF2B5EF4-FFF2-40B4-BE49-F238E27FC236}">
                  <a16:creationId xmlns:a16="http://schemas.microsoft.com/office/drawing/2014/main" id="{ED0C3313-001F-356E-D2C7-35D353C9A2C8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0" name="Rechteck 599">
              <a:extLst>
                <a:ext uri="{FF2B5EF4-FFF2-40B4-BE49-F238E27FC236}">
                  <a16:creationId xmlns:a16="http://schemas.microsoft.com/office/drawing/2014/main" id="{F5F3548E-EDFD-FB95-E4FF-6364D8A38F32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1" name="Rechteck 600">
              <a:extLst>
                <a:ext uri="{FF2B5EF4-FFF2-40B4-BE49-F238E27FC236}">
                  <a16:creationId xmlns:a16="http://schemas.microsoft.com/office/drawing/2014/main" id="{1B93A9BD-AAF1-4767-884B-7221D319DF2A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2" name="Rechteck 601">
              <a:extLst>
                <a:ext uri="{FF2B5EF4-FFF2-40B4-BE49-F238E27FC236}">
                  <a16:creationId xmlns:a16="http://schemas.microsoft.com/office/drawing/2014/main" id="{1D6F4DD4-5883-1110-CBB7-EFF749D88231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3" name="Rechteck 602">
              <a:extLst>
                <a:ext uri="{FF2B5EF4-FFF2-40B4-BE49-F238E27FC236}">
                  <a16:creationId xmlns:a16="http://schemas.microsoft.com/office/drawing/2014/main" id="{05397A60-9F95-8DEE-CE99-26D3BA308E0C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4" name="Rechteck 603">
              <a:extLst>
                <a:ext uri="{FF2B5EF4-FFF2-40B4-BE49-F238E27FC236}">
                  <a16:creationId xmlns:a16="http://schemas.microsoft.com/office/drawing/2014/main" id="{D01563CE-320A-F7B2-8C94-6112BCAF5E2D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5" name="Rechteck 604">
              <a:extLst>
                <a:ext uri="{FF2B5EF4-FFF2-40B4-BE49-F238E27FC236}">
                  <a16:creationId xmlns:a16="http://schemas.microsoft.com/office/drawing/2014/main" id="{19D6E984-AA85-7882-07E5-F074DCCB6019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6" name="Rechteck 605">
              <a:extLst>
                <a:ext uri="{FF2B5EF4-FFF2-40B4-BE49-F238E27FC236}">
                  <a16:creationId xmlns:a16="http://schemas.microsoft.com/office/drawing/2014/main" id="{DC4E51A2-AEA6-2273-953B-6842E3D8C092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7" name="Rechteck 606">
              <a:extLst>
                <a:ext uri="{FF2B5EF4-FFF2-40B4-BE49-F238E27FC236}">
                  <a16:creationId xmlns:a16="http://schemas.microsoft.com/office/drawing/2014/main" id="{96C13219-F5BE-CDD3-1DE0-91D9EE829A97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8" name="Rechteck 607">
              <a:extLst>
                <a:ext uri="{FF2B5EF4-FFF2-40B4-BE49-F238E27FC236}">
                  <a16:creationId xmlns:a16="http://schemas.microsoft.com/office/drawing/2014/main" id="{06E00D17-2563-D787-98EE-0EFA8776616C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9" name="Rechteck 608">
              <a:extLst>
                <a:ext uri="{FF2B5EF4-FFF2-40B4-BE49-F238E27FC236}">
                  <a16:creationId xmlns:a16="http://schemas.microsoft.com/office/drawing/2014/main" id="{50303449-0C3C-DA05-51B5-A232C0FCC8C9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0" name="Rechteck 609">
              <a:extLst>
                <a:ext uri="{FF2B5EF4-FFF2-40B4-BE49-F238E27FC236}">
                  <a16:creationId xmlns:a16="http://schemas.microsoft.com/office/drawing/2014/main" id="{7CB1C88D-56B6-B048-86A0-CBF1F0C7F9ED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1" name="Rechteck 610">
              <a:extLst>
                <a:ext uri="{FF2B5EF4-FFF2-40B4-BE49-F238E27FC236}">
                  <a16:creationId xmlns:a16="http://schemas.microsoft.com/office/drawing/2014/main" id="{0F3D2794-66FF-9E21-07DA-95014C73C618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2" name="Rechteck 611">
              <a:extLst>
                <a:ext uri="{FF2B5EF4-FFF2-40B4-BE49-F238E27FC236}">
                  <a16:creationId xmlns:a16="http://schemas.microsoft.com/office/drawing/2014/main" id="{EFB211CC-8088-2BAA-1C61-F82E4F20FF56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3" name="Rechteck 612">
              <a:extLst>
                <a:ext uri="{FF2B5EF4-FFF2-40B4-BE49-F238E27FC236}">
                  <a16:creationId xmlns:a16="http://schemas.microsoft.com/office/drawing/2014/main" id="{EA1F128C-EB57-C67B-F9BC-54F0A42D59DE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4" name="Rechteck 613">
              <a:extLst>
                <a:ext uri="{FF2B5EF4-FFF2-40B4-BE49-F238E27FC236}">
                  <a16:creationId xmlns:a16="http://schemas.microsoft.com/office/drawing/2014/main" id="{FEB30AFB-3484-24AC-6555-7B620E488EEF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5" name="Rechteck 614">
              <a:extLst>
                <a:ext uri="{FF2B5EF4-FFF2-40B4-BE49-F238E27FC236}">
                  <a16:creationId xmlns:a16="http://schemas.microsoft.com/office/drawing/2014/main" id="{AE1ADE9C-4CA0-C790-8AFD-448FD77F1BD5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6" name="Rechteck 615">
              <a:extLst>
                <a:ext uri="{FF2B5EF4-FFF2-40B4-BE49-F238E27FC236}">
                  <a16:creationId xmlns:a16="http://schemas.microsoft.com/office/drawing/2014/main" id="{32478F82-9D2B-2726-F8BC-AB4FD3B44702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7" name="Rechteck 616">
              <a:extLst>
                <a:ext uri="{FF2B5EF4-FFF2-40B4-BE49-F238E27FC236}">
                  <a16:creationId xmlns:a16="http://schemas.microsoft.com/office/drawing/2014/main" id="{918F2CE6-967B-BCBE-61FE-EA30056ACA6C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8" name="Rechteck 617">
              <a:extLst>
                <a:ext uri="{FF2B5EF4-FFF2-40B4-BE49-F238E27FC236}">
                  <a16:creationId xmlns:a16="http://schemas.microsoft.com/office/drawing/2014/main" id="{90C16EC7-40B9-C088-BAD8-932FCF90D06A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9" name="Rechteck 618">
              <a:extLst>
                <a:ext uri="{FF2B5EF4-FFF2-40B4-BE49-F238E27FC236}">
                  <a16:creationId xmlns:a16="http://schemas.microsoft.com/office/drawing/2014/main" id="{DF8D7D4D-9E8D-0787-5368-8244B228D1C7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0" name="Rechteck 619">
              <a:extLst>
                <a:ext uri="{FF2B5EF4-FFF2-40B4-BE49-F238E27FC236}">
                  <a16:creationId xmlns:a16="http://schemas.microsoft.com/office/drawing/2014/main" id="{7247C779-0F12-7FB1-EF0A-0FEBE9F8005D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1" name="Rechteck 620">
              <a:extLst>
                <a:ext uri="{FF2B5EF4-FFF2-40B4-BE49-F238E27FC236}">
                  <a16:creationId xmlns:a16="http://schemas.microsoft.com/office/drawing/2014/main" id="{B74451DF-ED5C-863A-C4C5-9B3E9F3E40B1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2" name="Rechteck 621">
              <a:extLst>
                <a:ext uri="{FF2B5EF4-FFF2-40B4-BE49-F238E27FC236}">
                  <a16:creationId xmlns:a16="http://schemas.microsoft.com/office/drawing/2014/main" id="{2FBF694C-9C59-DDFD-C6B5-7D4901894342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3" name="Rechteck 622">
              <a:extLst>
                <a:ext uri="{FF2B5EF4-FFF2-40B4-BE49-F238E27FC236}">
                  <a16:creationId xmlns:a16="http://schemas.microsoft.com/office/drawing/2014/main" id="{D34046EF-D36D-98DC-C3FC-595BE23EA105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4" name="Rechteck 623">
              <a:extLst>
                <a:ext uri="{FF2B5EF4-FFF2-40B4-BE49-F238E27FC236}">
                  <a16:creationId xmlns:a16="http://schemas.microsoft.com/office/drawing/2014/main" id="{32B1F5CF-BB13-D10E-4DBB-86FBF2C85A5F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5" name="Rechteck 624">
              <a:extLst>
                <a:ext uri="{FF2B5EF4-FFF2-40B4-BE49-F238E27FC236}">
                  <a16:creationId xmlns:a16="http://schemas.microsoft.com/office/drawing/2014/main" id="{B71CCF04-7252-EF32-3EC9-CD6023E1996A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6" name="Rechteck 625">
              <a:extLst>
                <a:ext uri="{FF2B5EF4-FFF2-40B4-BE49-F238E27FC236}">
                  <a16:creationId xmlns:a16="http://schemas.microsoft.com/office/drawing/2014/main" id="{5A0475A4-2779-31A9-B255-A7D1D152FC51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7" name="Rechteck 626">
              <a:extLst>
                <a:ext uri="{FF2B5EF4-FFF2-40B4-BE49-F238E27FC236}">
                  <a16:creationId xmlns:a16="http://schemas.microsoft.com/office/drawing/2014/main" id="{4BB1113B-653A-2817-038D-63E03CADE256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8" name="Rechteck 627">
              <a:extLst>
                <a:ext uri="{FF2B5EF4-FFF2-40B4-BE49-F238E27FC236}">
                  <a16:creationId xmlns:a16="http://schemas.microsoft.com/office/drawing/2014/main" id="{988C0C65-30B6-D9D8-B0F2-C3EC55469EEA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9" name="Rechteck 628">
              <a:extLst>
                <a:ext uri="{FF2B5EF4-FFF2-40B4-BE49-F238E27FC236}">
                  <a16:creationId xmlns:a16="http://schemas.microsoft.com/office/drawing/2014/main" id="{0D6413B5-C906-7481-E73E-9FD2ABE730F0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0" name="Rechteck 629">
              <a:extLst>
                <a:ext uri="{FF2B5EF4-FFF2-40B4-BE49-F238E27FC236}">
                  <a16:creationId xmlns:a16="http://schemas.microsoft.com/office/drawing/2014/main" id="{C5917E15-3A27-3BB3-6FA8-52BB852352F7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1" name="Rechteck 630">
              <a:extLst>
                <a:ext uri="{FF2B5EF4-FFF2-40B4-BE49-F238E27FC236}">
                  <a16:creationId xmlns:a16="http://schemas.microsoft.com/office/drawing/2014/main" id="{E61EF6A3-BCCD-71A9-58A4-3BF685B9669A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2" name="Rechteck 631">
              <a:extLst>
                <a:ext uri="{FF2B5EF4-FFF2-40B4-BE49-F238E27FC236}">
                  <a16:creationId xmlns:a16="http://schemas.microsoft.com/office/drawing/2014/main" id="{4A5501BA-5799-20DA-196C-6A6DF107B5C1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3" name="Rechteck 632">
              <a:extLst>
                <a:ext uri="{FF2B5EF4-FFF2-40B4-BE49-F238E27FC236}">
                  <a16:creationId xmlns:a16="http://schemas.microsoft.com/office/drawing/2014/main" id="{5AB9C895-012F-92A0-2CEF-30C97525C8E3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4" name="Rechteck 633">
              <a:extLst>
                <a:ext uri="{FF2B5EF4-FFF2-40B4-BE49-F238E27FC236}">
                  <a16:creationId xmlns:a16="http://schemas.microsoft.com/office/drawing/2014/main" id="{F0FB8174-FA57-EE76-C015-E862621C0EC3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5" name="Rechteck 634">
              <a:extLst>
                <a:ext uri="{FF2B5EF4-FFF2-40B4-BE49-F238E27FC236}">
                  <a16:creationId xmlns:a16="http://schemas.microsoft.com/office/drawing/2014/main" id="{EFAB9672-74DA-FBDB-D809-42DF5077A3EB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6" name="Rechteck 635">
              <a:extLst>
                <a:ext uri="{FF2B5EF4-FFF2-40B4-BE49-F238E27FC236}">
                  <a16:creationId xmlns:a16="http://schemas.microsoft.com/office/drawing/2014/main" id="{ED22FF69-3F74-640C-D67B-0355141A332C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7" name="Rechteck 636">
              <a:extLst>
                <a:ext uri="{FF2B5EF4-FFF2-40B4-BE49-F238E27FC236}">
                  <a16:creationId xmlns:a16="http://schemas.microsoft.com/office/drawing/2014/main" id="{29DBD6D7-0381-09C0-9C3D-6A13FEDD03FA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8" name="Rechteck 637">
              <a:extLst>
                <a:ext uri="{FF2B5EF4-FFF2-40B4-BE49-F238E27FC236}">
                  <a16:creationId xmlns:a16="http://schemas.microsoft.com/office/drawing/2014/main" id="{1C8308BD-6231-C098-AD55-FB2306417EDD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9" name="Rechteck 638">
              <a:extLst>
                <a:ext uri="{FF2B5EF4-FFF2-40B4-BE49-F238E27FC236}">
                  <a16:creationId xmlns:a16="http://schemas.microsoft.com/office/drawing/2014/main" id="{CAB44165-054A-2403-F83F-ADCFE497C2D0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0" name="Rechteck 639">
              <a:extLst>
                <a:ext uri="{FF2B5EF4-FFF2-40B4-BE49-F238E27FC236}">
                  <a16:creationId xmlns:a16="http://schemas.microsoft.com/office/drawing/2014/main" id="{02AF7300-C434-F101-F453-D577AD74F4EA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1" name="Rechteck 640">
              <a:extLst>
                <a:ext uri="{FF2B5EF4-FFF2-40B4-BE49-F238E27FC236}">
                  <a16:creationId xmlns:a16="http://schemas.microsoft.com/office/drawing/2014/main" id="{A42ECF01-573D-613C-B0A0-221FBB28A7B1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2" name="Rechteck 641">
              <a:extLst>
                <a:ext uri="{FF2B5EF4-FFF2-40B4-BE49-F238E27FC236}">
                  <a16:creationId xmlns:a16="http://schemas.microsoft.com/office/drawing/2014/main" id="{09D1055E-0A0E-F198-B0CE-88E0D7955172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3" name="Rechteck 642">
              <a:extLst>
                <a:ext uri="{FF2B5EF4-FFF2-40B4-BE49-F238E27FC236}">
                  <a16:creationId xmlns:a16="http://schemas.microsoft.com/office/drawing/2014/main" id="{70231FAE-9BE5-30EF-1094-2FBBC6A59E6C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4" name="Rechteck 643">
              <a:extLst>
                <a:ext uri="{FF2B5EF4-FFF2-40B4-BE49-F238E27FC236}">
                  <a16:creationId xmlns:a16="http://schemas.microsoft.com/office/drawing/2014/main" id="{DFABD666-5046-E8CE-432C-802A2A8B8564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5" name="Rechteck 644">
              <a:extLst>
                <a:ext uri="{FF2B5EF4-FFF2-40B4-BE49-F238E27FC236}">
                  <a16:creationId xmlns:a16="http://schemas.microsoft.com/office/drawing/2014/main" id="{5A8E55A8-4553-7672-947B-0E6BB6C82EE3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6" name="Rechteck 645">
              <a:extLst>
                <a:ext uri="{FF2B5EF4-FFF2-40B4-BE49-F238E27FC236}">
                  <a16:creationId xmlns:a16="http://schemas.microsoft.com/office/drawing/2014/main" id="{E8E02F03-5A58-0ADA-DF56-A4B1A13864D5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7" name="Rechteck 646">
              <a:extLst>
                <a:ext uri="{FF2B5EF4-FFF2-40B4-BE49-F238E27FC236}">
                  <a16:creationId xmlns:a16="http://schemas.microsoft.com/office/drawing/2014/main" id="{4BDEE04E-AAA2-7F6F-64EF-CDDE94378194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8" name="Rechteck 647">
              <a:extLst>
                <a:ext uri="{FF2B5EF4-FFF2-40B4-BE49-F238E27FC236}">
                  <a16:creationId xmlns:a16="http://schemas.microsoft.com/office/drawing/2014/main" id="{3F4929A3-C04A-1224-17C9-25A811A572CA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9" name="Rechteck 648">
              <a:extLst>
                <a:ext uri="{FF2B5EF4-FFF2-40B4-BE49-F238E27FC236}">
                  <a16:creationId xmlns:a16="http://schemas.microsoft.com/office/drawing/2014/main" id="{F87BB30F-5729-81FC-80B9-3BD15B202803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0" name="Rechteck 649">
              <a:extLst>
                <a:ext uri="{FF2B5EF4-FFF2-40B4-BE49-F238E27FC236}">
                  <a16:creationId xmlns:a16="http://schemas.microsoft.com/office/drawing/2014/main" id="{1A1DB442-A2A1-FCC3-1773-A0AC2A2E1E17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1" name="Rechteck 650">
              <a:extLst>
                <a:ext uri="{FF2B5EF4-FFF2-40B4-BE49-F238E27FC236}">
                  <a16:creationId xmlns:a16="http://schemas.microsoft.com/office/drawing/2014/main" id="{F7C30674-272C-AF8F-C824-C6BB53CCCB6B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2" name="Rechteck 651">
              <a:extLst>
                <a:ext uri="{FF2B5EF4-FFF2-40B4-BE49-F238E27FC236}">
                  <a16:creationId xmlns:a16="http://schemas.microsoft.com/office/drawing/2014/main" id="{E5F9210D-CE7B-CEBE-9B70-A4E6E27B062D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3" name="Rechteck 652">
              <a:extLst>
                <a:ext uri="{FF2B5EF4-FFF2-40B4-BE49-F238E27FC236}">
                  <a16:creationId xmlns:a16="http://schemas.microsoft.com/office/drawing/2014/main" id="{33BC89A1-5819-48FE-6194-D39804EA97E2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4" name="Rechteck 653">
              <a:extLst>
                <a:ext uri="{FF2B5EF4-FFF2-40B4-BE49-F238E27FC236}">
                  <a16:creationId xmlns:a16="http://schemas.microsoft.com/office/drawing/2014/main" id="{B820C5D5-ED93-AE18-CE85-D5EDA5056E51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5" name="Rechteck 654">
              <a:extLst>
                <a:ext uri="{FF2B5EF4-FFF2-40B4-BE49-F238E27FC236}">
                  <a16:creationId xmlns:a16="http://schemas.microsoft.com/office/drawing/2014/main" id="{9AE1CCA2-672E-C480-E49E-7B071CA5AA99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6" name="Rechteck 655">
              <a:extLst>
                <a:ext uri="{FF2B5EF4-FFF2-40B4-BE49-F238E27FC236}">
                  <a16:creationId xmlns:a16="http://schemas.microsoft.com/office/drawing/2014/main" id="{08F6AF5D-5A23-50CB-17C4-B6668FA1CA91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7" name="Rechteck 656">
              <a:extLst>
                <a:ext uri="{FF2B5EF4-FFF2-40B4-BE49-F238E27FC236}">
                  <a16:creationId xmlns:a16="http://schemas.microsoft.com/office/drawing/2014/main" id="{89A6C520-EFCB-782B-01F0-33CC1AF82C7D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8" name="Rechteck 657">
              <a:extLst>
                <a:ext uri="{FF2B5EF4-FFF2-40B4-BE49-F238E27FC236}">
                  <a16:creationId xmlns:a16="http://schemas.microsoft.com/office/drawing/2014/main" id="{480992DD-E57D-F2D2-13A3-8A77EDA7BA2B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9" name="Rechteck 658">
              <a:extLst>
                <a:ext uri="{FF2B5EF4-FFF2-40B4-BE49-F238E27FC236}">
                  <a16:creationId xmlns:a16="http://schemas.microsoft.com/office/drawing/2014/main" id="{59EBD9CE-25E2-7CAF-C292-EEA5BD21A168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0" name="Rechteck 659">
              <a:extLst>
                <a:ext uri="{FF2B5EF4-FFF2-40B4-BE49-F238E27FC236}">
                  <a16:creationId xmlns:a16="http://schemas.microsoft.com/office/drawing/2014/main" id="{BB45BEF5-AAD1-B26C-F4D6-13F916F34AFD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1" name="Rechteck 660">
              <a:extLst>
                <a:ext uri="{FF2B5EF4-FFF2-40B4-BE49-F238E27FC236}">
                  <a16:creationId xmlns:a16="http://schemas.microsoft.com/office/drawing/2014/main" id="{F0D48A5F-81A7-7587-B3C9-ECE81B97FD4B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2" name="Rechteck 661">
              <a:extLst>
                <a:ext uri="{FF2B5EF4-FFF2-40B4-BE49-F238E27FC236}">
                  <a16:creationId xmlns:a16="http://schemas.microsoft.com/office/drawing/2014/main" id="{72E548A1-3EBB-F980-F892-3A233E2F9F16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3" name="Rechteck 662">
              <a:extLst>
                <a:ext uri="{FF2B5EF4-FFF2-40B4-BE49-F238E27FC236}">
                  <a16:creationId xmlns:a16="http://schemas.microsoft.com/office/drawing/2014/main" id="{6D8158C4-CCC2-0FB4-E6FE-DFC317F221B5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4" name="Rechteck 663">
              <a:extLst>
                <a:ext uri="{FF2B5EF4-FFF2-40B4-BE49-F238E27FC236}">
                  <a16:creationId xmlns:a16="http://schemas.microsoft.com/office/drawing/2014/main" id="{156F67DC-623D-9489-F905-F7A7D5837B23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5" name="Rechteck 664">
              <a:extLst>
                <a:ext uri="{FF2B5EF4-FFF2-40B4-BE49-F238E27FC236}">
                  <a16:creationId xmlns:a16="http://schemas.microsoft.com/office/drawing/2014/main" id="{83DCF8B1-9AF1-A95E-18F3-349FE63C16D2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6" name="Rechteck 665">
              <a:extLst>
                <a:ext uri="{FF2B5EF4-FFF2-40B4-BE49-F238E27FC236}">
                  <a16:creationId xmlns:a16="http://schemas.microsoft.com/office/drawing/2014/main" id="{6850E760-9A2D-81BC-446A-221A4B70AB56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7" name="Rechteck 666">
              <a:extLst>
                <a:ext uri="{FF2B5EF4-FFF2-40B4-BE49-F238E27FC236}">
                  <a16:creationId xmlns:a16="http://schemas.microsoft.com/office/drawing/2014/main" id="{B4F72381-38D7-62AB-CF30-216A498DF2B7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8" name="Rechteck 667">
              <a:extLst>
                <a:ext uri="{FF2B5EF4-FFF2-40B4-BE49-F238E27FC236}">
                  <a16:creationId xmlns:a16="http://schemas.microsoft.com/office/drawing/2014/main" id="{1CC9EF21-6C0C-6934-0139-7D79B4D24A67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9" name="Rechteck 668">
              <a:extLst>
                <a:ext uri="{FF2B5EF4-FFF2-40B4-BE49-F238E27FC236}">
                  <a16:creationId xmlns:a16="http://schemas.microsoft.com/office/drawing/2014/main" id="{8CE0A793-542F-C8DD-4AD6-EB6BD2B6AF9C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0" name="Rechteck 669">
              <a:extLst>
                <a:ext uri="{FF2B5EF4-FFF2-40B4-BE49-F238E27FC236}">
                  <a16:creationId xmlns:a16="http://schemas.microsoft.com/office/drawing/2014/main" id="{43E46087-5786-3926-6890-25CB65313D3A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1" name="Rechteck 670">
              <a:extLst>
                <a:ext uri="{FF2B5EF4-FFF2-40B4-BE49-F238E27FC236}">
                  <a16:creationId xmlns:a16="http://schemas.microsoft.com/office/drawing/2014/main" id="{B1953D33-518E-4CD8-8748-D1C9046958B0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2" name="Rechteck 671">
              <a:extLst>
                <a:ext uri="{FF2B5EF4-FFF2-40B4-BE49-F238E27FC236}">
                  <a16:creationId xmlns:a16="http://schemas.microsoft.com/office/drawing/2014/main" id="{464DF9B9-535C-B43F-6757-7D29ABDC31EB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3" name="Rechteck 672">
              <a:extLst>
                <a:ext uri="{FF2B5EF4-FFF2-40B4-BE49-F238E27FC236}">
                  <a16:creationId xmlns:a16="http://schemas.microsoft.com/office/drawing/2014/main" id="{C5A4BAFF-CDF2-EC4D-E5E9-9B38D7DB30DC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4" name="Rechteck 673">
              <a:extLst>
                <a:ext uri="{FF2B5EF4-FFF2-40B4-BE49-F238E27FC236}">
                  <a16:creationId xmlns:a16="http://schemas.microsoft.com/office/drawing/2014/main" id="{962EE49E-D9AD-1752-A20A-5CDAA99CF7D5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5" name="Rechteck 674">
              <a:extLst>
                <a:ext uri="{FF2B5EF4-FFF2-40B4-BE49-F238E27FC236}">
                  <a16:creationId xmlns:a16="http://schemas.microsoft.com/office/drawing/2014/main" id="{B0AA9087-E623-316F-3AD1-C5186EB2637C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6" name="Rechteck 675">
              <a:extLst>
                <a:ext uri="{FF2B5EF4-FFF2-40B4-BE49-F238E27FC236}">
                  <a16:creationId xmlns:a16="http://schemas.microsoft.com/office/drawing/2014/main" id="{36D8A44F-1AAE-CDAE-8004-49C56AF02DDC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7" name="Rechteck 676">
              <a:extLst>
                <a:ext uri="{FF2B5EF4-FFF2-40B4-BE49-F238E27FC236}">
                  <a16:creationId xmlns:a16="http://schemas.microsoft.com/office/drawing/2014/main" id="{2DC78339-D3FE-5E6B-0B9E-7B7F8C2E2EF8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8" name="Rechteck 677">
              <a:extLst>
                <a:ext uri="{FF2B5EF4-FFF2-40B4-BE49-F238E27FC236}">
                  <a16:creationId xmlns:a16="http://schemas.microsoft.com/office/drawing/2014/main" id="{B422DD3B-B13A-B223-C2A6-ECF3D68EB6D8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9" name="Rechteck 678">
              <a:extLst>
                <a:ext uri="{FF2B5EF4-FFF2-40B4-BE49-F238E27FC236}">
                  <a16:creationId xmlns:a16="http://schemas.microsoft.com/office/drawing/2014/main" id="{15C3934F-E177-3BD9-7860-BD44B1652F7C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0" name="Rechteck 679">
              <a:extLst>
                <a:ext uri="{FF2B5EF4-FFF2-40B4-BE49-F238E27FC236}">
                  <a16:creationId xmlns:a16="http://schemas.microsoft.com/office/drawing/2014/main" id="{E62860DE-8BFF-6401-4308-F0F0BDDCB902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1" name="Rechteck 680">
              <a:extLst>
                <a:ext uri="{FF2B5EF4-FFF2-40B4-BE49-F238E27FC236}">
                  <a16:creationId xmlns:a16="http://schemas.microsoft.com/office/drawing/2014/main" id="{9A81B1B1-5E20-66E8-9C86-0534A8566DB2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2" name="Rechteck 681">
              <a:extLst>
                <a:ext uri="{FF2B5EF4-FFF2-40B4-BE49-F238E27FC236}">
                  <a16:creationId xmlns:a16="http://schemas.microsoft.com/office/drawing/2014/main" id="{F5B304B7-357C-873E-A2D8-BF4F6CC202CF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3" name="Rechteck 682">
              <a:extLst>
                <a:ext uri="{FF2B5EF4-FFF2-40B4-BE49-F238E27FC236}">
                  <a16:creationId xmlns:a16="http://schemas.microsoft.com/office/drawing/2014/main" id="{3062B128-7717-E1E1-7687-A11C1B65C8CD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4" name="Rechteck 683">
              <a:extLst>
                <a:ext uri="{FF2B5EF4-FFF2-40B4-BE49-F238E27FC236}">
                  <a16:creationId xmlns:a16="http://schemas.microsoft.com/office/drawing/2014/main" id="{A4CA6D36-DC34-6A09-D97C-321888684FC7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5" name="Rechteck 684">
              <a:extLst>
                <a:ext uri="{FF2B5EF4-FFF2-40B4-BE49-F238E27FC236}">
                  <a16:creationId xmlns:a16="http://schemas.microsoft.com/office/drawing/2014/main" id="{1EA78B5B-57C8-AAB1-CFA6-1B3254EEAF16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6" name="Rechteck 685">
              <a:extLst>
                <a:ext uri="{FF2B5EF4-FFF2-40B4-BE49-F238E27FC236}">
                  <a16:creationId xmlns:a16="http://schemas.microsoft.com/office/drawing/2014/main" id="{35CEDADC-7EB6-9D37-AE09-952136E87989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7" name="Rechteck 686">
              <a:extLst>
                <a:ext uri="{FF2B5EF4-FFF2-40B4-BE49-F238E27FC236}">
                  <a16:creationId xmlns:a16="http://schemas.microsoft.com/office/drawing/2014/main" id="{9E9AC355-92FA-63D1-32F3-5153C5E83701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8" name="Rechteck 687">
              <a:extLst>
                <a:ext uri="{FF2B5EF4-FFF2-40B4-BE49-F238E27FC236}">
                  <a16:creationId xmlns:a16="http://schemas.microsoft.com/office/drawing/2014/main" id="{6D994F92-578F-34F9-6C91-54D1D59A0E9B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9" name="Rechteck 688">
              <a:extLst>
                <a:ext uri="{FF2B5EF4-FFF2-40B4-BE49-F238E27FC236}">
                  <a16:creationId xmlns:a16="http://schemas.microsoft.com/office/drawing/2014/main" id="{58C09640-E043-63A3-EB9F-3A2B3BBE3D30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0" name="Rechteck 689">
              <a:extLst>
                <a:ext uri="{FF2B5EF4-FFF2-40B4-BE49-F238E27FC236}">
                  <a16:creationId xmlns:a16="http://schemas.microsoft.com/office/drawing/2014/main" id="{98111A9E-C0D5-DE1D-9350-F1713FFCF263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1" name="Rechteck 690">
              <a:extLst>
                <a:ext uri="{FF2B5EF4-FFF2-40B4-BE49-F238E27FC236}">
                  <a16:creationId xmlns:a16="http://schemas.microsoft.com/office/drawing/2014/main" id="{E88A1554-F28E-1007-658F-86D41505DDDE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2" name="Rechteck 691">
              <a:extLst>
                <a:ext uri="{FF2B5EF4-FFF2-40B4-BE49-F238E27FC236}">
                  <a16:creationId xmlns:a16="http://schemas.microsoft.com/office/drawing/2014/main" id="{5EA3970A-5D6F-0BBE-C197-07277235DE67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3" name="Rechteck 692">
              <a:extLst>
                <a:ext uri="{FF2B5EF4-FFF2-40B4-BE49-F238E27FC236}">
                  <a16:creationId xmlns:a16="http://schemas.microsoft.com/office/drawing/2014/main" id="{F5A33F98-E753-9B85-5A4D-C4225BD41879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4" name="Rechteck 693">
              <a:extLst>
                <a:ext uri="{FF2B5EF4-FFF2-40B4-BE49-F238E27FC236}">
                  <a16:creationId xmlns:a16="http://schemas.microsoft.com/office/drawing/2014/main" id="{59C265C9-248D-5D03-020E-E010ABCB3969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5" name="Rechteck 694">
              <a:extLst>
                <a:ext uri="{FF2B5EF4-FFF2-40B4-BE49-F238E27FC236}">
                  <a16:creationId xmlns:a16="http://schemas.microsoft.com/office/drawing/2014/main" id="{9B14CFBC-5640-DF1C-5D3B-0A187F6E7D70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6" name="Rechteck 695">
              <a:extLst>
                <a:ext uri="{FF2B5EF4-FFF2-40B4-BE49-F238E27FC236}">
                  <a16:creationId xmlns:a16="http://schemas.microsoft.com/office/drawing/2014/main" id="{E51D979F-FB50-1B33-E13E-EDC5E673F0E3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7" name="Rechteck 696">
              <a:extLst>
                <a:ext uri="{FF2B5EF4-FFF2-40B4-BE49-F238E27FC236}">
                  <a16:creationId xmlns:a16="http://schemas.microsoft.com/office/drawing/2014/main" id="{8A3B770B-A7DB-5435-B74E-63867B471738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8" name="Rechteck 697">
              <a:extLst>
                <a:ext uri="{FF2B5EF4-FFF2-40B4-BE49-F238E27FC236}">
                  <a16:creationId xmlns:a16="http://schemas.microsoft.com/office/drawing/2014/main" id="{B2AAD276-F093-78F8-7000-9CD7B2278160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9" name="Rechteck 698">
              <a:extLst>
                <a:ext uri="{FF2B5EF4-FFF2-40B4-BE49-F238E27FC236}">
                  <a16:creationId xmlns:a16="http://schemas.microsoft.com/office/drawing/2014/main" id="{055A9DB6-1FAD-E1D4-9585-13799D013C73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0" name="Rechteck 699">
              <a:extLst>
                <a:ext uri="{FF2B5EF4-FFF2-40B4-BE49-F238E27FC236}">
                  <a16:creationId xmlns:a16="http://schemas.microsoft.com/office/drawing/2014/main" id="{27D2771B-73FB-E367-7CC0-774D940C1AB0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1" name="Rechteck 700">
              <a:extLst>
                <a:ext uri="{FF2B5EF4-FFF2-40B4-BE49-F238E27FC236}">
                  <a16:creationId xmlns:a16="http://schemas.microsoft.com/office/drawing/2014/main" id="{179B83AC-A0D7-5190-0B53-1D781A27B301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2" name="Rechteck 701">
              <a:extLst>
                <a:ext uri="{FF2B5EF4-FFF2-40B4-BE49-F238E27FC236}">
                  <a16:creationId xmlns:a16="http://schemas.microsoft.com/office/drawing/2014/main" id="{9F8A48D9-9826-8C78-A15E-FE974471A541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3" name="Rechteck 702">
              <a:extLst>
                <a:ext uri="{FF2B5EF4-FFF2-40B4-BE49-F238E27FC236}">
                  <a16:creationId xmlns:a16="http://schemas.microsoft.com/office/drawing/2014/main" id="{E851EF8C-B1DA-CB4A-0E3E-5A4D2EE72C75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4" name="Rechteck 703">
              <a:extLst>
                <a:ext uri="{FF2B5EF4-FFF2-40B4-BE49-F238E27FC236}">
                  <a16:creationId xmlns:a16="http://schemas.microsoft.com/office/drawing/2014/main" id="{222E1F5C-9DBE-F85F-4F96-D1EBE6DB7CCA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5" name="Rechteck 704">
              <a:extLst>
                <a:ext uri="{FF2B5EF4-FFF2-40B4-BE49-F238E27FC236}">
                  <a16:creationId xmlns:a16="http://schemas.microsoft.com/office/drawing/2014/main" id="{C4A437BD-4BE9-E1C9-1C7D-E06334E1A5AB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6" name="Rechteck 705">
              <a:extLst>
                <a:ext uri="{FF2B5EF4-FFF2-40B4-BE49-F238E27FC236}">
                  <a16:creationId xmlns:a16="http://schemas.microsoft.com/office/drawing/2014/main" id="{2767AFCE-79E8-9501-F4DA-BCAE9F62AA50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7" name="Rechteck 706">
              <a:extLst>
                <a:ext uri="{FF2B5EF4-FFF2-40B4-BE49-F238E27FC236}">
                  <a16:creationId xmlns:a16="http://schemas.microsoft.com/office/drawing/2014/main" id="{A728F6C1-8F33-1BCB-33D3-68ED35E6EDB4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8" name="Rechteck 707">
              <a:extLst>
                <a:ext uri="{FF2B5EF4-FFF2-40B4-BE49-F238E27FC236}">
                  <a16:creationId xmlns:a16="http://schemas.microsoft.com/office/drawing/2014/main" id="{E42BA9F2-BFCE-E83E-A008-592C3F7DA56C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9" name="Rechteck 708">
              <a:extLst>
                <a:ext uri="{FF2B5EF4-FFF2-40B4-BE49-F238E27FC236}">
                  <a16:creationId xmlns:a16="http://schemas.microsoft.com/office/drawing/2014/main" id="{DAFC49E7-9421-DD27-18B4-3B559C1B1A2B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0" name="Rechteck 709">
              <a:extLst>
                <a:ext uri="{FF2B5EF4-FFF2-40B4-BE49-F238E27FC236}">
                  <a16:creationId xmlns:a16="http://schemas.microsoft.com/office/drawing/2014/main" id="{4C190DCC-A08F-DC52-3115-74F9E1BB0D3C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1" name="Rechteck 710">
              <a:extLst>
                <a:ext uri="{FF2B5EF4-FFF2-40B4-BE49-F238E27FC236}">
                  <a16:creationId xmlns:a16="http://schemas.microsoft.com/office/drawing/2014/main" id="{9B243031-1425-309A-DD01-1B0FEBB9E833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2" name="Rechteck 711">
              <a:extLst>
                <a:ext uri="{FF2B5EF4-FFF2-40B4-BE49-F238E27FC236}">
                  <a16:creationId xmlns:a16="http://schemas.microsoft.com/office/drawing/2014/main" id="{5B865045-23F6-3487-91DC-CDAC5A67994C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3" name="Rechteck 712">
              <a:extLst>
                <a:ext uri="{FF2B5EF4-FFF2-40B4-BE49-F238E27FC236}">
                  <a16:creationId xmlns:a16="http://schemas.microsoft.com/office/drawing/2014/main" id="{CEEACEAA-2999-79E0-4F3B-8ED3AF1203C5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4" name="Rechteck 713">
              <a:extLst>
                <a:ext uri="{FF2B5EF4-FFF2-40B4-BE49-F238E27FC236}">
                  <a16:creationId xmlns:a16="http://schemas.microsoft.com/office/drawing/2014/main" id="{9C77E7C4-00FF-5880-327D-7AEC7D9C0FA5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5" name="Rechteck 714">
              <a:extLst>
                <a:ext uri="{FF2B5EF4-FFF2-40B4-BE49-F238E27FC236}">
                  <a16:creationId xmlns:a16="http://schemas.microsoft.com/office/drawing/2014/main" id="{56825C1B-8DD8-A41D-4342-645D304FA9DC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6" name="Rechteck 715">
              <a:extLst>
                <a:ext uri="{FF2B5EF4-FFF2-40B4-BE49-F238E27FC236}">
                  <a16:creationId xmlns:a16="http://schemas.microsoft.com/office/drawing/2014/main" id="{35DD90C0-E5CC-BDDD-B4F7-709FB844C87D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7" name="Rechteck 716">
              <a:extLst>
                <a:ext uri="{FF2B5EF4-FFF2-40B4-BE49-F238E27FC236}">
                  <a16:creationId xmlns:a16="http://schemas.microsoft.com/office/drawing/2014/main" id="{B07A1F80-D748-8330-A62F-BCD9E8E6B982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8" name="Rechteck 717">
              <a:extLst>
                <a:ext uri="{FF2B5EF4-FFF2-40B4-BE49-F238E27FC236}">
                  <a16:creationId xmlns:a16="http://schemas.microsoft.com/office/drawing/2014/main" id="{CF32D899-BA00-BA97-9E2F-DA60FD09D9E4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9" name="Rechteck 718">
              <a:extLst>
                <a:ext uri="{FF2B5EF4-FFF2-40B4-BE49-F238E27FC236}">
                  <a16:creationId xmlns:a16="http://schemas.microsoft.com/office/drawing/2014/main" id="{AAFC2B6F-E519-3557-6EA9-9EC6715CCB24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0" name="Rechteck 719">
              <a:extLst>
                <a:ext uri="{FF2B5EF4-FFF2-40B4-BE49-F238E27FC236}">
                  <a16:creationId xmlns:a16="http://schemas.microsoft.com/office/drawing/2014/main" id="{48B93CBE-96C2-B5CB-3B71-CECBCADD0AB9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1" name="Rechteck 720">
              <a:extLst>
                <a:ext uri="{FF2B5EF4-FFF2-40B4-BE49-F238E27FC236}">
                  <a16:creationId xmlns:a16="http://schemas.microsoft.com/office/drawing/2014/main" id="{E5A13217-8A5B-0C63-10BD-98407E413EAC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2" name="Rechteck 721">
              <a:extLst>
                <a:ext uri="{FF2B5EF4-FFF2-40B4-BE49-F238E27FC236}">
                  <a16:creationId xmlns:a16="http://schemas.microsoft.com/office/drawing/2014/main" id="{EA5EBFE0-5C25-81D3-10CE-B2214F7246A5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3" name="Rechteck 722">
              <a:extLst>
                <a:ext uri="{FF2B5EF4-FFF2-40B4-BE49-F238E27FC236}">
                  <a16:creationId xmlns:a16="http://schemas.microsoft.com/office/drawing/2014/main" id="{0A90F4F6-356C-853E-E408-3A041C355405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4" name="Rechteck 723">
              <a:extLst>
                <a:ext uri="{FF2B5EF4-FFF2-40B4-BE49-F238E27FC236}">
                  <a16:creationId xmlns:a16="http://schemas.microsoft.com/office/drawing/2014/main" id="{6A253D50-C0C5-9E5A-0386-4E7C8A371421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5" name="Rechteck 724">
              <a:extLst>
                <a:ext uri="{FF2B5EF4-FFF2-40B4-BE49-F238E27FC236}">
                  <a16:creationId xmlns:a16="http://schemas.microsoft.com/office/drawing/2014/main" id="{A195CACB-66FA-E828-69C1-ED45DDB77C7D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6" name="Rechteck 725">
              <a:extLst>
                <a:ext uri="{FF2B5EF4-FFF2-40B4-BE49-F238E27FC236}">
                  <a16:creationId xmlns:a16="http://schemas.microsoft.com/office/drawing/2014/main" id="{45D103D5-642F-652C-BD76-6BC4CBF7BDCA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7" name="Rechteck 726">
              <a:extLst>
                <a:ext uri="{FF2B5EF4-FFF2-40B4-BE49-F238E27FC236}">
                  <a16:creationId xmlns:a16="http://schemas.microsoft.com/office/drawing/2014/main" id="{DF0342CA-B081-3A15-ABEC-8F9EDED1FD22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8" name="Rechteck 727">
              <a:extLst>
                <a:ext uri="{FF2B5EF4-FFF2-40B4-BE49-F238E27FC236}">
                  <a16:creationId xmlns:a16="http://schemas.microsoft.com/office/drawing/2014/main" id="{94B0D504-DF7A-B695-E595-3D416295D4B5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9" name="Rechteck 728">
              <a:extLst>
                <a:ext uri="{FF2B5EF4-FFF2-40B4-BE49-F238E27FC236}">
                  <a16:creationId xmlns:a16="http://schemas.microsoft.com/office/drawing/2014/main" id="{E52C04F1-B4E0-A6F4-A1D5-C8C05CEABC2C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0" name="Rechteck 729">
              <a:extLst>
                <a:ext uri="{FF2B5EF4-FFF2-40B4-BE49-F238E27FC236}">
                  <a16:creationId xmlns:a16="http://schemas.microsoft.com/office/drawing/2014/main" id="{2207DAE1-278B-F571-8324-F088B468BCAB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1" name="Rechteck 730">
              <a:extLst>
                <a:ext uri="{FF2B5EF4-FFF2-40B4-BE49-F238E27FC236}">
                  <a16:creationId xmlns:a16="http://schemas.microsoft.com/office/drawing/2014/main" id="{5949E7AE-C6C4-4535-228F-0C80331DF664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2" name="Rechteck 731">
              <a:extLst>
                <a:ext uri="{FF2B5EF4-FFF2-40B4-BE49-F238E27FC236}">
                  <a16:creationId xmlns:a16="http://schemas.microsoft.com/office/drawing/2014/main" id="{A9F36090-5591-B0F7-B7EE-5496C0BE1B98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3" name="Rechteck 732">
              <a:extLst>
                <a:ext uri="{FF2B5EF4-FFF2-40B4-BE49-F238E27FC236}">
                  <a16:creationId xmlns:a16="http://schemas.microsoft.com/office/drawing/2014/main" id="{0922C46F-8FD8-AA13-7040-FFF5FA320DF8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4" name="Rechteck 733">
              <a:extLst>
                <a:ext uri="{FF2B5EF4-FFF2-40B4-BE49-F238E27FC236}">
                  <a16:creationId xmlns:a16="http://schemas.microsoft.com/office/drawing/2014/main" id="{0846CF5B-31D0-E43E-C43C-AD3E1DF0EC7C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5" name="Rechteck 734">
              <a:extLst>
                <a:ext uri="{FF2B5EF4-FFF2-40B4-BE49-F238E27FC236}">
                  <a16:creationId xmlns:a16="http://schemas.microsoft.com/office/drawing/2014/main" id="{7DA7A135-0081-EBBA-1FA9-938435CA837D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6" name="Rechteck 735">
              <a:extLst>
                <a:ext uri="{FF2B5EF4-FFF2-40B4-BE49-F238E27FC236}">
                  <a16:creationId xmlns:a16="http://schemas.microsoft.com/office/drawing/2014/main" id="{1C9078DE-4ED6-00BE-E545-F75DDCE79A73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7" name="Rechteck 736">
              <a:extLst>
                <a:ext uri="{FF2B5EF4-FFF2-40B4-BE49-F238E27FC236}">
                  <a16:creationId xmlns:a16="http://schemas.microsoft.com/office/drawing/2014/main" id="{2464975E-0276-1116-C021-8DA8ED2829D2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8" name="Rechteck 737">
              <a:extLst>
                <a:ext uri="{FF2B5EF4-FFF2-40B4-BE49-F238E27FC236}">
                  <a16:creationId xmlns:a16="http://schemas.microsoft.com/office/drawing/2014/main" id="{0760F2FD-501E-1993-832F-5387C8FD5145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9" name="Rechteck 738">
              <a:extLst>
                <a:ext uri="{FF2B5EF4-FFF2-40B4-BE49-F238E27FC236}">
                  <a16:creationId xmlns:a16="http://schemas.microsoft.com/office/drawing/2014/main" id="{E70BCF63-52AF-2119-E70D-611B07BCB19C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0" name="Rechteck 739">
              <a:extLst>
                <a:ext uri="{FF2B5EF4-FFF2-40B4-BE49-F238E27FC236}">
                  <a16:creationId xmlns:a16="http://schemas.microsoft.com/office/drawing/2014/main" id="{633EF54F-C74E-D1C7-60B1-86E67AD00140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1" name="Rechteck 740">
              <a:extLst>
                <a:ext uri="{FF2B5EF4-FFF2-40B4-BE49-F238E27FC236}">
                  <a16:creationId xmlns:a16="http://schemas.microsoft.com/office/drawing/2014/main" id="{9FDBD7EA-6B73-EE83-E5EB-260B3C3B0AB6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2" name="Rechteck 741">
              <a:extLst>
                <a:ext uri="{FF2B5EF4-FFF2-40B4-BE49-F238E27FC236}">
                  <a16:creationId xmlns:a16="http://schemas.microsoft.com/office/drawing/2014/main" id="{F5D7C15D-5024-5571-3421-1083AA056824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3" name="Rechteck 742">
              <a:extLst>
                <a:ext uri="{FF2B5EF4-FFF2-40B4-BE49-F238E27FC236}">
                  <a16:creationId xmlns:a16="http://schemas.microsoft.com/office/drawing/2014/main" id="{25AA1E1B-E89E-434C-85FE-FE9B87EA5D8B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4" name="Rechteck 743">
              <a:extLst>
                <a:ext uri="{FF2B5EF4-FFF2-40B4-BE49-F238E27FC236}">
                  <a16:creationId xmlns:a16="http://schemas.microsoft.com/office/drawing/2014/main" id="{83FE0B7C-B161-1DAC-D090-1E341957C027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5" name="Rechteck 744">
              <a:extLst>
                <a:ext uri="{FF2B5EF4-FFF2-40B4-BE49-F238E27FC236}">
                  <a16:creationId xmlns:a16="http://schemas.microsoft.com/office/drawing/2014/main" id="{BEE742BD-C3C4-B9B6-3628-534627ED67A8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6" name="Rechteck 745">
              <a:extLst>
                <a:ext uri="{FF2B5EF4-FFF2-40B4-BE49-F238E27FC236}">
                  <a16:creationId xmlns:a16="http://schemas.microsoft.com/office/drawing/2014/main" id="{11CA78B9-611C-4F82-5BB8-BB5E3D58535A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7" name="Rechteck 746">
              <a:extLst>
                <a:ext uri="{FF2B5EF4-FFF2-40B4-BE49-F238E27FC236}">
                  <a16:creationId xmlns:a16="http://schemas.microsoft.com/office/drawing/2014/main" id="{44798934-5143-A94D-F4FA-B1C6AEF717A4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8" name="Rechteck 747">
              <a:extLst>
                <a:ext uri="{FF2B5EF4-FFF2-40B4-BE49-F238E27FC236}">
                  <a16:creationId xmlns:a16="http://schemas.microsoft.com/office/drawing/2014/main" id="{71719F6D-BEE1-7B65-6CC3-F36D6B1119C2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9" name="Rechteck 748">
              <a:extLst>
                <a:ext uri="{FF2B5EF4-FFF2-40B4-BE49-F238E27FC236}">
                  <a16:creationId xmlns:a16="http://schemas.microsoft.com/office/drawing/2014/main" id="{F0A78F12-966F-927A-37DD-042370A66FC4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0" name="Rechteck 749">
              <a:extLst>
                <a:ext uri="{FF2B5EF4-FFF2-40B4-BE49-F238E27FC236}">
                  <a16:creationId xmlns:a16="http://schemas.microsoft.com/office/drawing/2014/main" id="{4001BB8B-6393-8C38-286D-07AC56561D62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1" name="Rechteck 750">
              <a:extLst>
                <a:ext uri="{FF2B5EF4-FFF2-40B4-BE49-F238E27FC236}">
                  <a16:creationId xmlns:a16="http://schemas.microsoft.com/office/drawing/2014/main" id="{8E0D58FB-EC9C-8264-91D7-7EA439FA1BAF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2" name="Rechteck 751">
              <a:extLst>
                <a:ext uri="{FF2B5EF4-FFF2-40B4-BE49-F238E27FC236}">
                  <a16:creationId xmlns:a16="http://schemas.microsoft.com/office/drawing/2014/main" id="{677579A4-ACFF-1737-AD89-E321001B3395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3" name="Rechteck 752">
              <a:extLst>
                <a:ext uri="{FF2B5EF4-FFF2-40B4-BE49-F238E27FC236}">
                  <a16:creationId xmlns:a16="http://schemas.microsoft.com/office/drawing/2014/main" id="{19C73BB6-5CEE-BA91-7684-D1770384C0A0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4" name="Rechteck 753">
              <a:extLst>
                <a:ext uri="{FF2B5EF4-FFF2-40B4-BE49-F238E27FC236}">
                  <a16:creationId xmlns:a16="http://schemas.microsoft.com/office/drawing/2014/main" id="{E16C626D-5EB5-2CF6-E5C8-5BA4731770A5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5" name="Rechteck 754">
              <a:extLst>
                <a:ext uri="{FF2B5EF4-FFF2-40B4-BE49-F238E27FC236}">
                  <a16:creationId xmlns:a16="http://schemas.microsoft.com/office/drawing/2014/main" id="{6E384DBA-9F5B-78E7-BD7D-FE744D44EF64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6" name="Rechteck 755">
              <a:extLst>
                <a:ext uri="{FF2B5EF4-FFF2-40B4-BE49-F238E27FC236}">
                  <a16:creationId xmlns:a16="http://schemas.microsoft.com/office/drawing/2014/main" id="{2A6329EA-261C-485A-25FA-9A9A29A50D19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7" name="Rechteck 756">
              <a:extLst>
                <a:ext uri="{FF2B5EF4-FFF2-40B4-BE49-F238E27FC236}">
                  <a16:creationId xmlns:a16="http://schemas.microsoft.com/office/drawing/2014/main" id="{979C902D-6045-66E0-9A5B-11A9A4E203A4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8" name="Rechteck 757">
              <a:extLst>
                <a:ext uri="{FF2B5EF4-FFF2-40B4-BE49-F238E27FC236}">
                  <a16:creationId xmlns:a16="http://schemas.microsoft.com/office/drawing/2014/main" id="{7BCF348D-CEE0-E5EA-8D44-5002D7B6978D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9" name="Rechteck 758">
              <a:extLst>
                <a:ext uri="{FF2B5EF4-FFF2-40B4-BE49-F238E27FC236}">
                  <a16:creationId xmlns:a16="http://schemas.microsoft.com/office/drawing/2014/main" id="{8BA9F7D3-8DA3-1AD7-6871-073220E7B43F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0" name="Rechteck 759">
              <a:extLst>
                <a:ext uri="{FF2B5EF4-FFF2-40B4-BE49-F238E27FC236}">
                  <a16:creationId xmlns:a16="http://schemas.microsoft.com/office/drawing/2014/main" id="{14A8B6C8-1EEB-9F07-5E83-4FCCEF52E638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1" name="Rechteck 760">
              <a:extLst>
                <a:ext uri="{FF2B5EF4-FFF2-40B4-BE49-F238E27FC236}">
                  <a16:creationId xmlns:a16="http://schemas.microsoft.com/office/drawing/2014/main" id="{ED0026F0-D395-B31C-0306-5B66AF26DCE2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2" name="Rechteck 761">
              <a:extLst>
                <a:ext uri="{FF2B5EF4-FFF2-40B4-BE49-F238E27FC236}">
                  <a16:creationId xmlns:a16="http://schemas.microsoft.com/office/drawing/2014/main" id="{0E1D3895-B7BC-5B4C-3004-646AE7295925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3" name="Rechteck 762">
              <a:extLst>
                <a:ext uri="{FF2B5EF4-FFF2-40B4-BE49-F238E27FC236}">
                  <a16:creationId xmlns:a16="http://schemas.microsoft.com/office/drawing/2014/main" id="{17829EEF-91A4-34D5-4F4B-DD487818F9F5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4" name="Rechteck 763">
              <a:extLst>
                <a:ext uri="{FF2B5EF4-FFF2-40B4-BE49-F238E27FC236}">
                  <a16:creationId xmlns:a16="http://schemas.microsoft.com/office/drawing/2014/main" id="{5F4CCF9E-106E-2473-B053-38CFB15FD3D8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5" name="Rechteck 764">
              <a:extLst>
                <a:ext uri="{FF2B5EF4-FFF2-40B4-BE49-F238E27FC236}">
                  <a16:creationId xmlns:a16="http://schemas.microsoft.com/office/drawing/2014/main" id="{960C30F7-12F6-9283-69DD-3FFFD7876372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6" name="Rechteck 765">
              <a:extLst>
                <a:ext uri="{FF2B5EF4-FFF2-40B4-BE49-F238E27FC236}">
                  <a16:creationId xmlns:a16="http://schemas.microsoft.com/office/drawing/2014/main" id="{E392FC51-2335-4901-BB28-BBAB698B6CBA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7" name="Rechteck 766">
              <a:extLst>
                <a:ext uri="{FF2B5EF4-FFF2-40B4-BE49-F238E27FC236}">
                  <a16:creationId xmlns:a16="http://schemas.microsoft.com/office/drawing/2014/main" id="{2F3FBA0B-8B43-8DA1-9BFB-FB54FCBD351E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8" name="Rechteck 767">
              <a:extLst>
                <a:ext uri="{FF2B5EF4-FFF2-40B4-BE49-F238E27FC236}">
                  <a16:creationId xmlns:a16="http://schemas.microsoft.com/office/drawing/2014/main" id="{70820389-6EB8-C6DE-7645-27D53608C92C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9" name="Rechteck 768">
              <a:extLst>
                <a:ext uri="{FF2B5EF4-FFF2-40B4-BE49-F238E27FC236}">
                  <a16:creationId xmlns:a16="http://schemas.microsoft.com/office/drawing/2014/main" id="{2C39B9D8-AE01-84AD-C27F-E9CC608706F8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0" name="Rechteck 769">
              <a:extLst>
                <a:ext uri="{FF2B5EF4-FFF2-40B4-BE49-F238E27FC236}">
                  <a16:creationId xmlns:a16="http://schemas.microsoft.com/office/drawing/2014/main" id="{45AAAFDE-5AF7-5305-6A6A-A994BFF4F72E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1" name="Rechteck 770">
              <a:extLst>
                <a:ext uri="{FF2B5EF4-FFF2-40B4-BE49-F238E27FC236}">
                  <a16:creationId xmlns:a16="http://schemas.microsoft.com/office/drawing/2014/main" id="{3569BD77-3236-57B9-5762-422B3A9F65F1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2" name="Rechteck 771">
              <a:extLst>
                <a:ext uri="{FF2B5EF4-FFF2-40B4-BE49-F238E27FC236}">
                  <a16:creationId xmlns:a16="http://schemas.microsoft.com/office/drawing/2014/main" id="{54A0BA2C-799E-1FA0-DFDF-BF894097E841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3" name="Rechteck 772">
              <a:extLst>
                <a:ext uri="{FF2B5EF4-FFF2-40B4-BE49-F238E27FC236}">
                  <a16:creationId xmlns:a16="http://schemas.microsoft.com/office/drawing/2014/main" id="{C2AAFB40-B6C5-832C-A092-A02596823B05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4" name="Rechteck 773">
              <a:extLst>
                <a:ext uri="{FF2B5EF4-FFF2-40B4-BE49-F238E27FC236}">
                  <a16:creationId xmlns:a16="http://schemas.microsoft.com/office/drawing/2014/main" id="{C32208F6-94FB-9086-E508-481AB096D5A7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5" name="Rechteck 774">
              <a:extLst>
                <a:ext uri="{FF2B5EF4-FFF2-40B4-BE49-F238E27FC236}">
                  <a16:creationId xmlns:a16="http://schemas.microsoft.com/office/drawing/2014/main" id="{C653EBEE-1C7F-E3AC-B7A4-85990A14FCD8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6" name="Rechteck 775">
              <a:extLst>
                <a:ext uri="{FF2B5EF4-FFF2-40B4-BE49-F238E27FC236}">
                  <a16:creationId xmlns:a16="http://schemas.microsoft.com/office/drawing/2014/main" id="{A48E2D18-48C1-AC5B-F738-AF5A3B346DE4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7" name="Rechteck 776">
              <a:extLst>
                <a:ext uri="{FF2B5EF4-FFF2-40B4-BE49-F238E27FC236}">
                  <a16:creationId xmlns:a16="http://schemas.microsoft.com/office/drawing/2014/main" id="{C29A17FA-9E25-9182-A445-3CB3AC8A95BA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8" name="Rechteck 777">
              <a:extLst>
                <a:ext uri="{FF2B5EF4-FFF2-40B4-BE49-F238E27FC236}">
                  <a16:creationId xmlns:a16="http://schemas.microsoft.com/office/drawing/2014/main" id="{77E9D2AC-0B64-4619-2288-24FB128F0937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9" name="Rechteck 778">
              <a:extLst>
                <a:ext uri="{FF2B5EF4-FFF2-40B4-BE49-F238E27FC236}">
                  <a16:creationId xmlns:a16="http://schemas.microsoft.com/office/drawing/2014/main" id="{F80E5A62-E5CE-5655-ECE4-776404D4F297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80" name="Rechteck 779">
              <a:extLst>
                <a:ext uri="{FF2B5EF4-FFF2-40B4-BE49-F238E27FC236}">
                  <a16:creationId xmlns:a16="http://schemas.microsoft.com/office/drawing/2014/main" id="{0CFCE029-E170-797E-5B2F-5886609969DF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81" name="Rechteck 780">
              <a:extLst>
                <a:ext uri="{FF2B5EF4-FFF2-40B4-BE49-F238E27FC236}">
                  <a16:creationId xmlns:a16="http://schemas.microsoft.com/office/drawing/2014/main" id="{82393C07-E7B0-577C-A63E-26D210F68F25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82" name="Rechteck 781">
              <a:extLst>
                <a:ext uri="{FF2B5EF4-FFF2-40B4-BE49-F238E27FC236}">
                  <a16:creationId xmlns:a16="http://schemas.microsoft.com/office/drawing/2014/main" id="{B7CA7CC8-E11E-0E86-D952-22F72ADBC423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83" name="Rechteck 782">
              <a:extLst>
                <a:ext uri="{FF2B5EF4-FFF2-40B4-BE49-F238E27FC236}">
                  <a16:creationId xmlns:a16="http://schemas.microsoft.com/office/drawing/2014/main" id="{C2E2FD63-4FA5-1747-609B-70FAA7E210F1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84" name="Rechteck 783">
              <a:extLst>
                <a:ext uri="{FF2B5EF4-FFF2-40B4-BE49-F238E27FC236}">
                  <a16:creationId xmlns:a16="http://schemas.microsoft.com/office/drawing/2014/main" id="{FED70157-0049-7099-9F73-01377BAC6235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pic>
        <p:nvPicPr>
          <p:cNvPr id="391" name="Logo">
            <a:extLst>
              <a:ext uri="{FF2B5EF4-FFF2-40B4-BE49-F238E27FC236}">
                <a16:creationId xmlns:a16="http://schemas.microsoft.com/office/drawing/2014/main" id="{601936FD-E0CC-CC41-4FFF-FE3A682FAC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128448" y="335757"/>
            <a:ext cx="1358180" cy="576000"/>
          </a:xfrm>
          <a:prstGeom prst="rect">
            <a:avLst/>
          </a:prstGeom>
        </p:spPr>
      </p:pic>
      <p:grpSp>
        <p:nvGrpSpPr>
          <p:cNvPr id="392" name="Gruppieren 391">
            <a:extLst>
              <a:ext uri="{FF2B5EF4-FFF2-40B4-BE49-F238E27FC236}">
                <a16:creationId xmlns:a16="http://schemas.microsoft.com/office/drawing/2014/main" id="{C4728B52-F91B-7BEB-713E-B4ED29A8D5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2" y="2082829"/>
            <a:ext cx="2448000" cy="0"/>
            <a:chOff x="983432" y="2082829"/>
            <a:chExt cx="2448000" cy="0"/>
          </a:xfrm>
        </p:grpSpPr>
        <p:cxnSp>
          <p:nvCxnSpPr>
            <p:cNvPr id="393" name="Line">
              <a:extLst>
                <a:ext uri="{FF2B5EF4-FFF2-40B4-BE49-F238E27FC236}">
                  <a16:creationId xmlns:a16="http://schemas.microsoft.com/office/drawing/2014/main" id="{56777407-5FA9-0433-0ACB-77A6A1B8F38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4" name="Line">
              <a:extLst>
                <a:ext uri="{FF2B5EF4-FFF2-40B4-BE49-F238E27FC236}">
                  <a16:creationId xmlns:a16="http://schemas.microsoft.com/office/drawing/2014/main" id="{92C2BD37-9061-7C89-D747-D4CC389693F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rgbClr val="519FB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0" name="Shape">
            <a:extLst>
              <a:ext uri="{FF2B5EF4-FFF2-40B4-BE49-F238E27FC236}">
                <a16:creationId xmlns:a16="http://schemas.microsoft.com/office/drawing/2014/main" id="{26CE59A9-E0C6-CE9A-3546-922DF6EEE6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1400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95" name="Title">
            <a:extLst>
              <a:ext uri="{FF2B5EF4-FFF2-40B4-BE49-F238E27FC236}">
                <a16:creationId xmlns:a16="http://schemas.microsoft.com/office/drawing/2014/main" id="{CB7EA905-340F-91E4-8C9D-B365916D520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695400" y="2565032"/>
            <a:ext cx="2952000" cy="1152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36000" rIns="216000" anchor="t">
            <a:noAutofit/>
          </a:bodyPr>
          <a:lstStyle>
            <a:lvl1pPr algn="l">
              <a:lnSpc>
                <a:spcPct val="90000"/>
              </a:lnSpc>
              <a:defRPr sz="2400"/>
            </a:lvl1pPr>
          </a:lstStyle>
          <a:p>
            <a:r>
              <a:rPr lang="en-GB"/>
              <a:t>Insert your long title here in max. three lines</a:t>
            </a:r>
          </a:p>
        </p:txBody>
      </p:sp>
      <p:sp>
        <p:nvSpPr>
          <p:cNvPr id="396" name="Subtitle 2">
            <a:extLst>
              <a:ext uri="{FF2B5EF4-FFF2-40B4-BE49-F238E27FC236}">
                <a16:creationId xmlns:a16="http://schemas.microsoft.com/office/drawing/2014/main" id="{EBC1DF4C-E7BC-DD3D-AA17-1A3E8568293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400" y="3717032"/>
            <a:ext cx="2952000" cy="1058353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397" name="Author">
            <a:extLst>
              <a:ext uri="{FF2B5EF4-FFF2-40B4-BE49-F238E27FC236}">
                <a16:creationId xmlns:a16="http://schemas.microsoft.com/office/drawing/2014/main" id="{70555D07-5C94-0E8C-A487-8610C53FEA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400" y="4869160"/>
            <a:ext cx="2952000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GB"/>
              <a:t>First name Last name</a:t>
            </a:r>
          </a:p>
        </p:txBody>
      </p:sp>
      <p:sp>
        <p:nvSpPr>
          <p:cNvPr id="398" name="Department, Date">
            <a:extLst>
              <a:ext uri="{FF2B5EF4-FFF2-40B4-BE49-F238E27FC236}">
                <a16:creationId xmlns:a16="http://schemas.microsoft.com/office/drawing/2014/main" id="{14C18ED3-66CD-D13F-35CF-5BC6A7DEA9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5085160"/>
            <a:ext cx="2952000" cy="504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GB"/>
              <a:t>Department</a:t>
            </a:r>
            <a:br>
              <a:rPr lang="en-GB"/>
            </a:br>
            <a:r>
              <a:rPr lang="en-GB"/>
              <a:t>DD/MM/YYYY</a:t>
            </a:r>
          </a:p>
        </p:txBody>
      </p:sp>
      <p:sp>
        <p:nvSpPr>
          <p:cNvPr id="399" name="Picture">
            <a:extLst>
              <a:ext uri="{FF2B5EF4-FFF2-40B4-BE49-F238E27FC236}">
                <a16:creationId xmlns:a16="http://schemas.microsoft.com/office/drawing/2014/main" id="{5AE19F0A-0C1E-EF0E-40BD-D0BFE67BE75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367809" y="2061400"/>
            <a:ext cx="5775177" cy="3463099"/>
          </a:xfrm>
          <a:custGeom>
            <a:avLst/>
            <a:gdLst>
              <a:gd name="connsiteX0" fmla="*/ 5775177 w 5775177"/>
              <a:gd name="connsiteY0" fmla="*/ 0 h 3463099"/>
              <a:gd name="connsiteX1" fmla="*/ 4621085 w 5775177"/>
              <a:gd name="connsiteY1" fmla="*/ 2311556 h 3463099"/>
              <a:gd name="connsiteX2" fmla="*/ 0 w 5775177"/>
              <a:gd name="connsiteY2" fmla="*/ 3463099 h 3463099"/>
              <a:gd name="connsiteX3" fmla="*/ 0 w 5775177"/>
              <a:gd name="connsiteY3" fmla="*/ 518 h 3463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5177" h="3463099">
                <a:moveTo>
                  <a:pt x="5775177" y="0"/>
                </a:moveTo>
                <a:lnTo>
                  <a:pt x="4621085" y="2311556"/>
                </a:lnTo>
                <a:lnTo>
                  <a:pt x="0" y="3463099"/>
                </a:lnTo>
                <a:lnTo>
                  <a:pt x="0" y="518"/>
                </a:lnTo>
                <a:close/>
              </a:path>
            </a:pathLst>
          </a:custGeom>
          <a:solidFill>
            <a:srgbClr val="519FBC"/>
          </a:solidFill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881719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with big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EC248AF-7035-C376-1789-37E750EDBA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7118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EC248AF-7035-C376-1789-37E750EDBA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6" name="Picture">
            <a:extLst>
              <a:ext uri="{FF2B5EF4-FFF2-40B4-BE49-F238E27FC236}">
                <a16:creationId xmlns:a16="http://schemas.microsoft.com/office/drawing/2014/main" id="{7F971BB4-CECE-4C6B-9C8F-D4F40265C4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6D9DC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EFDF75BA-555D-4338-B380-D9FEBC0FA6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 bwMode="gray">
          <a:xfrm>
            <a:off x="10128448" y="335757"/>
            <a:ext cx="1357714" cy="576000"/>
          </a:xfrm>
          <a:blipFill dpi="0"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10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0">
                <a:latin typeface="+mn-lt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 sz="1000" b="0"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0"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0"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0"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0">
                <a:latin typeface="+mn-lt"/>
              </a:defRPr>
            </a:lvl9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9BBA445-B1E4-2FDB-A199-21D492801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1426" y="1485900"/>
            <a:ext cx="4608510" cy="4614862"/>
          </a:xfrm>
          <a:custGeom>
            <a:avLst/>
            <a:gdLst>
              <a:gd name="connsiteX0" fmla="*/ 4029048 w 5051672"/>
              <a:gd name="connsiteY0" fmla="*/ 0 h 3547859"/>
              <a:gd name="connsiteX1" fmla="*/ 5051672 w 5051672"/>
              <a:gd name="connsiteY1" fmla="*/ 3547859 h 3547859"/>
              <a:gd name="connsiteX2" fmla="*/ 0 w 5051672"/>
              <a:gd name="connsiteY2" fmla="*/ 2520032 h 3547859"/>
              <a:gd name="connsiteX3" fmla="*/ 0 w 5051672"/>
              <a:gd name="connsiteY3" fmla="*/ 377 h 3547859"/>
              <a:gd name="connsiteX0" fmla="*/ 4029048 w 5075736"/>
              <a:gd name="connsiteY0" fmla="*/ 0 h 3229981"/>
              <a:gd name="connsiteX1" fmla="*/ 5075736 w 5075736"/>
              <a:gd name="connsiteY1" fmla="*/ 3229981 h 3229981"/>
              <a:gd name="connsiteX2" fmla="*/ 0 w 5075736"/>
              <a:gd name="connsiteY2" fmla="*/ 2520032 h 3229981"/>
              <a:gd name="connsiteX3" fmla="*/ 0 w 5075736"/>
              <a:gd name="connsiteY3" fmla="*/ 377 h 3229981"/>
              <a:gd name="connsiteX4" fmla="*/ 4029048 w 5075736"/>
              <a:gd name="connsiteY4" fmla="*/ 0 h 3229981"/>
              <a:gd name="connsiteX0" fmla="*/ 4029048 w 5051673"/>
              <a:gd name="connsiteY0" fmla="*/ 0 h 3229981"/>
              <a:gd name="connsiteX1" fmla="*/ 5051673 w 5051673"/>
              <a:gd name="connsiteY1" fmla="*/ 3229981 h 3229981"/>
              <a:gd name="connsiteX2" fmla="*/ 0 w 5051673"/>
              <a:gd name="connsiteY2" fmla="*/ 2520032 h 3229981"/>
              <a:gd name="connsiteX3" fmla="*/ 0 w 5051673"/>
              <a:gd name="connsiteY3" fmla="*/ 377 h 3229981"/>
              <a:gd name="connsiteX4" fmla="*/ 4029048 w 5051673"/>
              <a:gd name="connsiteY4" fmla="*/ 0 h 3229981"/>
              <a:gd name="connsiteX0" fmla="*/ 4029048 w 5042148"/>
              <a:gd name="connsiteY0" fmla="*/ 0 h 3243584"/>
              <a:gd name="connsiteX1" fmla="*/ 5042148 w 5042148"/>
              <a:gd name="connsiteY1" fmla="*/ 3243584 h 3243584"/>
              <a:gd name="connsiteX2" fmla="*/ 0 w 5042148"/>
              <a:gd name="connsiteY2" fmla="*/ 2520032 h 3243584"/>
              <a:gd name="connsiteX3" fmla="*/ 0 w 5042148"/>
              <a:gd name="connsiteY3" fmla="*/ 377 h 3243584"/>
              <a:gd name="connsiteX4" fmla="*/ 4029048 w 5042148"/>
              <a:gd name="connsiteY4" fmla="*/ 0 h 3243584"/>
              <a:gd name="connsiteX0" fmla="*/ 4029048 w 5207881"/>
              <a:gd name="connsiteY0" fmla="*/ 0 h 3252176"/>
              <a:gd name="connsiteX1" fmla="*/ 5207881 w 5207881"/>
              <a:gd name="connsiteY1" fmla="*/ 3252176 h 3252176"/>
              <a:gd name="connsiteX2" fmla="*/ 0 w 5207881"/>
              <a:gd name="connsiteY2" fmla="*/ 2520032 h 3252176"/>
              <a:gd name="connsiteX3" fmla="*/ 0 w 5207881"/>
              <a:gd name="connsiteY3" fmla="*/ 377 h 3252176"/>
              <a:gd name="connsiteX4" fmla="*/ 4029048 w 5207881"/>
              <a:gd name="connsiteY4" fmla="*/ 0 h 3252176"/>
              <a:gd name="connsiteX0" fmla="*/ 4029048 w 5202414"/>
              <a:gd name="connsiteY0" fmla="*/ 0 h 3241974"/>
              <a:gd name="connsiteX1" fmla="*/ 5202414 w 5202414"/>
              <a:gd name="connsiteY1" fmla="*/ 3241974 h 3241974"/>
              <a:gd name="connsiteX2" fmla="*/ 0 w 5202414"/>
              <a:gd name="connsiteY2" fmla="*/ 2520032 h 3241974"/>
              <a:gd name="connsiteX3" fmla="*/ 0 w 5202414"/>
              <a:gd name="connsiteY3" fmla="*/ 377 h 3241974"/>
              <a:gd name="connsiteX4" fmla="*/ 4029048 w 5202414"/>
              <a:gd name="connsiteY4" fmla="*/ 0 h 3241974"/>
              <a:gd name="connsiteX0" fmla="*/ 4029048 w 5374278"/>
              <a:gd name="connsiteY0" fmla="*/ 0 h 3363461"/>
              <a:gd name="connsiteX1" fmla="*/ 5374278 w 5374278"/>
              <a:gd name="connsiteY1" fmla="*/ 3363461 h 3363461"/>
              <a:gd name="connsiteX2" fmla="*/ 0 w 5374278"/>
              <a:gd name="connsiteY2" fmla="*/ 2520032 h 3363461"/>
              <a:gd name="connsiteX3" fmla="*/ 0 w 5374278"/>
              <a:gd name="connsiteY3" fmla="*/ 377 h 3363461"/>
              <a:gd name="connsiteX4" fmla="*/ 4029048 w 5374278"/>
              <a:gd name="connsiteY4" fmla="*/ 0 h 33634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4278" h="3363461">
                <a:moveTo>
                  <a:pt x="4029048" y="0"/>
                </a:moveTo>
                <a:lnTo>
                  <a:pt x="5374278" y="3363461"/>
                </a:lnTo>
                <a:lnTo>
                  <a:pt x="0" y="2520032"/>
                </a:lnTo>
                <a:lnTo>
                  <a:pt x="0" y="377"/>
                </a:lnTo>
                <a:lnTo>
                  <a:pt x="4029048" y="0"/>
                </a:lnTo>
                <a:close/>
              </a:path>
            </a:pathLst>
          </a:cu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tIns="183600" rIns="1152000">
            <a:noAutofit/>
          </a:bodyPr>
          <a:lstStyle>
            <a:lvl1pPr marL="0" indent="0"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your long title of presentation here in maximal three lines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7A5D256E-7435-F747-CC3F-2763FDAE96A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911425" y="2852936"/>
            <a:ext cx="3456384" cy="1008112"/>
          </a:xfrm>
          <a:prstGeom prst="rect">
            <a:avLst/>
          </a:prstGeom>
          <a:noFill/>
          <a:ln w="127">
            <a:noFill/>
          </a:ln>
        </p:spPr>
        <p:txBody>
          <a:bodyPr lIns="21600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9" name="Author">
            <a:extLst>
              <a:ext uri="{FF2B5EF4-FFF2-40B4-BE49-F238E27FC236}">
                <a16:creationId xmlns:a16="http://schemas.microsoft.com/office/drawing/2014/main" id="{85B963E8-CCBF-3EF6-A8A8-C8FDAE42B7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911425" y="3861048"/>
            <a:ext cx="3456384" cy="216000"/>
          </a:xfrm>
          <a:prstGeom prst="rect">
            <a:avLst/>
          </a:prstGeom>
          <a:noFill/>
          <a:ln w="127">
            <a:noFill/>
          </a:ln>
        </p:spPr>
        <p:txBody>
          <a:bodyPr wrap="square" lIns="216000" rIns="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GB"/>
              <a:t>First name Last name</a:t>
            </a:r>
          </a:p>
        </p:txBody>
      </p:sp>
      <p:sp>
        <p:nvSpPr>
          <p:cNvPr id="10" name="Department, Date">
            <a:extLst>
              <a:ext uri="{FF2B5EF4-FFF2-40B4-BE49-F238E27FC236}">
                <a16:creationId xmlns:a16="http://schemas.microsoft.com/office/drawing/2014/main" id="{8CEDCCFD-E94C-4A79-BAC4-51ECBFC54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11425" y="4077048"/>
            <a:ext cx="3456384" cy="431695"/>
          </a:xfrm>
          <a:prstGeom prst="rect">
            <a:avLst/>
          </a:prstGeom>
          <a:noFill/>
          <a:ln w="127">
            <a:noFill/>
          </a:ln>
        </p:spPr>
        <p:txBody>
          <a:bodyPr wrap="square" lIns="216000" r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Department</a:t>
            </a:r>
            <a:br>
              <a:rPr lang="en-GB"/>
            </a:br>
            <a:r>
              <a:rPr lang="en-GB"/>
              <a:t>DD/MM/YYYY</a:t>
            </a:r>
          </a:p>
        </p:txBody>
      </p:sp>
    </p:spTree>
    <p:extLst>
      <p:ext uri="{BB962C8B-B14F-4D97-AF65-F5344CB8AC3E}">
        <p14:creationId xmlns:p14="http://schemas.microsoft.com/office/powerpoint/2010/main" val="22461938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3EA170A1-4423-F4C6-500F-3145AE3828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8F9A7ED9-7286-8649-7774-5D0D889A87BF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07BDB0AE-6D7D-063A-423B-2DA85D85065F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B9BB24B7-363D-13CE-75F6-0A9229C85E04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16488B6B-5B17-3459-E2BF-582505FCE521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1388798B-622C-8840-BDA9-799DB20F5489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C62B9EE3-10E8-CAAF-D42C-424FA15DCE1E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72" name="Rechteck 171">
              <a:extLst>
                <a:ext uri="{FF2B5EF4-FFF2-40B4-BE49-F238E27FC236}">
                  <a16:creationId xmlns:a16="http://schemas.microsoft.com/office/drawing/2014/main" id="{06DB4BEF-B2C3-E72D-6B32-BE802F334D6D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73" name="Rechteck 172">
              <a:extLst>
                <a:ext uri="{FF2B5EF4-FFF2-40B4-BE49-F238E27FC236}">
                  <a16:creationId xmlns:a16="http://schemas.microsoft.com/office/drawing/2014/main" id="{AA2F0287-601F-80BE-334E-0F392AE93FB8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2623B37D-D66B-8B31-8F87-FA3A8624C43A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2BC135E4-A194-F024-71C6-12FF3C94C8F1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C5CBD600-BB02-66AD-B72E-E912874D5DF7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0A286494-D2FC-4204-E3FF-6A01D186EE65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3" name="Rechteck 212">
              <a:extLst>
                <a:ext uri="{FF2B5EF4-FFF2-40B4-BE49-F238E27FC236}">
                  <a16:creationId xmlns:a16="http://schemas.microsoft.com/office/drawing/2014/main" id="{CE379752-545E-246F-5C79-F5BFEAD16710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CC874455-D846-1FD2-E5AB-1F6A869D3626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5" name="Rechteck 214">
              <a:extLst>
                <a:ext uri="{FF2B5EF4-FFF2-40B4-BE49-F238E27FC236}">
                  <a16:creationId xmlns:a16="http://schemas.microsoft.com/office/drawing/2014/main" id="{8102D552-D8D2-81C9-DD70-C9BB051F4A8B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6" name="Rechteck 215">
              <a:extLst>
                <a:ext uri="{FF2B5EF4-FFF2-40B4-BE49-F238E27FC236}">
                  <a16:creationId xmlns:a16="http://schemas.microsoft.com/office/drawing/2014/main" id="{AD65C6B9-D5C8-6461-4F17-336B24B26A4F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7" name="Rechteck 216">
              <a:extLst>
                <a:ext uri="{FF2B5EF4-FFF2-40B4-BE49-F238E27FC236}">
                  <a16:creationId xmlns:a16="http://schemas.microsoft.com/office/drawing/2014/main" id="{D7EF7ABE-0112-0298-8A33-AFFE09D2EE66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8" name="Rechteck 217">
              <a:extLst>
                <a:ext uri="{FF2B5EF4-FFF2-40B4-BE49-F238E27FC236}">
                  <a16:creationId xmlns:a16="http://schemas.microsoft.com/office/drawing/2014/main" id="{89BD8482-299E-3C29-82DE-051930B8F3CC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9" name="Rechteck 218">
              <a:extLst>
                <a:ext uri="{FF2B5EF4-FFF2-40B4-BE49-F238E27FC236}">
                  <a16:creationId xmlns:a16="http://schemas.microsoft.com/office/drawing/2014/main" id="{5DDD6DE0-6399-2D19-6AA5-A0A73E9CB1F5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0" name="Rechteck 219">
              <a:extLst>
                <a:ext uri="{FF2B5EF4-FFF2-40B4-BE49-F238E27FC236}">
                  <a16:creationId xmlns:a16="http://schemas.microsoft.com/office/drawing/2014/main" id="{EA89F9E9-F17E-9D3B-FD84-313706BE4942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1" name="Rechteck 220">
              <a:extLst>
                <a:ext uri="{FF2B5EF4-FFF2-40B4-BE49-F238E27FC236}">
                  <a16:creationId xmlns:a16="http://schemas.microsoft.com/office/drawing/2014/main" id="{03A43D4F-53CA-91DF-6C6B-4E8D3AB742C3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2" name="Rechteck 221">
              <a:extLst>
                <a:ext uri="{FF2B5EF4-FFF2-40B4-BE49-F238E27FC236}">
                  <a16:creationId xmlns:a16="http://schemas.microsoft.com/office/drawing/2014/main" id="{376F5110-1B4D-0245-5C53-DB905ABC4069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3" name="Rechteck 222">
              <a:extLst>
                <a:ext uri="{FF2B5EF4-FFF2-40B4-BE49-F238E27FC236}">
                  <a16:creationId xmlns:a16="http://schemas.microsoft.com/office/drawing/2014/main" id="{97CC33A9-C00F-2E61-DE44-37C32D3F8D08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4" name="Rechteck 223">
              <a:extLst>
                <a:ext uri="{FF2B5EF4-FFF2-40B4-BE49-F238E27FC236}">
                  <a16:creationId xmlns:a16="http://schemas.microsoft.com/office/drawing/2014/main" id="{83BF6E78-8B6D-1DA7-D2E8-3E8952EBA34B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F2359465-2A3F-55E4-E4C4-480BB0AD6ABB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AB47656F-B219-3FE2-316F-97A7FBD809A7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7" name="Rechteck 226">
              <a:extLst>
                <a:ext uri="{FF2B5EF4-FFF2-40B4-BE49-F238E27FC236}">
                  <a16:creationId xmlns:a16="http://schemas.microsoft.com/office/drawing/2014/main" id="{2F733CAD-BD14-6530-D2F5-F50B70CAFEEB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C81D05D2-190E-3ED8-BA33-54A72C165314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9" name="Rechteck 228">
              <a:extLst>
                <a:ext uri="{FF2B5EF4-FFF2-40B4-BE49-F238E27FC236}">
                  <a16:creationId xmlns:a16="http://schemas.microsoft.com/office/drawing/2014/main" id="{DAE5FBF8-0C2E-349D-2D4E-D58B39D7F5B4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0" name="Rechteck 229">
              <a:extLst>
                <a:ext uri="{FF2B5EF4-FFF2-40B4-BE49-F238E27FC236}">
                  <a16:creationId xmlns:a16="http://schemas.microsoft.com/office/drawing/2014/main" id="{CC3EA17C-0660-33DC-A2B0-EA6F758EDB60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1" name="Rechteck 230">
              <a:extLst>
                <a:ext uri="{FF2B5EF4-FFF2-40B4-BE49-F238E27FC236}">
                  <a16:creationId xmlns:a16="http://schemas.microsoft.com/office/drawing/2014/main" id="{6AD70C4A-C759-8B85-1805-C192A035DA89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2" name="Rechteck 231">
              <a:extLst>
                <a:ext uri="{FF2B5EF4-FFF2-40B4-BE49-F238E27FC236}">
                  <a16:creationId xmlns:a16="http://schemas.microsoft.com/office/drawing/2014/main" id="{063D4C1E-C1C9-029E-8037-F2E93F5FC4D1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3" name="Rechteck 232">
              <a:extLst>
                <a:ext uri="{FF2B5EF4-FFF2-40B4-BE49-F238E27FC236}">
                  <a16:creationId xmlns:a16="http://schemas.microsoft.com/office/drawing/2014/main" id="{9762FE81-0A13-5BE2-EEF4-8B02DAE700CE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4" name="Rechteck 233">
              <a:extLst>
                <a:ext uri="{FF2B5EF4-FFF2-40B4-BE49-F238E27FC236}">
                  <a16:creationId xmlns:a16="http://schemas.microsoft.com/office/drawing/2014/main" id="{1E12CABC-83ED-96AF-BB2A-F3F91271C0CB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5" name="Rechteck 234">
              <a:extLst>
                <a:ext uri="{FF2B5EF4-FFF2-40B4-BE49-F238E27FC236}">
                  <a16:creationId xmlns:a16="http://schemas.microsoft.com/office/drawing/2014/main" id="{EE2F7B54-6901-A78E-B6B3-0DFBEF07500A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6" name="Rechteck 235">
              <a:extLst>
                <a:ext uri="{FF2B5EF4-FFF2-40B4-BE49-F238E27FC236}">
                  <a16:creationId xmlns:a16="http://schemas.microsoft.com/office/drawing/2014/main" id="{C489EACA-89A4-909A-E4F1-A47A8A3161C8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7" name="Rechteck 236">
              <a:extLst>
                <a:ext uri="{FF2B5EF4-FFF2-40B4-BE49-F238E27FC236}">
                  <a16:creationId xmlns:a16="http://schemas.microsoft.com/office/drawing/2014/main" id="{C07DFF4E-7365-73BF-0A42-43F028956E2A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8" name="Rechteck 237">
              <a:extLst>
                <a:ext uri="{FF2B5EF4-FFF2-40B4-BE49-F238E27FC236}">
                  <a16:creationId xmlns:a16="http://schemas.microsoft.com/office/drawing/2014/main" id="{32D01550-51E4-F9C7-BB30-97C36137806D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9" name="Rechteck 238">
              <a:extLst>
                <a:ext uri="{FF2B5EF4-FFF2-40B4-BE49-F238E27FC236}">
                  <a16:creationId xmlns:a16="http://schemas.microsoft.com/office/drawing/2014/main" id="{6C2110C4-B154-7572-17F7-54B9F6343BCF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0" name="Rechteck 239">
              <a:extLst>
                <a:ext uri="{FF2B5EF4-FFF2-40B4-BE49-F238E27FC236}">
                  <a16:creationId xmlns:a16="http://schemas.microsoft.com/office/drawing/2014/main" id="{65FC02A0-CDA2-ED50-E9DE-DFEF95E295CE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1" name="Rechteck 240">
              <a:extLst>
                <a:ext uri="{FF2B5EF4-FFF2-40B4-BE49-F238E27FC236}">
                  <a16:creationId xmlns:a16="http://schemas.microsoft.com/office/drawing/2014/main" id="{0D73D565-D87F-727C-D035-32302B8DDF7D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2" name="Rechteck 241">
              <a:extLst>
                <a:ext uri="{FF2B5EF4-FFF2-40B4-BE49-F238E27FC236}">
                  <a16:creationId xmlns:a16="http://schemas.microsoft.com/office/drawing/2014/main" id="{5DB75C24-8953-8306-7020-428BAB7852C8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3" name="Rechteck 242">
              <a:extLst>
                <a:ext uri="{FF2B5EF4-FFF2-40B4-BE49-F238E27FC236}">
                  <a16:creationId xmlns:a16="http://schemas.microsoft.com/office/drawing/2014/main" id="{203D67A6-B7EB-5136-94C3-EA0BF69B3B54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4" name="Rechteck 243">
              <a:extLst>
                <a:ext uri="{FF2B5EF4-FFF2-40B4-BE49-F238E27FC236}">
                  <a16:creationId xmlns:a16="http://schemas.microsoft.com/office/drawing/2014/main" id="{2163CFB7-5F82-A31F-D3EE-618BFEF5B017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5" name="Rechteck 244">
              <a:extLst>
                <a:ext uri="{FF2B5EF4-FFF2-40B4-BE49-F238E27FC236}">
                  <a16:creationId xmlns:a16="http://schemas.microsoft.com/office/drawing/2014/main" id="{9F193E44-CAA7-B01F-BC57-DC80DDDFB615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6" name="Rechteck 245">
              <a:extLst>
                <a:ext uri="{FF2B5EF4-FFF2-40B4-BE49-F238E27FC236}">
                  <a16:creationId xmlns:a16="http://schemas.microsoft.com/office/drawing/2014/main" id="{47510407-E389-B654-625C-5A7A93FE98C4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7" name="Rechteck 246">
              <a:extLst>
                <a:ext uri="{FF2B5EF4-FFF2-40B4-BE49-F238E27FC236}">
                  <a16:creationId xmlns:a16="http://schemas.microsoft.com/office/drawing/2014/main" id="{7FC8A40D-D427-9AFC-B3C7-41CCF6CD466B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8" name="Rechteck 247">
              <a:extLst>
                <a:ext uri="{FF2B5EF4-FFF2-40B4-BE49-F238E27FC236}">
                  <a16:creationId xmlns:a16="http://schemas.microsoft.com/office/drawing/2014/main" id="{26B88DD2-9109-E831-0841-601BF1FA7B2C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9" name="Rechteck 248">
              <a:extLst>
                <a:ext uri="{FF2B5EF4-FFF2-40B4-BE49-F238E27FC236}">
                  <a16:creationId xmlns:a16="http://schemas.microsoft.com/office/drawing/2014/main" id="{CD749397-B9EC-5FD0-902E-CAD57D49C0EE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0" name="Rechteck 249">
              <a:extLst>
                <a:ext uri="{FF2B5EF4-FFF2-40B4-BE49-F238E27FC236}">
                  <a16:creationId xmlns:a16="http://schemas.microsoft.com/office/drawing/2014/main" id="{5024123C-6F9D-8372-AD84-AD9E2F462AF7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1" name="Rechteck 250">
              <a:extLst>
                <a:ext uri="{FF2B5EF4-FFF2-40B4-BE49-F238E27FC236}">
                  <a16:creationId xmlns:a16="http://schemas.microsoft.com/office/drawing/2014/main" id="{5DCF876E-C335-3764-E89B-B1ED0F96CAE8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2" name="Rechteck 251">
              <a:extLst>
                <a:ext uri="{FF2B5EF4-FFF2-40B4-BE49-F238E27FC236}">
                  <a16:creationId xmlns:a16="http://schemas.microsoft.com/office/drawing/2014/main" id="{E6D0406F-2E48-9855-2CD8-63227F7F94C2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3" name="Rechteck 252">
              <a:extLst>
                <a:ext uri="{FF2B5EF4-FFF2-40B4-BE49-F238E27FC236}">
                  <a16:creationId xmlns:a16="http://schemas.microsoft.com/office/drawing/2014/main" id="{DBE92752-E387-51EA-AE6C-DDB914F6ED82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4" name="Rechteck 253">
              <a:extLst>
                <a:ext uri="{FF2B5EF4-FFF2-40B4-BE49-F238E27FC236}">
                  <a16:creationId xmlns:a16="http://schemas.microsoft.com/office/drawing/2014/main" id="{DB70EF8E-2736-54B6-1A28-9E872B614BD0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5" name="Rechteck 254">
              <a:extLst>
                <a:ext uri="{FF2B5EF4-FFF2-40B4-BE49-F238E27FC236}">
                  <a16:creationId xmlns:a16="http://schemas.microsoft.com/office/drawing/2014/main" id="{DD96CF14-8240-B111-3654-F100E5B0897F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753750F4-D006-B5BD-F74A-5DDA4ABD9A68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D19DD8D4-9182-BF8F-167D-43D8CB98793B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9DB73881-58B9-611E-1FC3-3DA64CDA4917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38284B60-9AE2-5E94-6B35-2CF0055BCF4E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336BB29B-67DD-E991-2962-CE9BB66DC003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5A0AFCE4-BCCF-4C79-9EA5-936A8256A7A0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527A5B54-2A06-29A5-3D51-3C33495CE418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D4A05010-AACA-E9B3-AB3E-990549846A7E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657C9670-FE1C-B149-177C-216EE30408A8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D338BE36-C646-CBC8-13B8-0ABA1E4DC708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BAFBF828-5EE1-7F1A-D8C1-1A7D2040B0F2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406621AC-61FB-8E6A-8BEC-778BD5BBED33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F8E98E1C-178B-A9D5-8D3E-A79AADC65343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82CC8B68-52C2-B1CF-1EE0-523AAA824B42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0" name="Rechteck 269">
              <a:extLst>
                <a:ext uri="{FF2B5EF4-FFF2-40B4-BE49-F238E27FC236}">
                  <a16:creationId xmlns:a16="http://schemas.microsoft.com/office/drawing/2014/main" id="{A205CDB0-5C2C-1CF5-FE19-D2AB5D00E88A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1" name="Rechteck 270">
              <a:extLst>
                <a:ext uri="{FF2B5EF4-FFF2-40B4-BE49-F238E27FC236}">
                  <a16:creationId xmlns:a16="http://schemas.microsoft.com/office/drawing/2014/main" id="{FC9EB7BC-120A-AE16-DF44-849CD91448D9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C6CB98EB-D01F-36CE-7F2E-3787636617EE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A7036271-D068-844D-27F2-2BA47ABA9B70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AB66B896-A79C-B7C1-FFD3-AFBAF236EA95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319E3659-6EBA-D85F-3660-51A2A43C8FA4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3DACA6CE-C7CF-F659-BD89-CB358E21050A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65DB28A3-E9D7-A075-3E5E-90397CE8E2CD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8956E333-68BD-7C99-92A6-94A24867B733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B70C34CA-C4E1-5A90-B8E0-891BD73D56F1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B0AA5FBD-66EC-2C77-E3D1-BB62B6B885CF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EADA99BD-EE71-3A02-A27C-F27598E3A81D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8DF6023A-B18A-0A0F-F85A-A745A164916B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3" name="Rechteck 282">
              <a:extLst>
                <a:ext uri="{FF2B5EF4-FFF2-40B4-BE49-F238E27FC236}">
                  <a16:creationId xmlns:a16="http://schemas.microsoft.com/office/drawing/2014/main" id="{06CF5F04-3EC9-FB23-5AE4-95462F73EE5B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21693DA1-6D2F-8663-43B1-899C89519079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A3CB7A5A-D761-3830-436A-A89D53CC4248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B13ECF14-25B7-5102-0133-A3C70E4A87FA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9D042395-ED01-7719-1F11-1BC78894EF26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55617FB2-F56D-2A1D-9804-1CF4FFD054F1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D4496687-D342-4B9C-9B17-A9B2391BECC8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9CBD70A1-170A-1C00-6E60-2958555EBCEC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21384AC3-36F3-33EA-C100-ACFCD38DD957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A5F05B10-9A69-883B-C44B-1C279E9819F7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9BDC6FE6-BFC7-5BE2-424B-C10BB724EFA3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9BC1547B-2F7B-63BF-F077-775271EC746D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00DED609-89FF-F79D-6153-E8DE1E222C10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6C2CAC04-8D4C-1103-112E-D80BD8F50498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058DC296-F846-6A59-4AB5-0303C0DE2D29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8522089B-D71F-7094-4D84-8306A973517A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9DA9884B-9C2B-1292-9992-4E665EABE562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6E754E28-2328-2EA6-0E28-217234FC7354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16516D6B-2B8D-9FF9-AB31-DDE9212D6479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7A069318-7D51-5A4C-B98E-F1D1B43D302B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C5D69EDB-B1C0-FFDC-3FC3-8A98C70562E9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BFB4002F-4963-BDB3-4E56-105422C7BD5A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048C6A69-56B3-AD4D-5735-32629D214E18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61235075-3BBE-4A08-8553-E8888A16F2C4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3019E7CB-EDC6-429D-4C22-3AA4D5E8D331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3A252333-2869-05FE-7882-FE2252FF56DE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8BFAE692-BD08-AEAD-8898-7A26A0EC35CA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9631059C-EAD9-CF53-C114-40076D424E9F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22335228-E4D1-52B6-E10A-764BC7FF0203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61ED5946-4A19-ABBC-15EE-8FD5BED81E46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DB8D6881-BC50-BA8E-F57D-2D877080829D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1D6031E0-9D48-4BDC-E328-E147B9F278C7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557A8659-5248-D8D4-8863-7A26B1085923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EC432710-C86C-8ECC-DFAA-707A2F250786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0EF44DB3-26A2-071B-1418-AA69FD87FE23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E504CD39-D23A-CB50-0267-30DE16278BC3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98755E14-F3BD-452B-264D-7336C681A0B8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C574A574-B4D1-DB21-98B9-CA85FDDA3797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6353AD79-BEB9-11F8-F330-DCCA33FDD6E3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E56D6FB5-5CEA-0C89-9977-7319111B9C55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4939AEA6-F5FD-3041-BACC-EEFFB9021F88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4160B37B-A7EB-BAD6-67D3-FBFF320D7BD1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DA389E02-D552-A069-DA54-AEDB52ED0FBF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A9501410-81B4-E0FF-F2F0-D9F71BC70E53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E2BF919A-65CC-DFDD-F1EF-E80CCF5EF212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CEDBD0C9-25D0-D633-3B57-51B4030CAB9D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BDCEDAA0-C3B8-27FD-C07A-B50E2EA989FA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5C5D116F-C767-08B0-761D-8DCBFCF16C6A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698CB4BE-731E-7E54-A1E3-32AE4A657EA3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6793CDDA-E53C-6135-3E82-9E50C2EA80AC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7D948FB8-EB21-BFCC-0EAD-AD6B99CD05ED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06C2D570-A3B9-55B3-7F2B-2141D3266BC4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970B911A-C6B6-4F77-5252-66215D395EA7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F3B0AF60-4A1B-03BE-44FA-E7711311586A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ED0D112D-98CA-72BC-DEF2-9BA1212728E9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3239A8E7-3EEE-9596-62CE-7914D40BBF29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D45C6426-3F7B-66FF-FB15-B2B752C114FC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8967770E-2DB7-6C5B-ECD7-C29118036CE1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93B2FAE4-0CA9-E08A-44CE-8088D0FAE1C6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AE59367B-9C5C-6AE8-3CE0-976BE5F08C50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A38D82D7-4846-5522-3BB2-82BDCD031394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11EF7213-B967-DA8A-D3A8-F51C82BC9E4E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103F497E-2F66-B02E-EDCA-F93DDCA9DDCF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5020FA8D-BF5B-A886-3993-238E9B82B1AF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B9FD24EE-C282-9FC3-9215-0543EF099B33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B80E86D0-75DC-A3EA-CD60-8316CC8D0BA4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012CBBF0-3AC5-4B7A-2AA4-0FDD4A48D256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5EE1CF2F-BBBD-4BB8-BAB7-E4453687E325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BC482399-9B66-1B6B-70FC-64778436AC36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70F7B8B4-A983-A82F-0669-72F3A2286AD9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24290A93-C7A3-756C-90FD-59586732AF36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DBEF970C-0518-400E-484C-2C7AD909E003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C041C441-B09A-2689-C196-688B52CB586F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B83D06A3-BDB4-6D1A-642D-E92F6189CF06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057444D3-FAFE-8795-5D85-49031EDD6B06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7679093C-A61F-49F2-ADCA-E7EAA1C2BFE0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7CF8B7B7-B97A-8A81-437B-DBDC9D539AB0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3FA869D7-E972-16C8-E682-28B43606E275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99EFD6BF-452D-2553-8D2C-D4EE715C1D95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97C39930-5D19-8695-5031-B6F292FD9013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94DF4504-C3DD-4FFD-BC3C-4FAD0B1A3FBF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48C6A062-EED7-DA73-6526-384CCA180B55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E48AB336-A11E-B6DD-E053-64C8F5E16C14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4B66FD45-5324-E23F-3FC2-643C1C0EA2EF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9387DBA9-E7CD-BC38-4E6B-3FB6F0BC490C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5D782FCE-D785-AF04-6029-AAB67B7148F5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652FEE84-44C9-17AF-9C4C-91572343FB00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FC635059-86F0-09F2-2527-FF38931FE781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CEFD5084-9534-9201-2F37-FABADAD98E47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D4E7FE9F-DAA5-2F78-AF42-0BF4D6C1FC85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D314CFC7-F3F0-FA6E-315F-74273B4716EF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409796D9-EB16-D3B2-098E-B1A2C44252B2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A05090FF-BCEB-EC24-A649-25B329D66DC1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A656BEEB-61EC-01A6-8E77-1930C98056A7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28931C63-D512-894C-9778-A3BF909A7E63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1D592C88-D0B0-FF5C-A2E5-DFC8FEE6D3F6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70F7B22F-8D4C-6AEF-B953-DA9BB2F55E7C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1D824D44-72EB-B1FC-D3F2-FBE7A2AC2443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D88AE0EF-B654-FAE4-7287-8CEAB01860B4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12E7BEF8-DE80-CE26-7479-263207220B93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0AA2A119-2AE1-9327-1E52-116EED470A0A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EB65D399-662A-C52F-5CBA-AA3B56F9A937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22B798B1-C202-E51E-E357-0006025EE7F9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702743F5-C633-6518-9DCC-15131B3E8956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6BD67DF8-5129-C31D-4838-0EE68547D57B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80468885-8DFF-67E1-85A6-A926BEDB28C5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62E9B93D-855E-2B79-D038-00D719C2D46C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grpSp>
        <p:nvGrpSpPr>
          <p:cNvPr id="391" name="Gruppieren 390">
            <a:extLst>
              <a:ext uri="{FF2B5EF4-FFF2-40B4-BE49-F238E27FC236}">
                <a16:creationId xmlns:a16="http://schemas.microsoft.com/office/drawing/2014/main" id="{9D39E8C0-47E1-D3BF-A135-6011FBD331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1" y="2082829"/>
            <a:ext cx="2448000" cy="0"/>
            <a:chOff x="983432" y="2082829"/>
            <a:chExt cx="2448000" cy="0"/>
          </a:xfrm>
        </p:grpSpPr>
        <p:cxnSp>
          <p:nvCxnSpPr>
            <p:cNvPr id="392" name="Line">
              <a:extLst>
                <a:ext uri="{FF2B5EF4-FFF2-40B4-BE49-F238E27FC236}">
                  <a16:creationId xmlns:a16="http://schemas.microsoft.com/office/drawing/2014/main" id="{BB6745BF-F3AE-B55A-BCCB-019C25744B3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3" name="Line">
              <a:extLst>
                <a:ext uri="{FF2B5EF4-FFF2-40B4-BE49-F238E27FC236}">
                  <a16:creationId xmlns:a16="http://schemas.microsoft.com/office/drawing/2014/main" id="{9F8DFFE7-E201-6CBC-EF69-318AD77ED5E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4" name="Shape">
            <a:extLst>
              <a:ext uri="{FF2B5EF4-FFF2-40B4-BE49-F238E27FC236}">
                <a16:creationId xmlns:a16="http://schemas.microsoft.com/office/drawing/2014/main" id="{81ADCD7E-CD51-40F1-70C3-287E5126BB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0848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97" name="Bildplatzhalter 396">
            <a:extLst>
              <a:ext uri="{FF2B5EF4-FFF2-40B4-BE49-F238E27FC236}">
                <a16:creationId xmlns:a16="http://schemas.microsoft.com/office/drawing/2014/main" id="{7462A7CC-E7E5-7E2F-7A8E-26525629BE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367809" y="2061400"/>
            <a:ext cx="5760640" cy="3463099"/>
          </a:xfrm>
          <a:custGeom>
            <a:avLst/>
            <a:gdLst>
              <a:gd name="connsiteX0" fmla="*/ 5760640 w 5760640"/>
              <a:gd name="connsiteY0" fmla="*/ 0 h 3463099"/>
              <a:gd name="connsiteX1" fmla="*/ 4609453 w 5760640"/>
              <a:gd name="connsiteY1" fmla="*/ 2311556 h 3463099"/>
              <a:gd name="connsiteX2" fmla="*/ 0 w 5760640"/>
              <a:gd name="connsiteY2" fmla="*/ 3463099 h 3463099"/>
              <a:gd name="connsiteX3" fmla="*/ 0 w 5760640"/>
              <a:gd name="connsiteY3" fmla="*/ 518 h 3463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60640" h="3463099">
                <a:moveTo>
                  <a:pt x="5760640" y="0"/>
                </a:moveTo>
                <a:lnTo>
                  <a:pt x="4609453" y="2311556"/>
                </a:lnTo>
                <a:lnTo>
                  <a:pt x="0" y="3463099"/>
                </a:lnTo>
                <a:lnTo>
                  <a:pt x="0" y="518"/>
                </a:lnTo>
                <a:close/>
              </a:path>
            </a:pathLst>
          </a:custGeom>
          <a:solidFill>
            <a:srgbClr val="FFA52F"/>
          </a:solidFill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695400" y="2564904"/>
            <a:ext cx="2952000" cy="1152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tIns="36000" rIns="216000" anchor="t">
            <a:noAutofit/>
          </a:bodyPr>
          <a:lstStyle>
            <a:lvl1pPr algn="l">
              <a:lnSpc>
                <a:spcPct val="90000"/>
              </a:lnSpc>
              <a:defRPr sz="2400"/>
            </a:lvl1pPr>
          </a:lstStyle>
          <a:p>
            <a:r>
              <a:rPr lang="en-GB"/>
              <a:t>Insert your long title here in max. three lines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695400" y="3717032"/>
            <a:ext cx="2952000" cy="1202385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31" name="Author"/>
          <p:cNvSpPr>
            <a:spLocks noGrp="1"/>
          </p:cNvSpPr>
          <p:nvPr userDrawn="1">
            <p:ph type="body" sz="quarter" idx="14" hasCustomPrompt="1"/>
          </p:nvPr>
        </p:nvSpPr>
        <p:spPr bwMode="gray">
          <a:xfrm>
            <a:off x="695400" y="4869160"/>
            <a:ext cx="2952000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GB"/>
              <a:t>First name Last name</a:t>
            </a:r>
          </a:p>
        </p:txBody>
      </p:sp>
      <p:sp>
        <p:nvSpPr>
          <p:cNvPr id="34" name="Department, Date"/>
          <p:cNvSpPr>
            <a:spLocks noGrp="1"/>
          </p:cNvSpPr>
          <p:nvPr userDrawn="1">
            <p:ph type="body" sz="quarter" idx="15" hasCustomPrompt="1"/>
          </p:nvPr>
        </p:nvSpPr>
        <p:spPr bwMode="gray">
          <a:xfrm>
            <a:off x="695400" y="5085160"/>
            <a:ext cx="2952000" cy="720104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GB"/>
              <a:t>Department</a:t>
            </a:r>
            <a:br>
              <a:rPr lang="en-GB"/>
            </a:br>
            <a:r>
              <a:rPr lang="en-GB"/>
              <a:t>DD/MM/YYYY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C6F3C38-BAC1-69CA-B10F-F6D94CD3C7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28448" y="335757"/>
            <a:ext cx="1365736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316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EF68914-2801-8298-9F8D-9BD42DC7C4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7172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EF68914-2801-8298-9F8D-9BD42DC7C4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hape">
            <a:extLst>
              <a:ext uri="{FF2B5EF4-FFF2-40B4-BE49-F238E27FC236}">
                <a16:creationId xmlns:a16="http://schemas.microsoft.com/office/drawing/2014/main" id="{98711D00-3192-CF90-2179-80D5BA4837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911424" y="1485900"/>
            <a:ext cx="3463613" cy="2878490"/>
          </a:xfrm>
          <a:custGeom>
            <a:avLst/>
            <a:gdLst>
              <a:gd name="T0" fmla="*/ 0 w 2227"/>
              <a:gd name="T1" fmla="*/ 0 h 2226"/>
              <a:gd name="T2" fmla="*/ 2227 w 2227"/>
              <a:gd name="T3" fmla="*/ 0 h 2226"/>
              <a:gd name="T4" fmla="*/ 2227 w 2227"/>
              <a:gd name="T5" fmla="*/ 2226 h 2226"/>
              <a:gd name="T6" fmla="*/ 371 w 2227"/>
              <a:gd name="T7" fmla="*/ 1856 h 2226"/>
              <a:gd name="T8" fmla="*/ 0 w 2227"/>
              <a:gd name="T9" fmla="*/ 0 h 2226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2079 w 10000"/>
              <a:gd name="connsiteY3" fmla="*/ 7527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1660 w 10000"/>
              <a:gd name="connsiteY3" fmla="*/ 8032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10000" y="0"/>
                </a:lnTo>
                <a:lnTo>
                  <a:pt x="10000" y="10000"/>
                </a:lnTo>
                <a:lnTo>
                  <a:pt x="1660" y="8032"/>
                </a:lnTo>
                <a:lnTo>
                  <a:pt x="0" y="0"/>
                </a:lnTo>
                <a:close/>
              </a:path>
            </a:pathLst>
          </a:custGeom>
          <a:solidFill>
            <a:srgbClr val="6A757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B5D77837-F372-41E3-A703-01233BC36B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063552" y="1599183"/>
            <a:ext cx="2159424" cy="461665"/>
          </a:xfrm>
        </p:spPr>
        <p:txBody>
          <a:bodyPr vert="horz"/>
          <a:lstStyle>
            <a:lvl1pPr algn="r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17" name="Content">
            <a:extLst>
              <a:ext uri="{FF2B5EF4-FFF2-40B4-BE49-F238E27FC236}">
                <a16:creationId xmlns:a16="http://schemas.microsoft.com/office/drawing/2014/main" id="{72A9419C-8763-4B76-A999-AC385D6948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943873" y="1484313"/>
            <a:ext cx="6912768" cy="4608512"/>
          </a:xfrm>
        </p:spPr>
        <p:txBody>
          <a:bodyPr/>
          <a:lstStyle>
            <a:lvl1pPr marL="457200" indent="-457200">
              <a:buSzPct val="100000"/>
              <a:buFont typeface="Arial" panose="020B0604020202020204" pitchFamily="34" charset="0"/>
              <a:buAutoNum type="arabicPlain"/>
              <a:tabLst>
                <a:tab pos="6642100" algn="r"/>
              </a:tabLst>
              <a:defRPr sz="20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1pPr>
            <a:lvl2pPr marL="714375" indent="-219075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6642100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2pPr>
            <a:lvl3pPr marL="714375" indent="-219075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6642100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3pPr>
            <a:lvl4pPr marL="714375" indent="-219075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6642100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4pPr>
            <a:lvl5pPr marL="714375" indent="-219075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6642100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5pPr>
            <a:lvl6pPr marL="714375" indent="-219075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6642100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6pPr>
            <a:lvl7pPr marL="714375" indent="-219075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6642100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7pPr>
            <a:lvl8pPr marL="714375" indent="-219075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6642100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8pPr>
            <a:lvl9pPr marL="714375" indent="-219075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6642100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9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A1B50088-B65A-8A6A-E724-BD39F7430A2D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5B186D91-1D6B-D85E-CF76-AEA9173E6D57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D62159A-759A-4C63-3C92-544DE55C94CB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Source">
            <a:extLst>
              <a:ext uri="{FF2B5EF4-FFF2-40B4-BE49-F238E27FC236}">
                <a16:creationId xmlns:a16="http://schemas.microsoft.com/office/drawing/2014/main" id="{8574C387-EA08-A732-9415-DFE54F6A98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87488" y="6525000"/>
            <a:ext cx="9217024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</p:spTree>
    <p:extLst>
      <p:ext uri="{BB962C8B-B14F-4D97-AF65-F5344CB8AC3E}">
        <p14:creationId xmlns:p14="http://schemas.microsoft.com/office/powerpoint/2010/main" val="407492304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E59A1A7-76FB-EEDA-FF9D-3A4FCB226D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180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6E59A1A7-76FB-EEDA-FF9D-3A4FCB226D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B5D77837-F372-41E3-A703-01233BC36B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5360" y="1383157"/>
            <a:ext cx="4032250" cy="461665"/>
          </a:xfrm>
        </p:spPr>
        <p:txBody>
          <a:bodyPr vert="horz" anchor="t"/>
          <a:lstStyle>
            <a:lvl1pPr algn="l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17" name="Content">
            <a:extLst>
              <a:ext uri="{FF2B5EF4-FFF2-40B4-BE49-F238E27FC236}">
                <a16:creationId xmlns:a16="http://schemas.microsoft.com/office/drawing/2014/main" id="{72A9419C-8763-4B76-A999-AC385D6948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35360" y="2061319"/>
            <a:ext cx="4032250" cy="4031977"/>
          </a:xfrm>
        </p:spPr>
        <p:txBody>
          <a:bodyPr/>
          <a:lstStyle>
            <a:lvl1pPr marL="266700" indent="-266700">
              <a:buSzPct val="100000"/>
              <a:buFont typeface="Arial" panose="020B0604020202020204" pitchFamily="34" charset="0"/>
              <a:buAutoNum type="arabicPlain"/>
              <a:tabLst>
                <a:tab pos="4038600" algn="r"/>
              </a:tabLst>
              <a:defRPr sz="16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1pPr>
            <a:lvl2pPr marL="447675" indent="-180975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4038600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2pPr>
            <a:lvl3pPr marL="447675" indent="-180975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4038600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3pPr>
            <a:lvl4pPr marL="447675" indent="-180975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4038600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4pPr>
            <a:lvl5pPr marL="447675" indent="-180975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4038600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5pPr>
            <a:lvl6pPr marL="447675" indent="-180975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3524250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6pPr>
            <a:lvl7pPr marL="447675" indent="-180975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3524250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7pPr>
            <a:lvl8pPr marL="447675" indent="-180975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3524250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8pPr>
            <a:lvl9pPr marL="447675" indent="-180975">
              <a:lnSpc>
                <a:spcPct val="100000"/>
              </a:lnSpc>
              <a:spcBef>
                <a:spcPts val="600"/>
              </a:spcBef>
              <a:buSzPct val="80000"/>
              <a:buFont typeface="Wingdings" panose="05000000000000000000" pitchFamily="2" charset="2"/>
              <a:buChar char="n"/>
              <a:tabLst>
                <a:tab pos="3524250" algn="r"/>
              </a:tabLst>
              <a:defRPr sz="1200" b="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9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8" name="Picture">
            <a:extLst>
              <a:ext uri="{FF2B5EF4-FFF2-40B4-BE49-F238E27FC236}">
                <a16:creationId xmlns:a16="http://schemas.microsoft.com/office/drawing/2014/main" id="{A9F39496-3247-4D2A-8D5A-9E2157A6A7D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519936" y="1485388"/>
            <a:ext cx="5758482" cy="4041052"/>
          </a:xfrm>
          <a:custGeom>
            <a:avLst/>
            <a:gdLst>
              <a:gd name="connsiteX0" fmla="*/ 5544001 w 5544001"/>
              <a:gd name="connsiteY0" fmla="*/ 0 h 3551223"/>
              <a:gd name="connsiteX1" fmla="*/ 4543017 w 5544001"/>
              <a:gd name="connsiteY1" fmla="*/ 2543298 h 3551223"/>
              <a:gd name="connsiteX2" fmla="*/ 0 w 5544001"/>
              <a:gd name="connsiteY2" fmla="*/ 3551223 h 3551223"/>
              <a:gd name="connsiteX3" fmla="*/ 0 w 5544001"/>
              <a:gd name="connsiteY3" fmla="*/ 531 h 3551223"/>
              <a:gd name="connsiteX0" fmla="*/ 5544001 w 5544001"/>
              <a:gd name="connsiteY0" fmla="*/ 0 h 3551223"/>
              <a:gd name="connsiteX1" fmla="*/ 4441735 w 5544001"/>
              <a:gd name="connsiteY1" fmla="*/ 2540103 h 3551223"/>
              <a:gd name="connsiteX2" fmla="*/ 0 w 5544001"/>
              <a:gd name="connsiteY2" fmla="*/ 3551223 h 3551223"/>
              <a:gd name="connsiteX3" fmla="*/ 0 w 5544001"/>
              <a:gd name="connsiteY3" fmla="*/ 531 h 3551223"/>
              <a:gd name="connsiteX4" fmla="*/ 5544001 w 5544001"/>
              <a:gd name="connsiteY4" fmla="*/ 0 h 3551223"/>
              <a:gd name="connsiteX0" fmla="*/ 5544001 w 5544001"/>
              <a:gd name="connsiteY0" fmla="*/ 0 h 3551223"/>
              <a:gd name="connsiteX1" fmla="*/ 4497433 w 5544001"/>
              <a:gd name="connsiteY1" fmla="*/ 2531734 h 3551223"/>
              <a:gd name="connsiteX2" fmla="*/ 0 w 5544001"/>
              <a:gd name="connsiteY2" fmla="*/ 3551223 h 3551223"/>
              <a:gd name="connsiteX3" fmla="*/ 0 w 5544001"/>
              <a:gd name="connsiteY3" fmla="*/ 531 h 3551223"/>
              <a:gd name="connsiteX4" fmla="*/ 5544001 w 5544001"/>
              <a:gd name="connsiteY4" fmla="*/ 0 h 3551223"/>
              <a:gd name="connsiteX0" fmla="*/ 5618264 w 5618264"/>
              <a:gd name="connsiteY0" fmla="*/ 7838 h 3550692"/>
              <a:gd name="connsiteX1" fmla="*/ 4497433 w 5618264"/>
              <a:gd name="connsiteY1" fmla="*/ 2531203 h 3550692"/>
              <a:gd name="connsiteX2" fmla="*/ 0 w 5618264"/>
              <a:gd name="connsiteY2" fmla="*/ 3550692 h 3550692"/>
              <a:gd name="connsiteX3" fmla="*/ 0 w 5618264"/>
              <a:gd name="connsiteY3" fmla="*/ 0 h 3550692"/>
              <a:gd name="connsiteX4" fmla="*/ 5618264 w 5618264"/>
              <a:gd name="connsiteY4" fmla="*/ 7838 h 3550692"/>
              <a:gd name="connsiteX0" fmla="*/ 5612075 w 5612075"/>
              <a:gd name="connsiteY0" fmla="*/ 2258 h 3550692"/>
              <a:gd name="connsiteX1" fmla="*/ 4497433 w 5612075"/>
              <a:gd name="connsiteY1" fmla="*/ 2531203 h 3550692"/>
              <a:gd name="connsiteX2" fmla="*/ 0 w 5612075"/>
              <a:gd name="connsiteY2" fmla="*/ 3550692 h 3550692"/>
              <a:gd name="connsiteX3" fmla="*/ 0 w 5612075"/>
              <a:gd name="connsiteY3" fmla="*/ 0 h 3550692"/>
              <a:gd name="connsiteX4" fmla="*/ 5612075 w 5612075"/>
              <a:gd name="connsiteY4" fmla="*/ 2258 h 3550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2075" h="3550692">
                <a:moveTo>
                  <a:pt x="5612075" y="2258"/>
                </a:moveTo>
                <a:lnTo>
                  <a:pt x="4497433" y="2531203"/>
                </a:lnTo>
                <a:lnTo>
                  <a:pt x="0" y="3550692"/>
                </a:lnTo>
                <a:lnTo>
                  <a:pt x="0" y="0"/>
                </a:lnTo>
                <a:lnTo>
                  <a:pt x="5612075" y="2258"/>
                </a:lnTo>
                <a:close/>
              </a:path>
            </a:pathLst>
          </a:custGeom>
          <a:solidFill>
            <a:srgbClr val="D6D9DC"/>
          </a:solidFill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3881CA30-50A3-A610-44DF-5C7DE5996CFB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5E277C1-A8D5-DA41-B906-CA0CBC6FB4F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84F5280-85A6-D335-20E6-D7BF3EB6CB19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Source">
            <a:extLst>
              <a:ext uri="{FF2B5EF4-FFF2-40B4-BE49-F238E27FC236}">
                <a16:creationId xmlns:a16="http://schemas.microsoft.com/office/drawing/2014/main" id="{45D4192A-D3C5-FE1A-59EC-AFF891ECF40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87488" y="6525000"/>
            <a:ext cx="9217024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</p:spTree>
    <p:extLst>
      <p:ext uri="{BB962C8B-B14F-4D97-AF65-F5344CB8AC3E}">
        <p14:creationId xmlns:p14="http://schemas.microsoft.com/office/powerpoint/2010/main" val="30420910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with picture | for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E55E00F-1880-532C-D03E-F2BE419A6B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5636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E55E00F-1880-532C-D03E-F2BE419A6B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B5D77837-F372-41E3-A703-01233BC36B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9936" y="1412776"/>
            <a:ext cx="5688632" cy="461665"/>
          </a:xfrm>
        </p:spPr>
        <p:txBody>
          <a:bodyPr vert="horz" anchor="t"/>
          <a:lstStyle>
            <a:lvl1pPr algn="l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8" name="Picture">
            <a:extLst>
              <a:ext uri="{FF2B5EF4-FFF2-40B4-BE49-F238E27FC236}">
                <a16:creationId xmlns:a16="http://schemas.microsoft.com/office/drawing/2014/main" id="{A9F39496-3247-4D2A-8D5A-9E2157A6A7D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35360" y="1484784"/>
            <a:ext cx="4041774" cy="2887191"/>
          </a:xfrm>
          <a:custGeom>
            <a:avLst/>
            <a:gdLst>
              <a:gd name="connsiteX0" fmla="*/ 5544001 w 5544001"/>
              <a:gd name="connsiteY0" fmla="*/ 0 h 3551223"/>
              <a:gd name="connsiteX1" fmla="*/ 4543017 w 5544001"/>
              <a:gd name="connsiteY1" fmla="*/ 2543298 h 3551223"/>
              <a:gd name="connsiteX2" fmla="*/ 0 w 5544001"/>
              <a:gd name="connsiteY2" fmla="*/ 3551223 h 3551223"/>
              <a:gd name="connsiteX3" fmla="*/ 0 w 5544001"/>
              <a:gd name="connsiteY3" fmla="*/ 531 h 3551223"/>
              <a:gd name="connsiteX0" fmla="*/ 5544001 w 5544001"/>
              <a:gd name="connsiteY0" fmla="*/ 0 h 3551223"/>
              <a:gd name="connsiteX1" fmla="*/ 4441735 w 5544001"/>
              <a:gd name="connsiteY1" fmla="*/ 2540103 h 3551223"/>
              <a:gd name="connsiteX2" fmla="*/ 0 w 5544001"/>
              <a:gd name="connsiteY2" fmla="*/ 3551223 h 3551223"/>
              <a:gd name="connsiteX3" fmla="*/ 0 w 5544001"/>
              <a:gd name="connsiteY3" fmla="*/ 531 h 3551223"/>
              <a:gd name="connsiteX4" fmla="*/ 5544001 w 5544001"/>
              <a:gd name="connsiteY4" fmla="*/ 0 h 3551223"/>
              <a:gd name="connsiteX0" fmla="*/ 4585198 w 4585198"/>
              <a:gd name="connsiteY0" fmla="*/ 0 h 3551223"/>
              <a:gd name="connsiteX1" fmla="*/ 4441735 w 4585198"/>
              <a:gd name="connsiteY1" fmla="*/ 2540103 h 3551223"/>
              <a:gd name="connsiteX2" fmla="*/ 0 w 4585198"/>
              <a:gd name="connsiteY2" fmla="*/ 3551223 h 3551223"/>
              <a:gd name="connsiteX3" fmla="*/ 0 w 4585198"/>
              <a:gd name="connsiteY3" fmla="*/ 531 h 3551223"/>
              <a:gd name="connsiteX4" fmla="*/ 4585198 w 4585198"/>
              <a:gd name="connsiteY4" fmla="*/ 0 h 3551223"/>
              <a:gd name="connsiteX0" fmla="*/ 4585198 w 4589243"/>
              <a:gd name="connsiteY0" fmla="*/ 0 h 3551223"/>
              <a:gd name="connsiteX1" fmla="*/ 4589243 w 4589243"/>
              <a:gd name="connsiteY1" fmla="*/ 2135159 h 3551223"/>
              <a:gd name="connsiteX2" fmla="*/ 0 w 4589243"/>
              <a:gd name="connsiteY2" fmla="*/ 3551223 h 3551223"/>
              <a:gd name="connsiteX3" fmla="*/ 0 w 4589243"/>
              <a:gd name="connsiteY3" fmla="*/ 531 h 3551223"/>
              <a:gd name="connsiteX4" fmla="*/ 4585198 w 4589243"/>
              <a:gd name="connsiteY4" fmla="*/ 0 h 3551223"/>
              <a:gd name="connsiteX0" fmla="*/ 4585198 w 4589243"/>
              <a:gd name="connsiteY0" fmla="*/ 0 h 3551223"/>
              <a:gd name="connsiteX1" fmla="*/ 4589243 w 4589243"/>
              <a:gd name="connsiteY1" fmla="*/ 2135159 h 3551223"/>
              <a:gd name="connsiteX2" fmla="*/ 0 w 4589243"/>
              <a:gd name="connsiteY2" fmla="*/ 3551223 h 3551223"/>
              <a:gd name="connsiteX3" fmla="*/ 1263038 w 4589243"/>
              <a:gd name="connsiteY3" fmla="*/ 531 h 3551223"/>
              <a:gd name="connsiteX4" fmla="*/ 4585198 w 4589243"/>
              <a:gd name="connsiteY4" fmla="*/ 0 h 3551223"/>
              <a:gd name="connsiteX0" fmla="*/ 4013604 w 4017649"/>
              <a:gd name="connsiteY0" fmla="*/ 0 h 2783519"/>
              <a:gd name="connsiteX1" fmla="*/ 4017649 w 4017649"/>
              <a:gd name="connsiteY1" fmla="*/ 2135159 h 2783519"/>
              <a:gd name="connsiteX2" fmla="*/ 0 w 4017649"/>
              <a:gd name="connsiteY2" fmla="*/ 2783519 h 2783519"/>
              <a:gd name="connsiteX3" fmla="*/ 691444 w 4017649"/>
              <a:gd name="connsiteY3" fmla="*/ 531 h 2783519"/>
              <a:gd name="connsiteX4" fmla="*/ 4013604 w 4017649"/>
              <a:gd name="connsiteY4" fmla="*/ 0 h 2783519"/>
              <a:gd name="connsiteX0" fmla="*/ 4007287 w 4011332"/>
              <a:gd name="connsiteY0" fmla="*/ 0 h 2660244"/>
              <a:gd name="connsiteX1" fmla="*/ 4011332 w 4011332"/>
              <a:gd name="connsiteY1" fmla="*/ 2135159 h 2660244"/>
              <a:gd name="connsiteX2" fmla="*/ 0 w 4011332"/>
              <a:gd name="connsiteY2" fmla="*/ 2660244 h 2660244"/>
              <a:gd name="connsiteX3" fmla="*/ 685127 w 4011332"/>
              <a:gd name="connsiteY3" fmla="*/ 531 h 2660244"/>
              <a:gd name="connsiteX4" fmla="*/ 4007287 w 4011332"/>
              <a:gd name="connsiteY4" fmla="*/ 0 h 2660244"/>
              <a:gd name="connsiteX0" fmla="*/ 4648735 w 4652780"/>
              <a:gd name="connsiteY0" fmla="*/ 0 h 2669049"/>
              <a:gd name="connsiteX1" fmla="*/ 4652780 w 4652780"/>
              <a:gd name="connsiteY1" fmla="*/ 2135159 h 2669049"/>
              <a:gd name="connsiteX2" fmla="*/ 0 w 4652780"/>
              <a:gd name="connsiteY2" fmla="*/ 2669049 h 2669049"/>
              <a:gd name="connsiteX3" fmla="*/ 1326575 w 4652780"/>
              <a:gd name="connsiteY3" fmla="*/ 531 h 2669049"/>
              <a:gd name="connsiteX4" fmla="*/ 4648735 w 4652780"/>
              <a:gd name="connsiteY4" fmla="*/ 0 h 2669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2780" h="2669049">
                <a:moveTo>
                  <a:pt x="4648735" y="0"/>
                </a:moveTo>
                <a:cubicBezTo>
                  <a:pt x="4650083" y="711720"/>
                  <a:pt x="4651432" y="1423439"/>
                  <a:pt x="4652780" y="2135159"/>
                </a:cubicBezTo>
                <a:lnTo>
                  <a:pt x="0" y="2669049"/>
                </a:lnTo>
                <a:lnTo>
                  <a:pt x="1326575" y="531"/>
                </a:lnTo>
                <a:lnTo>
                  <a:pt x="4648735" y="0"/>
                </a:lnTo>
                <a:close/>
              </a:path>
            </a:pathLst>
          </a:custGeom>
          <a:solidFill>
            <a:srgbClr val="D6D9DC"/>
          </a:solidFill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77B6FF7-BCA1-8C65-43D3-BBCA073448B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0B1AFD62-C22C-1051-7314-321EC88ED1E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E5A04F2-A4EA-FE4F-1761-BB80F2F5D31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Source">
            <a:extLst>
              <a:ext uri="{FF2B5EF4-FFF2-40B4-BE49-F238E27FC236}">
                <a16:creationId xmlns:a16="http://schemas.microsoft.com/office/drawing/2014/main" id="{8F238536-2BF0-D647-F693-55DF666AE24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87488" y="6525000"/>
            <a:ext cx="9217024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</p:spTree>
    <p:extLst>
      <p:ext uri="{BB962C8B-B14F-4D97-AF65-F5344CB8AC3E}">
        <p14:creationId xmlns:p14="http://schemas.microsoft.com/office/powerpoint/2010/main" val="3449882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935">
          <p15:clr>
            <a:srgbClr val="FBAE40"/>
          </p15:clr>
        </p15:guide>
        <p15:guide id="4" orient="horz" pos="3838">
          <p15:clr>
            <a:srgbClr val="FBAE40"/>
          </p15:clr>
        </p15:guide>
        <p15:guide id="5" pos="3477">
          <p15:clr>
            <a:srgbClr val="FBAE40"/>
          </p15:clr>
        </p15:guide>
        <p15:guide id="6" pos="746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0E25796-BE58-9EC2-B5B3-3584C3588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1055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0E25796-BE58-9EC2-B5B3-3584C3588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Line">
            <a:extLst>
              <a:ext uri="{FF2B5EF4-FFF2-40B4-BE49-F238E27FC236}">
                <a16:creationId xmlns:a16="http://schemas.microsoft.com/office/drawing/2014/main" id="{78C23B66-615F-4718-BD9E-FC56288257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248128" y="1484784"/>
            <a:ext cx="1728192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7248128" y="1989128"/>
            <a:ext cx="4608512" cy="1799912"/>
          </a:xfrm>
          <a:prstGeom prst="rect">
            <a:avLst/>
          </a:prstGeom>
        </p:spPr>
        <p:txBody>
          <a:bodyPr vert="horz">
            <a:noAutofit/>
          </a:bodyPr>
          <a:lstStyle>
            <a:lvl1pPr marL="361950" indent="-361950"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GB"/>
              <a:t>1	Divider slide | Insert your headline in maximal 3 lines here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4FDF9C42-D4C2-4901-8C80-4142CE35C1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128" y="3789184"/>
            <a:ext cx="4608512" cy="1151984"/>
          </a:xfrm>
          <a:prstGeom prst="rect">
            <a:avLst/>
          </a:prstGeom>
          <a:noFill/>
          <a:ln w="0">
            <a:noFill/>
          </a:ln>
        </p:spPr>
        <p:txBody>
          <a:bodyPr lIns="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17" name="Picture">
            <a:extLst>
              <a:ext uri="{FF2B5EF4-FFF2-40B4-BE49-F238E27FC236}">
                <a16:creationId xmlns:a16="http://schemas.microsoft.com/office/drawing/2014/main" id="{98F4FF65-FEA2-42DE-8EE1-50E91E928FE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35360" y="1484784"/>
            <a:ext cx="6336704" cy="4620741"/>
          </a:xfrm>
          <a:custGeom>
            <a:avLst/>
            <a:gdLst>
              <a:gd name="connsiteX0" fmla="*/ 1008000 w 7056002"/>
              <a:gd name="connsiteY0" fmla="*/ 0 h 5040002"/>
              <a:gd name="connsiteX1" fmla="*/ 7056002 w 7056002"/>
              <a:gd name="connsiteY1" fmla="*/ 0 h 5040002"/>
              <a:gd name="connsiteX2" fmla="*/ 7056002 w 7056002"/>
              <a:gd name="connsiteY2" fmla="*/ 4033656 h 5040002"/>
              <a:gd name="connsiteX3" fmla="*/ 0 w 7056002"/>
              <a:gd name="connsiteY3" fmla="*/ 5040002 h 5040002"/>
              <a:gd name="connsiteX0" fmla="*/ 1174688 w 7056002"/>
              <a:gd name="connsiteY0" fmla="*/ 0 h 5040002"/>
              <a:gd name="connsiteX1" fmla="*/ 7056002 w 7056002"/>
              <a:gd name="connsiteY1" fmla="*/ 0 h 5040002"/>
              <a:gd name="connsiteX2" fmla="*/ 7056002 w 7056002"/>
              <a:gd name="connsiteY2" fmla="*/ 4033656 h 5040002"/>
              <a:gd name="connsiteX3" fmla="*/ 0 w 7056002"/>
              <a:gd name="connsiteY3" fmla="*/ 5040002 h 5040002"/>
              <a:gd name="connsiteX4" fmla="*/ 1174688 w 7056002"/>
              <a:gd name="connsiteY4" fmla="*/ 0 h 5040002"/>
              <a:gd name="connsiteX0" fmla="*/ 1174688 w 7056002"/>
              <a:gd name="connsiteY0" fmla="*/ 0 h 5040002"/>
              <a:gd name="connsiteX1" fmla="*/ 7056002 w 7056002"/>
              <a:gd name="connsiteY1" fmla="*/ 0 h 5040002"/>
              <a:gd name="connsiteX2" fmla="*/ 7053224 w 7056002"/>
              <a:gd name="connsiteY2" fmla="*/ 3919886 h 5040002"/>
              <a:gd name="connsiteX3" fmla="*/ 0 w 7056002"/>
              <a:gd name="connsiteY3" fmla="*/ 5040002 h 5040002"/>
              <a:gd name="connsiteX4" fmla="*/ 1174688 w 7056002"/>
              <a:gd name="connsiteY4" fmla="*/ 0 h 5040002"/>
              <a:gd name="connsiteX0" fmla="*/ 1293258 w 7174572"/>
              <a:gd name="connsiteY0" fmla="*/ 0 h 5190412"/>
              <a:gd name="connsiteX1" fmla="*/ 7174572 w 7174572"/>
              <a:gd name="connsiteY1" fmla="*/ 0 h 5190412"/>
              <a:gd name="connsiteX2" fmla="*/ 7171794 w 7174572"/>
              <a:gd name="connsiteY2" fmla="*/ 3919886 h 5190412"/>
              <a:gd name="connsiteX3" fmla="*/ 0 w 7174572"/>
              <a:gd name="connsiteY3" fmla="*/ 5190412 h 5190412"/>
              <a:gd name="connsiteX4" fmla="*/ 1293258 w 7174572"/>
              <a:gd name="connsiteY4" fmla="*/ 0 h 5190412"/>
              <a:gd name="connsiteX0" fmla="*/ 948326 w 6829640"/>
              <a:gd name="connsiteY0" fmla="*/ 0 h 5007771"/>
              <a:gd name="connsiteX1" fmla="*/ 6829640 w 6829640"/>
              <a:gd name="connsiteY1" fmla="*/ 0 h 5007771"/>
              <a:gd name="connsiteX2" fmla="*/ 6826862 w 6829640"/>
              <a:gd name="connsiteY2" fmla="*/ 3919886 h 5007771"/>
              <a:gd name="connsiteX3" fmla="*/ 0 w 6829640"/>
              <a:gd name="connsiteY3" fmla="*/ 5007771 h 5007771"/>
              <a:gd name="connsiteX4" fmla="*/ 948326 w 6829640"/>
              <a:gd name="connsiteY4" fmla="*/ 0 h 5007771"/>
              <a:gd name="connsiteX0" fmla="*/ 1304037 w 7185351"/>
              <a:gd name="connsiteY0" fmla="*/ 0 h 5211899"/>
              <a:gd name="connsiteX1" fmla="*/ 7185351 w 7185351"/>
              <a:gd name="connsiteY1" fmla="*/ 0 h 5211899"/>
              <a:gd name="connsiteX2" fmla="*/ 7182573 w 7185351"/>
              <a:gd name="connsiteY2" fmla="*/ 3919886 h 5211899"/>
              <a:gd name="connsiteX3" fmla="*/ 0 w 7185351"/>
              <a:gd name="connsiteY3" fmla="*/ 5211899 h 5211899"/>
              <a:gd name="connsiteX4" fmla="*/ 1304037 w 7185351"/>
              <a:gd name="connsiteY4" fmla="*/ 0 h 5211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85351" h="5211899">
                <a:moveTo>
                  <a:pt x="1304037" y="0"/>
                </a:moveTo>
                <a:lnTo>
                  <a:pt x="7185351" y="0"/>
                </a:lnTo>
                <a:lnTo>
                  <a:pt x="7182573" y="3919886"/>
                </a:lnTo>
                <a:lnTo>
                  <a:pt x="0" y="5211899"/>
                </a:lnTo>
                <a:cubicBezTo>
                  <a:pt x="336000" y="3531898"/>
                  <a:pt x="968037" y="1680001"/>
                  <a:pt x="1304037" y="0"/>
                </a:cubicBezTo>
                <a:close/>
              </a:path>
            </a:pathLst>
          </a:custGeom>
          <a:solidFill>
            <a:srgbClr val="D6D9DC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BA25C56-A472-8748-4C17-4FB01DBBD8C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8A48537-F1E3-3914-E4A7-0803F3FE8C5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FEC1D00-4BDB-828A-91AF-76D981A2841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1" name="Source">
            <a:extLst>
              <a:ext uri="{FF2B5EF4-FFF2-40B4-BE49-F238E27FC236}">
                <a16:creationId xmlns:a16="http://schemas.microsoft.com/office/drawing/2014/main" id="{F1176FA8-F250-DC94-428A-07122F63644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1487488" y="6525000"/>
            <a:ext cx="9217024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</p:spTree>
    <p:extLst>
      <p:ext uri="{BB962C8B-B14F-4D97-AF65-F5344CB8AC3E}">
        <p14:creationId xmlns:p14="http://schemas.microsoft.com/office/powerpoint/2010/main" val="1158422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with big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34E3C16-1DB9-CA04-6270-2394F2B708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2269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34E3C16-1DB9-CA04-6270-2394F2B70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25EC39D-88B9-67E2-DD98-DA61BF97259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0" y="0"/>
            <a:ext cx="10704512" cy="6858000"/>
          </a:xfrm>
          <a:custGeom>
            <a:avLst/>
            <a:gdLst>
              <a:gd name="connsiteX0" fmla="*/ 0 w 10632504"/>
              <a:gd name="connsiteY0" fmla="*/ 0 h 6858000"/>
              <a:gd name="connsiteX1" fmla="*/ 10632504 w 10632504"/>
              <a:gd name="connsiteY1" fmla="*/ 0 h 6858000"/>
              <a:gd name="connsiteX2" fmla="*/ 10632504 w 10632504"/>
              <a:gd name="connsiteY2" fmla="*/ 6858000 h 6858000"/>
              <a:gd name="connsiteX3" fmla="*/ 0 w 1063250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632504" h="6858000">
                <a:moveTo>
                  <a:pt x="0" y="0"/>
                </a:moveTo>
                <a:lnTo>
                  <a:pt x="10632504" y="0"/>
                </a:lnTo>
                <a:lnTo>
                  <a:pt x="1063250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6D9DC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280" name="Title">
            <a:extLst>
              <a:ext uri="{FF2B5EF4-FFF2-40B4-BE49-F238E27FC236}">
                <a16:creationId xmlns:a16="http://schemas.microsoft.com/office/drawing/2014/main" id="{9F73BC7C-461B-4374-A3A1-113AB5807B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2699" y="1484784"/>
            <a:ext cx="3448050" cy="2887191"/>
          </a:xfrm>
          <a:custGeom>
            <a:avLst/>
            <a:gdLst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517775 w 3022600"/>
              <a:gd name="connsiteY2" fmla="*/ 2520950 h 3024187"/>
              <a:gd name="connsiteX3" fmla="*/ 0 w 3022600"/>
              <a:gd name="connsiteY3" fmla="*/ 3024187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434278 w 3022600"/>
              <a:gd name="connsiteY2" fmla="*/ 2151803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517775 w 3022600"/>
              <a:gd name="connsiteY2" fmla="*/ 2421181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2600" h="3024187">
                <a:moveTo>
                  <a:pt x="0" y="0"/>
                </a:moveTo>
                <a:lnTo>
                  <a:pt x="3022600" y="0"/>
                </a:lnTo>
                <a:lnTo>
                  <a:pt x="2517775" y="2421181"/>
                </a:lnTo>
                <a:lnTo>
                  <a:pt x="0" y="302418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tIns="216000" rIns="216000">
            <a:noAutofit/>
          </a:bodyPr>
          <a:lstStyle>
            <a:lvl1pPr marL="355600" indent="-355600"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GB"/>
              <a:t>1	Insert Chapter title here in max. 3 lines</a:t>
            </a:r>
          </a:p>
        </p:txBody>
      </p:sp>
      <p:sp>
        <p:nvSpPr>
          <p:cNvPr id="281" name="Subtitle 2">
            <a:extLst>
              <a:ext uri="{FF2B5EF4-FFF2-40B4-BE49-F238E27FC236}">
                <a16:creationId xmlns:a16="http://schemas.microsoft.com/office/drawing/2014/main" id="{C62B0A6C-F8C8-4CAE-980D-DAAE4106DEF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911424" y="2996780"/>
            <a:ext cx="2879760" cy="1008000"/>
          </a:xfrm>
          <a:prstGeom prst="rect">
            <a:avLst/>
          </a:prstGeom>
          <a:noFill/>
          <a:ln w="0">
            <a:noFill/>
          </a:ln>
        </p:spPr>
        <p:txBody>
          <a:bodyPr lIns="21600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D6D4BF7-296F-B27F-357F-38B1C0FE13BE}"/>
              </a:ext>
            </a:extLst>
          </p:cNvPr>
          <p:cNvSpPr/>
          <p:nvPr userDrawn="1"/>
        </p:nvSpPr>
        <p:spPr>
          <a:xfrm>
            <a:off x="10776520" y="260648"/>
            <a:ext cx="216024" cy="6480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160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745BBC4-1CB9-3C1D-206C-D059E1D79A4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80D59D49-77F8-8DD4-1D71-65CB96A31D7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1F5ACF8-DF45-17B4-55F4-84041F4699D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Source">
            <a:extLst>
              <a:ext uri="{FF2B5EF4-FFF2-40B4-BE49-F238E27FC236}">
                <a16:creationId xmlns:a16="http://schemas.microsoft.com/office/drawing/2014/main" id="{5F96454B-26DF-90B8-E8D9-F72C06EFC3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87488" y="6525000"/>
            <a:ext cx="9217024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</p:spTree>
    <p:extLst>
      <p:ext uri="{BB962C8B-B14F-4D97-AF65-F5344CB8AC3E}">
        <p14:creationId xmlns:p14="http://schemas.microsoft.com/office/powerpoint/2010/main" val="26984738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1BFF8FA-A18F-9580-D58B-3FE4C20FF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4095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1BFF8FA-A18F-9580-D58B-3FE4C20FF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Number">
            <a:extLst>
              <a:ext uri="{FF2B5EF4-FFF2-40B4-BE49-F238E27FC236}">
                <a16:creationId xmlns:a16="http://schemas.microsoft.com/office/drawing/2014/main" id="{C1DC8AD9-CEFF-4205-B408-8C25EAC04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5360" y="2061183"/>
            <a:ext cx="3456384" cy="252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 baseline="0">
                <a:solidFill>
                  <a:srgbClr val="FFA52F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FFA52F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FFA52F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FFA52F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FFA52F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FFA52F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FFA52F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FFA52F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FFA52F"/>
                </a:solidFill>
                <a:latin typeface="+mj-lt"/>
              </a:defRPr>
            </a:lvl9pPr>
          </a:lstStyle>
          <a:p>
            <a:r>
              <a:rPr lang="en-GB"/>
              <a:t>00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4943873" y="1989183"/>
            <a:ext cx="4608399" cy="1799857"/>
          </a:xfrm>
          <a:prstGeom prst="rect">
            <a:avLst/>
          </a:prstGeom>
        </p:spPr>
        <p:txBody>
          <a:bodyPr vert="horz" tIns="36000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Divider slide | Insert your headline in maximal 3 lines her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46297C-A90E-4725-9584-F26D2B59D3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943872" y="3789040"/>
            <a:ext cx="4608399" cy="1152128"/>
          </a:xfrm>
          <a:prstGeom prst="rect">
            <a:avLst/>
          </a:prstGeom>
          <a:noFill/>
          <a:ln w="0">
            <a:noFill/>
          </a:ln>
        </p:spPr>
        <p:txBody>
          <a:bodyPr lIns="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B35B64EF-C464-2157-7A10-5183D202FF4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8649D5F2-BE4D-5D0E-A920-FC826A2EB0D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421FDD87-1897-DA0B-C157-6576BD8873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Source">
            <a:extLst>
              <a:ext uri="{FF2B5EF4-FFF2-40B4-BE49-F238E27FC236}">
                <a16:creationId xmlns:a16="http://schemas.microsoft.com/office/drawing/2014/main" id="{4AF82995-E843-5480-A780-9372491B1EE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487488" y="6525000"/>
            <a:ext cx="9217024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</p:spTree>
    <p:extLst>
      <p:ext uri="{BB962C8B-B14F-4D97-AF65-F5344CB8AC3E}">
        <p14:creationId xmlns:p14="http://schemas.microsoft.com/office/powerpoint/2010/main" val="12274519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2 | Magent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82FAFB2-3E83-5B92-527C-582554BD07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9836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82FAFB2-3E83-5B92-527C-582554BD07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Number">
            <a:extLst>
              <a:ext uri="{FF2B5EF4-FFF2-40B4-BE49-F238E27FC236}">
                <a16:creationId xmlns:a16="http://schemas.microsoft.com/office/drawing/2014/main" id="{E157F135-E4AF-4A4C-8F59-A56C717EB5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5360" y="2061183"/>
            <a:ext cx="3456384" cy="252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 baseline="0">
                <a:solidFill>
                  <a:srgbClr val="D2335F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D2335F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D2335F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D2335F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D2335F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D2335F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D2335F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D2335F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D2335F"/>
                </a:solidFill>
                <a:latin typeface="+mj-lt"/>
              </a:defRPr>
            </a:lvl9pPr>
          </a:lstStyle>
          <a:p>
            <a:r>
              <a:rPr lang="en-GB"/>
              <a:t>00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4943874" y="1989183"/>
            <a:ext cx="4608511" cy="1799857"/>
          </a:xfrm>
          <a:prstGeom prst="rect">
            <a:avLst/>
          </a:prstGeom>
        </p:spPr>
        <p:txBody>
          <a:bodyPr vert="horz" tIns="36000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Divider slide | Insert your headline in maximal 3 lines her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46297C-A90E-4725-9584-F26D2B59D3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943873" y="3789040"/>
            <a:ext cx="4608511" cy="1152128"/>
          </a:xfrm>
          <a:prstGeom prst="rect">
            <a:avLst/>
          </a:prstGeom>
          <a:noFill/>
          <a:ln w="0">
            <a:noFill/>
          </a:ln>
        </p:spPr>
        <p:txBody>
          <a:bodyPr lIns="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9970168-D029-D3E0-46DE-74970B8F7DA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9CCA1195-594E-5CAF-16EF-F4CAEE2BA81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35FB83E2-E9A7-F446-3EB6-5DEFCC48CFD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Source">
            <a:extLst>
              <a:ext uri="{FF2B5EF4-FFF2-40B4-BE49-F238E27FC236}">
                <a16:creationId xmlns:a16="http://schemas.microsoft.com/office/drawing/2014/main" id="{932B6B84-5746-8CF8-67C6-8D4F3F354A9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487488" y="6525000"/>
            <a:ext cx="9217024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</p:spTree>
    <p:extLst>
      <p:ext uri="{BB962C8B-B14F-4D97-AF65-F5344CB8AC3E}">
        <p14:creationId xmlns:p14="http://schemas.microsoft.com/office/powerpoint/2010/main" val="11567734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2 |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8E556B3-7549-C502-A3E2-FD4944AEF7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8368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8E556B3-7549-C502-A3E2-FD4944AEF7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Number">
            <a:extLst>
              <a:ext uri="{FF2B5EF4-FFF2-40B4-BE49-F238E27FC236}">
                <a16:creationId xmlns:a16="http://schemas.microsoft.com/office/drawing/2014/main" id="{F1BA0A68-4136-44D7-9E13-FF5DFC551B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5360" y="2061183"/>
            <a:ext cx="3456384" cy="252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 baseline="0">
                <a:solidFill>
                  <a:srgbClr val="7B4DB3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7B4DB3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7B4DB3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7B4DB3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7B4DB3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7B4DB3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7B4DB3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7B4DB3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7B4DB3"/>
                </a:solidFill>
                <a:latin typeface="+mj-lt"/>
              </a:defRPr>
            </a:lvl9pPr>
          </a:lstStyle>
          <a:p>
            <a:r>
              <a:rPr lang="en-GB"/>
              <a:t>00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4943874" y="1989183"/>
            <a:ext cx="4608510" cy="1799857"/>
          </a:xfrm>
          <a:prstGeom prst="rect">
            <a:avLst/>
          </a:prstGeom>
        </p:spPr>
        <p:txBody>
          <a:bodyPr vert="horz" tIns="36000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Divider slide | Insert your headline in maximal 3 lines her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46297C-A90E-4725-9584-F26D2B59D3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943873" y="3789040"/>
            <a:ext cx="4608511" cy="1152128"/>
          </a:xfrm>
          <a:prstGeom prst="rect">
            <a:avLst/>
          </a:prstGeom>
          <a:noFill/>
          <a:ln w="0">
            <a:noFill/>
          </a:ln>
        </p:spPr>
        <p:txBody>
          <a:bodyPr lIns="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7CC5328-0ECD-5DD1-2B1A-CBD90B60EBC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42A8FFF0-139B-8B64-1121-70586B67417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F8093641-F6E9-AB30-3CC3-D677941CF08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Source">
            <a:extLst>
              <a:ext uri="{FF2B5EF4-FFF2-40B4-BE49-F238E27FC236}">
                <a16:creationId xmlns:a16="http://schemas.microsoft.com/office/drawing/2014/main" id="{18CCBDF6-0C4D-9E43-5AA1-F989D970FAA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487488" y="6525000"/>
            <a:ext cx="9217024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</p:spTree>
    <p:extLst>
      <p:ext uri="{BB962C8B-B14F-4D97-AF65-F5344CB8AC3E}">
        <p14:creationId xmlns:p14="http://schemas.microsoft.com/office/powerpoint/2010/main" val="42330900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2 |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2B27818-5281-BF2C-8651-B4686FCB46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7518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2B27818-5281-BF2C-8651-B4686FCB46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Number">
            <a:extLst>
              <a:ext uri="{FF2B5EF4-FFF2-40B4-BE49-F238E27FC236}">
                <a16:creationId xmlns:a16="http://schemas.microsoft.com/office/drawing/2014/main" id="{0FFF7464-F835-4DB7-98C4-101D2DE12D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5360" y="2061183"/>
            <a:ext cx="3455768" cy="252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 baseline="0">
                <a:solidFill>
                  <a:srgbClr val="519FBC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519FBC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519FBC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519FBC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1200">
                <a:solidFill>
                  <a:srgbClr val="519FBC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519FBC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519FBC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519FBC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buNone/>
              <a:defRPr sz="21200">
                <a:solidFill>
                  <a:srgbClr val="519FBC"/>
                </a:solidFill>
                <a:latin typeface="+mj-lt"/>
              </a:defRPr>
            </a:lvl9pPr>
          </a:lstStyle>
          <a:p>
            <a:r>
              <a:rPr lang="en-GB"/>
              <a:t>00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4943873" y="1989183"/>
            <a:ext cx="4608399" cy="1799857"/>
          </a:xfrm>
          <a:prstGeom prst="rect">
            <a:avLst/>
          </a:prstGeom>
        </p:spPr>
        <p:txBody>
          <a:bodyPr vert="horz" tIns="36000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Divider slide | Insert your headline in maximal 3 lines her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46297C-A90E-4725-9584-F26D2B59D3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943872" y="3789040"/>
            <a:ext cx="4608399" cy="1152128"/>
          </a:xfrm>
          <a:prstGeom prst="rect">
            <a:avLst/>
          </a:prstGeom>
          <a:noFill/>
          <a:ln w="0">
            <a:noFill/>
          </a:ln>
        </p:spPr>
        <p:txBody>
          <a:bodyPr lIns="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CA1C0955-D9DC-8ADB-C79E-372D726B4A02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38686354-13A8-E7EB-3848-72D0F4FC49F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F2318042-E736-0C92-6DEC-7CD79EF1069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Source">
            <a:extLst>
              <a:ext uri="{FF2B5EF4-FFF2-40B4-BE49-F238E27FC236}">
                <a16:creationId xmlns:a16="http://schemas.microsoft.com/office/drawing/2014/main" id="{52870D8B-7C16-6180-4B48-AAE0CDB4EFE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487488" y="6525000"/>
            <a:ext cx="9217024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</p:spTree>
    <p:extLst>
      <p:ext uri="{BB962C8B-B14F-4D97-AF65-F5344CB8AC3E}">
        <p14:creationId xmlns:p14="http://schemas.microsoft.com/office/powerpoint/2010/main" val="36223190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7CAFBF6-1626-F58A-36F0-F368B65D00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9264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7CAFBF6-1626-F58A-36F0-F368B65D00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86" name="Gruppieren 585">
            <a:extLst>
              <a:ext uri="{FF2B5EF4-FFF2-40B4-BE49-F238E27FC236}">
                <a16:creationId xmlns:a16="http://schemas.microsoft.com/office/drawing/2014/main" id="{554EE6DB-14B2-15E4-55F2-FFE30E6E54D9}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587" name="Rechteck 586">
              <a:extLst>
                <a:ext uri="{FF2B5EF4-FFF2-40B4-BE49-F238E27FC236}">
                  <a16:creationId xmlns:a16="http://schemas.microsoft.com/office/drawing/2014/main" id="{DD524CBA-1902-6087-C45F-ED0221FB7E8B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8" name="Rechteck 587">
              <a:extLst>
                <a:ext uri="{FF2B5EF4-FFF2-40B4-BE49-F238E27FC236}">
                  <a16:creationId xmlns:a16="http://schemas.microsoft.com/office/drawing/2014/main" id="{5748EF2F-1BE9-6ABE-4CA4-561510133663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89" name="Rechteck 588">
              <a:extLst>
                <a:ext uri="{FF2B5EF4-FFF2-40B4-BE49-F238E27FC236}">
                  <a16:creationId xmlns:a16="http://schemas.microsoft.com/office/drawing/2014/main" id="{EAFCAB6C-F28C-FB92-947A-7B70A7C081FE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0" name="Rechteck 589">
              <a:extLst>
                <a:ext uri="{FF2B5EF4-FFF2-40B4-BE49-F238E27FC236}">
                  <a16:creationId xmlns:a16="http://schemas.microsoft.com/office/drawing/2014/main" id="{CDC29B25-CCF8-27EF-3617-CD33A9703382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1" name="Rechteck 590">
              <a:extLst>
                <a:ext uri="{FF2B5EF4-FFF2-40B4-BE49-F238E27FC236}">
                  <a16:creationId xmlns:a16="http://schemas.microsoft.com/office/drawing/2014/main" id="{31518C03-510B-87C4-032F-DA29C3D75A47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2" name="Rechteck 591">
              <a:extLst>
                <a:ext uri="{FF2B5EF4-FFF2-40B4-BE49-F238E27FC236}">
                  <a16:creationId xmlns:a16="http://schemas.microsoft.com/office/drawing/2014/main" id="{CF966379-7293-57E2-C0D1-0E25BD266210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3" name="Rechteck 592">
              <a:extLst>
                <a:ext uri="{FF2B5EF4-FFF2-40B4-BE49-F238E27FC236}">
                  <a16:creationId xmlns:a16="http://schemas.microsoft.com/office/drawing/2014/main" id="{09F5C8F0-6047-5BD8-2E83-9CB55CC041AD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4" name="Rechteck 593">
              <a:extLst>
                <a:ext uri="{FF2B5EF4-FFF2-40B4-BE49-F238E27FC236}">
                  <a16:creationId xmlns:a16="http://schemas.microsoft.com/office/drawing/2014/main" id="{85C4CD94-7E8D-2F3B-AC87-B5C881D1BD95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5" name="Rechteck 594">
              <a:extLst>
                <a:ext uri="{FF2B5EF4-FFF2-40B4-BE49-F238E27FC236}">
                  <a16:creationId xmlns:a16="http://schemas.microsoft.com/office/drawing/2014/main" id="{C6F0D380-9711-AD83-B66B-A9FDA1815C28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6" name="Rechteck 595">
              <a:extLst>
                <a:ext uri="{FF2B5EF4-FFF2-40B4-BE49-F238E27FC236}">
                  <a16:creationId xmlns:a16="http://schemas.microsoft.com/office/drawing/2014/main" id="{5D1B4AF9-25A0-D951-6104-164C2815DD8D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7" name="Rechteck 596">
              <a:extLst>
                <a:ext uri="{FF2B5EF4-FFF2-40B4-BE49-F238E27FC236}">
                  <a16:creationId xmlns:a16="http://schemas.microsoft.com/office/drawing/2014/main" id="{95937939-662D-2B2D-416B-D194BA6FF1EB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8" name="Rechteck 597">
              <a:extLst>
                <a:ext uri="{FF2B5EF4-FFF2-40B4-BE49-F238E27FC236}">
                  <a16:creationId xmlns:a16="http://schemas.microsoft.com/office/drawing/2014/main" id="{96D95361-E9DB-D422-9B6C-B74AF66602BC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99" name="Rechteck 598">
              <a:extLst>
                <a:ext uri="{FF2B5EF4-FFF2-40B4-BE49-F238E27FC236}">
                  <a16:creationId xmlns:a16="http://schemas.microsoft.com/office/drawing/2014/main" id="{91407540-1EA5-BFDE-9137-2E5123E57883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0" name="Rechteck 599">
              <a:extLst>
                <a:ext uri="{FF2B5EF4-FFF2-40B4-BE49-F238E27FC236}">
                  <a16:creationId xmlns:a16="http://schemas.microsoft.com/office/drawing/2014/main" id="{94388F57-BFCE-2C0B-C1C2-AE8CD77F45D3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1" name="Rechteck 600">
              <a:extLst>
                <a:ext uri="{FF2B5EF4-FFF2-40B4-BE49-F238E27FC236}">
                  <a16:creationId xmlns:a16="http://schemas.microsoft.com/office/drawing/2014/main" id="{38935657-0904-3047-B761-FFAB3D742486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2" name="Rechteck 601">
              <a:extLst>
                <a:ext uri="{FF2B5EF4-FFF2-40B4-BE49-F238E27FC236}">
                  <a16:creationId xmlns:a16="http://schemas.microsoft.com/office/drawing/2014/main" id="{EB68102B-A717-A18F-693E-14E3AC379A71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3" name="Rechteck 602">
              <a:extLst>
                <a:ext uri="{FF2B5EF4-FFF2-40B4-BE49-F238E27FC236}">
                  <a16:creationId xmlns:a16="http://schemas.microsoft.com/office/drawing/2014/main" id="{12D61654-EAB6-FDD6-31F4-2DBB15E6B373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4" name="Rechteck 603">
              <a:extLst>
                <a:ext uri="{FF2B5EF4-FFF2-40B4-BE49-F238E27FC236}">
                  <a16:creationId xmlns:a16="http://schemas.microsoft.com/office/drawing/2014/main" id="{6689A7AD-5B50-F302-915C-8BC4D437FCEF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5" name="Rechteck 604">
              <a:extLst>
                <a:ext uri="{FF2B5EF4-FFF2-40B4-BE49-F238E27FC236}">
                  <a16:creationId xmlns:a16="http://schemas.microsoft.com/office/drawing/2014/main" id="{9E0E3D36-5B22-5DDE-20D3-E1C985910CB1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6" name="Rechteck 605">
              <a:extLst>
                <a:ext uri="{FF2B5EF4-FFF2-40B4-BE49-F238E27FC236}">
                  <a16:creationId xmlns:a16="http://schemas.microsoft.com/office/drawing/2014/main" id="{96466F41-6FC8-6453-759E-937C5D55073D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7" name="Rechteck 606">
              <a:extLst>
                <a:ext uri="{FF2B5EF4-FFF2-40B4-BE49-F238E27FC236}">
                  <a16:creationId xmlns:a16="http://schemas.microsoft.com/office/drawing/2014/main" id="{A62C5D0E-78D8-4DE4-3567-D44124913B90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8" name="Rechteck 607">
              <a:extLst>
                <a:ext uri="{FF2B5EF4-FFF2-40B4-BE49-F238E27FC236}">
                  <a16:creationId xmlns:a16="http://schemas.microsoft.com/office/drawing/2014/main" id="{DD5C9276-518B-93B5-02F3-DA4FCA3438C6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09" name="Rechteck 608">
              <a:extLst>
                <a:ext uri="{FF2B5EF4-FFF2-40B4-BE49-F238E27FC236}">
                  <a16:creationId xmlns:a16="http://schemas.microsoft.com/office/drawing/2014/main" id="{61FB9A87-9472-D556-834D-4291D4BE2EAF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0" name="Rechteck 609">
              <a:extLst>
                <a:ext uri="{FF2B5EF4-FFF2-40B4-BE49-F238E27FC236}">
                  <a16:creationId xmlns:a16="http://schemas.microsoft.com/office/drawing/2014/main" id="{459AAEDA-DF3B-F7A3-7773-6D33D62383EC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1" name="Rechteck 610">
              <a:extLst>
                <a:ext uri="{FF2B5EF4-FFF2-40B4-BE49-F238E27FC236}">
                  <a16:creationId xmlns:a16="http://schemas.microsoft.com/office/drawing/2014/main" id="{8C4EB2DA-DF02-3F7C-1D13-F507B0499692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2" name="Rechteck 611">
              <a:extLst>
                <a:ext uri="{FF2B5EF4-FFF2-40B4-BE49-F238E27FC236}">
                  <a16:creationId xmlns:a16="http://schemas.microsoft.com/office/drawing/2014/main" id="{6593B473-60D0-58D6-EDC6-7EAC9586A113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3" name="Rechteck 612">
              <a:extLst>
                <a:ext uri="{FF2B5EF4-FFF2-40B4-BE49-F238E27FC236}">
                  <a16:creationId xmlns:a16="http://schemas.microsoft.com/office/drawing/2014/main" id="{C9D299CC-F3CC-6673-D866-61EE8ED66473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4" name="Rechteck 613">
              <a:extLst>
                <a:ext uri="{FF2B5EF4-FFF2-40B4-BE49-F238E27FC236}">
                  <a16:creationId xmlns:a16="http://schemas.microsoft.com/office/drawing/2014/main" id="{BBC5141B-4F03-F0F3-C2AD-5ED959D436B7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5" name="Rechteck 614">
              <a:extLst>
                <a:ext uri="{FF2B5EF4-FFF2-40B4-BE49-F238E27FC236}">
                  <a16:creationId xmlns:a16="http://schemas.microsoft.com/office/drawing/2014/main" id="{491A662F-5C70-1331-9F79-24B47E243B96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6" name="Rechteck 615">
              <a:extLst>
                <a:ext uri="{FF2B5EF4-FFF2-40B4-BE49-F238E27FC236}">
                  <a16:creationId xmlns:a16="http://schemas.microsoft.com/office/drawing/2014/main" id="{AF011F86-4097-EA37-0E2F-D44AA7625066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7" name="Rechteck 616">
              <a:extLst>
                <a:ext uri="{FF2B5EF4-FFF2-40B4-BE49-F238E27FC236}">
                  <a16:creationId xmlns:a16="http://schemas.microsoft.com/office/drawing/2014/main" id="{5B1332CD-8EBD-D072-92F8-A354A6F3A15A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8" name="Rechteck 617">
              <a:extLst>
                <a:ext uri="{FF2B5EF4-FFF2-40B4-BE49-F238E27FC236}">
                  <a16:creationId xmlns:a16="http://schemas.microsoft.com/office/drawing/2014/main" id="{71F808A2-7535-26BD-72AE-A2CDC238A2B9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19" name="Rechteck 618">
              <a:extLst>
                <a:ext uri="{FF2B5EF4-FFF2-40B4-BE49-F238E27FC236}">
                  <a16:creationId xmlns:a16="http://schemas.microsoft.com/office/drawing/2014/main" id="{20523855-F1B4-EC96-EBC3-839DFA570CF0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0" name="Rechteck 619">
              <a:extLst>
                <a:ext uri="{FF2B5EF4-FFF2-40B4-BE49-F238E27FC236}">
                  <a16:creationId xmlns:a16="http://schemas.microsoft.com/office/drawing/2014/main" id="{0A937F34-8DBB-4588-4FD2-3056A93115B0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1" name="Rechteck 620">
              <a:extLst>
                <a:ext uri="{FF2B5EF4-FFF2-40B4-BE49-F238E27FC236}">
                  <a16:creationId xmlns:a16="http://schemas.microsoft.com/office/drawing/2014/main" id="{9E2B5A40-DEA6-0CED-A1CB-2A5FFDCB6472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2" name="Rechteck 621">
              <a:extLst>
                <a:ext uri="{FF2B5EF4-FFF2-40B4-BE49-F238E27FC236}">
                  <a16:creationId xmlns:a16="http://schemas.microsoft.com/office/drawing/2014/main" id="{7164BB37-3138-F9C0-AEE7-44289C4E8481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3" name="Rechteck 622">
              <a:extLst>
                <a:ext uri="{FF2B5EF4-FFF2-40B4-BE49-F238E27FC236}">
                  <a16:creationId xmlns:a16="http://schemas.microsoft.com/office/drawing/2014/main" id="{1F290517-6159-847F-2057-681DA969577E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4" name="Rechteck 623">
              <a:extLst>
                <a:ext uri="{FF2B5EF4-FFF2-40B4-BE49-F238E27FC236}">
                  <a16:creationId xmlns:a16="http://schemas.microsoft.com/office/drawing/2014/main" id="{E96D6DA7-C2CB-347C-3211-E98857B8B3E0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5" name="Rechteck 624">
              <a:extLst>
                <a:ext uri="{FF2B5EF4-FFF2-40B4-BE49-F238E27FC236}">
                  <a16:creationId xmlns:a16="http://schemas.microsoft.com/office/drawing/2014/main" id="{05FFF626-8F19-406B-9046-C98BFA4339ED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6" name="Rechteck 625">
              <a:extLst>
                <a:ext uri="{FF2B5EF4-FFF2-40B4-BE49-F238E27FC236}">
                  <a16:creationId xmlns:a16="http://schemas.microsoft.com/office/drawing/2014/main" id="{7B860284-DF2A-A699-6661-AB94A40D1133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7" name="Rechteck 626">
              <a:extLst>
                <a:ext uri="{FF2B5EF4-FFF2-40B4-BE49-F238E27FC236}">
                  <a16:creationId xmlns:a16="http://schemas.microsoft.com/office/drawing/2014/main" id="{42FC466E-B120-7E04-821F-E1AD1A4D9557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8" name="Rechteck 627">
              <a:extLst>
                <a:ext uri="{FF2B5EF4-FFF2-40B4-BE49-F238E27FC236}">
                  <a16:creationId xmlns:a16="http://schemas.microsoft.com/office/drawing/2014/main" id="{6919DEA1-7517-BE75-E3AB-64E649B5496F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29" name="Rechteck 628">
              <a:extLst>
                <a:ext uri="{FF2B5EF4-FFF2-40B4-BE49-F238E27FC236}">
                  <a16:creationId xmlns:a16="http://schemas.microsoft.com/office/drawing/2014/main" id="{D8F582E2-1603-1BF9-0748-C8F6E9002247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0" name="Rechteck 629">
              <a:extLst>
                <a:ext uri="{FF2B5EF4-FFF2-40B4-BE49-F238E27FC236}">
                  <a16:creationId xmlns:a16="http://schemas.microsoft.com/office/drawing/2014/main" id="{FE6DCC56-E445-8E6C-E653-BD8B2915F26B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1" name="Rechteck 630">
              <a:extLst>
                <a:ext uri="{FF2B5EF4-FFF2-40B4-BE49-F238E27FC236}">
                  <a16:creationId xmlns:a16="http://schemas.microsoft.com/office/drawing/2014/main" id="{18AC524E-5367-DD5E-E026-24C98DD6ABBB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2" name="Rechteck 631">
              <a:extLst>
                <a:ext uri="{FF2B5EF4-FFF2-40B4-BE49-F238E27FC236}">
                  <a16:creationId xmlns:a16="http://schemas.microsoft.com/office/drawing/2014/main" id="{960FBE02-4387-507F-1D07-099A970B37C5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3" name="Rechteck 632">
              <a:extLst>
                <a:ext uri="{FF2B5EF4-FFF2-40B4-BE49-F238E27FC236}">
                  <a16:creationId xmlns:a16="http://schemas.microsoft.com/office/drawing/2014/main" id="{1A62EE0B-346E-D4DE-7D5F-8B83F244E0E4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4" name="Rechteck 633">
              <a:extLst>
                <a:ext uri="{FF2B5EF4-FFF2-40B4-BE49-F238E27FC236}">
                  <a16:creationId xmlns:a16="http://schemas.microsoft.com/office/drawing/2014/main" id="{E6C1C97D-516C-7A32-A6C0-8EDBB14BBEEA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5" name="Rechteck 634">
              <a:extLst>
                <a:ext uri="{FF2B5EF4-FFF2-40B4-BE49-F238E27FC236}">
                  <a16:creationId xmlns:a16="http://schemas.microsoft.com/office/drawing/2014/main" id="{FF3DA2A5-BA0B-EAB9-BEB5-13371A9C9AA8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6" name="Rechteck 635">
              <a:extLst>
                <a:ext uri="{FF2B5EF4-FFF2-40B4-BE49-F238E27FC236}">
                  <a16:creationId xmlns:a16="http://schemas.microsoft.com/office/drawing/2014/main" id="{91A12C59-172E-6A7E-B9FE-87C75B337677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7" name="Rechteck 636">
              <a:extLst>
                <a:ext uri="{FF2B5EF4-FFF2-40B4-BE49-F238E27FC236}">
                  <a16:creationId xmlns:a16="http://schemas.microsoft.com/office/drawing/2014/main" id="{F83846A6-0118-E357-CCC2-B19DBB1DC600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8" name="Rechteck 637">
              <a:extLst>
                <a:ext uri="{FF2B5EF4-FFF2-40B4-BE49-F238E27FC236}">
                  <a16:creationId xmlns:a16="http://schemas.microsoft.com/office/drawing/2014/main" id="{C8022AC4-E8F5-25DA-DA1E-BB03A82E4874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39" name="Rechteck 638">
              <a:extLst>
                <a:ext uri="{FF2B5EF4-FFF2-40B4-BE49-F238E27FC236}">
                  <a16:creationId xmlns:a16="http://schemas.microsoft.com/office/drawing/2014/main" id="{FFF27F3B-8CEE-87FB-A29E-4C8431A753F0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0" name="Rechteck 639">
              <a:extLst>
                <a:ext uri="{FF2B5EF4-FFF2-40B4-BE49-F238E27FC236}">
                  <a16:creationId xmlns:a16="http://schemas.microsoft.com/office/drawing/2014/main" id="{D23AD19B-3AA5-71B9-CC12-3864635696C9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1" name="Rechteck 640">
              <a:extLst>
                <a:ext uri="{FF2B5EF4-FFF2-40B4-BE49-F238E27FC236}">
                  <a16:creationId xmlns:a16="http://schemas.microsoft.com/office/drawing/2014/main" id="{0BC766FC-22AA-084F-35E3-606A06BC8431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2" name="Rechteck 641">
              <a:extLst>
                <a:ext uri="{FF2B5EF4-FFF2-40B4-BE49-F238E27FC236}">
                  <a16:creationId xmlns:a16="http://schemas.microsoft.com/office/drawing/2014/main" id="{D1B008AF-3163-A71E-B5E8-B11F23047493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3" name="Rechteck 642">
              <a:extLst>
                <a:ext uri="{FF2B5EF4-FFF2-40B4-BE49-F238E27FC236}">
                  <a16:creationId xmlns:a16="http://schemas.microsoft.com/office/drawing/2014/main" id="{20281E64-E10D-C6B3-B5CF-367F59514B90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4" name="Rechteck 643">
              <a:extLst>
                <a:ext uri="{FF2B5EF4-FFF2-40B4-BE49-F238E27FC236}">
                  <a16:creationId xmlns:a16="http://schemas.microsoft.com/office/drawing/2014/main" id="{B8CFDA59-DFBB-A461-9A7D-9E6D05FE9B45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5" name="Rechteck 644">
              <a:extLst>
                <a:ext uri="{FF2B5EF4-FFF2-40B4-BE49-F238E27FC236}">
                  <a16:creationId xmlns:a16="http://schemas.microsoft.com/office/drawing/2014/main" id="{906EA0EC-5C27-4564-25F8-318C146E4720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6" name="Rechteck 645">
              <a:extLst>
                <a:ext uri="{FF2B5EF4-FFF2-40B4-BE49-F238E27FC236}">
                  <a16:creationId xmlns:a16="http://schemas.microsoft.com/office/drawing/2014/main" id="{627063D1-6DD9-9F82-F4BB-47C3B6B83E7B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7" name="Rechteck 646">
              <a:extLst>
                <a:ext uri="{FF2B5EF4-FFF2-40B4-BE49-F238E27FC236}">
                  <a16:creationId xmlns:a16="http://schemas.microsoft.com/office/drawing/2014/main" id="{513CC39A-1147-B1FC-B0D0-6E1E694C15F1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8" name="Rechteck 647">
              <a:extLst>
                <a:ext uri="{FF2B5EF4-FFF2-40B4-BE49-F238E27FC236}">
                  <a16:creationId xmlns:a16="http://schemas.microsoft.com/office/drawing/2014/main" id="{5FAC358D-84CC-328A-1F98-F62694C9C1C5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9" name="Rechteck 648">
              <a:extLst>
                <a:ext uri="{FF2B5EF4-FFF2-40B4-BE49-F238E27FC236}">
                  <a16:creationId xmlns:a16="http://schemas.microsoft.com/office/drawing/2014/main" id="{555867F3-2ABC-AA8D-3BF2-CCB4C60261CE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0" name="Rechteck 649">
              <a:extLst>
                <a:ext uri="{FF2B5EF4-FFF2-40B4-BE49-F238E27FC236}">
                  <a16:creationId xmlns:a16="http://schemas.microsoft.com/office/drawing/2014/main" id="{40A1B1F3-158F-94C7-76D3-5113957B2235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1" name="Rechteck 650">
              <a:extLst>
                <a:ext uri="{FF2B5EF4-FFF2-40B4-BE49-F238E27FC236}">
                  <a16:creationId xmlns:a16="http://schemas.microsoft.com/office/drawing/2014/main" id="{6CE1BFB9-2093-6AD8-E064-455A28735627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2" name="Rechteck 651">
              <a:extLst>
                <a:ext uri="{FF2B5EF4-FFF2-40B4-BE49-F238E27FC236}">
                  <a16:creationId xmlns:a16="http://schemas.microsoft.com/office/drawing/2014/main" id="{30C17304-184E-0548-E33A-A69C0F29F545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3" name="Rechteck 652">
              <a:extLst>
                <a:ext uri="{FF2B5EF4-FFF2-40B4-BE49-F238E27FC236}">
                  <a16:creationId xmlns:a16="http://schemas.microsoft.com/office/drawing/2014/main" id="{07C34270-5E02-1250-B6CD-952744FDC408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4" name="Rechteck 653">
              <a:extLst>
                <a:ext uri="{FF2B5EF4-FFF2-40B4-BE49-F238E27FC236}">
                  <a16:creationId xmlns:a16="http://schemas.microsoft.com/office/drawing/2014/main" id="{6EB4CBE6-0D70-AED8-D64C-7C0020C5DEB3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5" name="Rechteck 654">
              <a:extLst>
                <a:ext uri="{FF2B5EF4-FFF2-40B4-BE49-F238E27FC236}">
                  <a16:creationId xmlns:a16="http://schemas.microsoft.com/office/drawing/2014/main" id="{1A9EE276-0EF5-8067-339B-E7CD114C81E8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6" name="Rechteck 655">
              <a:extLst>
                <a:ext uri="{FF2B5EF4-FFF2-40B4-BE49-F238E27FC236}">
                  <a16:creationId xmlns:a16="http://schemas.microsoft.com/office/drawing/2014/main" id="{D459495F-4AB0-9AF2-2B43-3E672FE6657F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7" name="Rechteck 656">
              <a:extLst>
                <a:ext uri="{FF2B5EF4-FFF2-40B4-BE49-F238E27FC236}">
                  <a16:creationId xmlns:a16="http://schemas.microsoft.com/office/drawing/2014/main" id="{FFFBD5AF-7C3C-01C6-273F-1BB18F886527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8" name="Rechteck 657">
              <a:extLst>
                <a:ext uri="{FF2B5EF4-FFF2-40B4-BE49-F238E27FC236}">
                  <a16:creationId xmlns:a16="http://schemas.microsoft.com/office/drawing/2014/main" id="{DF3E5B66-D040-A3BD-530F-5EF71FCC8755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9" name="Rechteck 658">
              <a:extLst>
                <a:ext uri="{FF2B5EF4-FFF2-40B4-BE49-F238E27FC236}">
                  <a16:creationId xmlns:a16="http://schemas.microsoft.com/office/drawing/2014/main" id="{5348761D-7732-7603-861C-4E5DFC818775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0" name="Rechteck 659">
              <a:extLst>
                <a:ext uri="{FF2B5EF4-FFF2-40B4-BE49-F238E27FC236}">
                  <a16:creationId xmlns:a16="http://schemas.microsoft.com/office/drawing/2014/main" id="{304688C5-374B-B86C-3B93-887B29D0C5D2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1" name="Rechteck 660">
              <a:extLst>
                <a:ext uri="{FF2B5EF4-FFF2-40B4-BE49-F238E27FC236}">
                  <a16:creationId xmlns:a16="http://schemas.microsoft.com/office/drawing/2014/main" id="{0574B421-EE3B-65AA-16F3-F66127C3B739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2" name="Rechteck 661">
              <a:extLst>
                <a:ext uri="{FF2B5EF4-FFF2-40B4-BE49-F238E27FC236}">
                  <a16:creationId xmlns:a16="http://schemas.microsoft.com/office/drawing/2014/main" id="{783B7097-71D7-3DF4-E569-0B784600D68C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3" name="Rechteck 662">
              <a:extLst>
                <a:ext uri="{FF2B5EF4-FFF2-40B4-BE49-F238E27FC236}">
                  <a16:creationId xmlns:a16="http://schemas.microsoft.com/office/drawing/2014/main" id="{8F3F6407-28F8-BF5A-86F6-4E73509C1125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4" name="Rechteck 663">
              <a:extLst>
                <a:ext uri="{FF2B5EF4-FFF2-40B4-BE49-F238E27FC236}">
                  <a16:creationId xmlns:a16="http://schemas.microsoft.com/office/drawing/2014/main" id="{E371834F-C44C-C145-593F-A808F1D0A11F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5" name="Rechteck 664">
              <a:extLst>
                <a:ext uri="{FF2B5EF4-FFF2-40B4-BE49-F238E27FC236}">
                  <a16:creationId xmlns:a16="http://schemas.microsoft.com/office/drawing/2014/main" id="{B6016C77-8E03-A14B-D360-B6E923843065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6" name="Rechteck 665">
              <a:extLst>
                <a:ext uri="{FF2B5EF4-FFF2-40B4-BE49-F238E27FC236}">
                  <a16:creationId xmlns:a16="http://schemas.microsoft.com/office/drawing/2014/main" id="{7B75C589-0E05-0C6B-FF2C-4C211BD5B249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7" name="Rechteck 666">
              <a:extLst>
                <a:ext uri="{FF2B5EF4-FFF2-40B4-BE49-F238E27FC236}">
                  <a16:creationId xmlns:a16="http://schemas.microsoft.com/office/drawing/2014/main" id="{D1D0D7AC-4B48-D0EB-A2C2-4D9FAB985AE5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8" name="Rechteck 667">
              <a:extLst>
                <a:ext uri="{FF2B5EF4-FFF2-40B4-BE49-F238E27FC236}">
                  <a16:creationId xmlns:a16="http://schemas.microsoft.com/office/drawing/2014/main" id="{70571AB7-8545-B46F-57BD-AD0B6FDCE4BF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9" name="Rechteck 668">
              <a:extLst>
                <a:ext uri="{FF2B5EF4-FFF2-40B4-BE49-F238E27FC236}">
                  <a16:creationId xmlns:a16="http://schemas.microsoft.com/office/drawing/2014/main" id="{1D6F298D-C980-BD9F-3142-773D7D611F0E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0" name="Rechteck 669">
              <a:extLst>
                <a:ext uri="{FF2B5EF4-FFF2-40B4-BE49-F238E27FC236}">
                  <a16:creationId xmlns:a16="http://schemas.microsoft.com/office/drawing/2014/main" id="{42975420-6733-B0EA-0D93-7B69FEB135F2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1" name="Rechteck 670">
              <a:extLst>
                <a:ext uri="{FF2B5EF4-FFF2-40B4-BE49-F238E27FC236}">
                  <a16:creationId xmlns:a16="http://schemas.microsoft.com/office/drawing/2014/main" id="{24B07210-4A8C-0540-8595-90682FEA7DB9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2" name="Rechteck 671">
              <a:extLst>
                <a:ext uri="{FF2B5EF4-FFF2-40B4-BE49-F238E27FC236}">
                  <a16:creationId xmlns:a16="http://schemas.microsoft.com/office/drawing/2014/main" id="{CD7F0533-04C3-83E3-51EB-6A62E56497E3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3" name="Rechteck 672">
              <a:extLst>
                <a:ext uri="{FF2B5EF4-FFF2-40B4-BE49-F238E27FC236}">
                  <a16:creationId xmlns:a16="http://schemas.microsoft.com/office/drawing/2014/main" id="{414C293D-7605-8C26-A6BA-F2324F5B2FA6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4" name="Rechteck 673">
              <a:extLst>
                <a:ext uri="{FF2B5EF4-FFF2-40B4-BE49-F238E27FC236}">
                  <a16:creationId xmlns:a16="http://schemas.microsoft.com/office/drawing/2014/main" id="{1A16130E-F4DB-2058-8656-10FA04F42281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5" name="Rechteck 674">
              <a:extLst>
                <a:ext uri="{FF2B5EF4-FFF2-40B4-BE49-F238E27FC236}">
                  <a16:creationId xmlns:a16="http://schemas.microsoft.com/office/drawing/2014/main" id="{E6C05886-CC58-9B39-6382-329C28B16C83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6" name="Rechteck 675">
              <a:extLst>
                <a:ext uri="{FF2B5EF4-FFF2-40B4-BE49-F238E27FC236}">
                  <a16:creationId xmlns:a16="http://schemas.microsoft.com/office/drawing/2014/main" id="{74D3AB5C-B18C-B7C9-0600-89734DB3FFD5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7" name="Rechteck 676">
              <a:extLst>
                <a:ext uri="{FF2B5EF4-FFF2-40B4-BE49-F238E27FC236}">
                  <a16:creationId xmlns:a16="http://schemas.microsoft.com/office/drawing/2014/main" id="{B8DE0F76-9C5C-CB9C-025C-6ABDE46524B3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8" name="Rechteck 677">
              <a:extLst>
                <a:ext uri="{FF2B5EF4-FFF2-40B4-BE49-F238E27FC236}">
                  <a16:creationId xmlns:a16="http://schemas.microsoft.com/office/drawing/2014/main" id="{068712A3-243E-B33E-5F53-58901BFCAD0B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9" name="Rechteck 678">
              <a:extLst>
                <a:ext uri="{FF2B5EF4-FFF2-40B4-BE49-F238E27FC236}">
                  <a16:creationId xmlns:a16="http://schemas.microsoft.com/office/drawing/2014/main" id="{5D1EE436-6211-2195-838D-3C53584A991F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0" name="Rechteck 679">
              <a:extLst>
                <a:ext uri="{FF2B5EF4-FFF2-40B4-BE49-F238E27FC236}">
                  <a16:creationId xmlns:a16="http://schemas.microsoft.com/office/drawing/2014/main" id="{735AECAD-A501-8EDF-7417-BB02E7098C51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1" name="Rechteck 680">
              <a:extLst>
                <a:ext uri="{FF2B5EF4-FFF2-40B4-BE49-F238E27FC236}">
                  <a16:creationId xmlns:a16="http://schemas.microsoft.com/office/drawing/2014/main" id="{61B56840-D4EF-7550-C873-7BFF934F7EE6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2" name="Rechteck 681">
              <a:extLst>
                <a:ext uri="{FF2B5EF4-FFF2-40B4-BE49-F238E27FC236}">
                  <a16:creationId xmlns:a16="http://schemas.microsoft.com/office/drawing/2014/main" id="{8D2F1CC8-AFA2-C831-3297-60497E308649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3" name="Rechteck 682">
              <a:extLst>
                <a:ext uri="{FF2B5EF4-FFF2-40B4-BE49-F238E27FC236}">
                  <a16:creationId xmlns:a16="http://schemas.microsoft.com/office/drawing/2014/main" id="{C33C5386-1548-9EE2-738C-4DF36A488CB1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4" name="Rechteck 683">
              <a:extLst>
                <a:ext uri="{FF2B5EF4-FFF2-40B4-BE49-F238E27FC236}">
                  <a16:creationId xmlns:a16="http://schemas.microsoft.com/office/drawing/2014/main" id="{057A98FC-2E0C-51FD-2518-D9357933C719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5" name="Rechteck 684">
              <a:extLst>
                <a:ext uri="{FF2B5EF4-FFF2-40B4-BE49-F238E27FC236}">
                  <a16:creationId xmlns:a16="http://schemas.microsoft.com/office/drawing/2014/main" id="{73D856CD-FFDB-AC2A-30B3-362871CD751A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6" name="Rechteck 685">
              <a:extLst>
                <a:ext uri="{FF2B5EF4-FFF2-40B4-BE49-F238E27FC236}">
                  <a16:creationId xmlns:a16="http://schemas.microsoft.com/office/drawing/2014/main" id="{57C3877D-232E-C68B-A33F-26E177A977DE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7" name="Rechteck 686">
              <a:extLst>
                <a:ext uri="{FF2B5EF4-FFF2-40B4-BE49-F238E27FC236}">
                  <a16:creationId xmlns:a16="http://schemas.microsoft.com/office/drawing/2014/main" id="{F3826365-5851-B846-2758-CFABD4151EDF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8" name="Rechteck 687">
              <a:extLst>
                <a:ext uri="{FF2B5EF4-FFF2-40B4-BE49-F238E27FC236}">
                  <a16:creationId xmlns:a16="http://schemas.microsoft.com/office/drawing/2014/main" id="{39415449-5CEE-8DAD-A8BF-51FC932F89B4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9" name="Rechteck 688">
              <a:extLst>
                <a:ext uri="{FF2B5EF4-FFF2-40B4-BE49-F238E27FC236}">
                  <a16:creationId xmlns:a16="http://schemas.microsoft.com/office/drawing/2014/main" id="{98E87E83-5FAB-5836-5D15-8EC0C996FAA2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0" name="Rechteck 689">
              <a:extLst>
                <a:ext uri="{FF2B5EF4-FFF2-40B4-BE49-F238E27FC236}">
                  <a16:creationId xmlns:a16="http://schemas.microsoft.com/office/drawing/2014/main" id="{6773F962-A5A6-2CB8-43AE-5712903B234F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1" name="Rechteck 690">
              <a:extLst>
                <a:ext uri="{FF2B5EF4-FFF2-40B4-BE49-F238E27FC236}">
                  <a16:creationId xmlns:a16="http://schemas.microsoft.com/office/drawing/2014/main" id="{3EA9D79E-595C-604F-23CB-D7004590E4E7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2" name="Rechteck 691">
              <a:extLst>
                <a:ext uri="{FF2B5EF4-FFF2-40B4-BE49-F238E27FC236}">
                  <a16:creationId xmlns:a16="http://schemas.microsoft.com/office/drawing/2014/main" id="{BECB4008-050D-D051-2AC8-7304247AE4B6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3" name="Rechteck 692">
              <a:extLst>
                <a:ext uri="{FF2B5EF4-FFF2-40B4-BE49-F238E27FC236}">
                  <a16:creationId xmlns:a16="http://schemas.microsoft.com/office/drawing/2014/main" id="{5D5B3252-2BAA-B9AA-6721-BD9089135AD1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4" name="Rechteck 693">
              <a:extLst>
                <a:ext uri="{FF2B5EF4-FFF2-40B4-BE49-F238E27FC236}">
                  <a16:creationId xmlns:a16="http://schemas.microsoft.com/office/drawing/2014/main" id="{B3A554E9-C385-0A5E-11E0-B3BF2E105EAA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5" name="Rechteck 694">
              <a:extLst>
                <a:ext uri="{FF2B5EF4-FFF2-40B4-BE49-F238E27FC236}">
                  <a16:creationId xmlns:a16="http://schemas.microsoft.com/office/drawing/2014/main" id="{1C96D5E8-3680-A9BD-55BD-7E6A7CB9F767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6" name="Rechteck 695">
              <a:extLst>
                <a:ext uri="{FF2B5EF4-FFF2-40B4-BE49-F238E27FC236}">
                  <a16:creationId xmlns:a16="http://schemas.microsoft.com/office/drawing/2014/main" id="{99597E89-9D19-C511-11CE-1E191AD7FFDE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7" name="Rechteck 696">
              <a:extLst>
                <a:ext uri="{FF2B5EF4-FFF2-40B4-BE49-F238E27FC236}">
                  <a16:creationId xmlns:a16="http://schemas.microsoft.com/office/drawing/2014/main" id="{ADBF8B2E-9858-5008-CCC3-363CD7F024B0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8" name="Rechteck 697">
              <a:extLst>
                <a:ext uri="{FF2B5EF4-FFF2-40B4-BE49-F238E27FC236}">
                  <a16:creationId xmlns:a16="http://schemas.microsoft.com/office/drawing/2014/main" id="{EFBD3BDA-D063-874D-1017-5F4CE93700D2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9" name="Rechteck 698">
              <a:extLst>
                <a:ext uri="{FF2B5EF4-FFF2-40B4-BE49-F238E27FC236}">
                  <a16:creationId xmlns:a16="http://schemas.microsoft.com/office/drawing/2014/main" id="{F4F4B804-0A1B-36F8-C4C8-1B67B518CFA6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0" name="Rechteck 699">
              <a:extLst>
                <a:ext uri="{FF2B5EF4-FFF2-40B4-BE49-F238E27FC236}">
                  <a16:creationId xmlns:a16="http://schemas.microsoft.com/office/drawing/2014/main" id="{40C7D8FF-65A8-BFCB-2473-EB8693EA202E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1" name="Rechteck 700">
              <a:extLst>
                <a:ext uri="{FF2B5EF4-FFF2-40B4-BE49-F238E27FC236}">
                  <a16:creationId xmlns:a16="http://schemas.microsoft.com/office/drawing/2014/main" id="{32311525-1659-37E7-0FFB-B450656CA3F6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2" name="Rechteck 701">
              <a:extLst>
                <a:ext uri="{FF2B5EF4-FFF2-40B4-BE49-F238E27FC236}">
                  <a16:creationId xmlns:a16="http://schemas.microsoft.com/office/drawing/2014/main" id="{13AC6883-84BF-94B8-1C34-9951FE14AC6D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3" name="Rechteck 702">
              <a:extLst>
                <a:ext uri="{FF2B5EF4-FFF2-40B4-BE49-F238E27FC236}">
                  <a16:creationId xmlns:a16="http://schemas.microsoft.com/office/drawing/2014/main" id="{21DE6844-6725-33D1-E274-314C21428286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4" name="Rechteck 703">
              <a:extLst>
                <a:ext uri="{FF2B5EF4-FFF2-40B4-BE49-F238E27FC236}">
                  <a16:creationId xmlns:a16="http://schemas.microsoft.com/office/drawing/2014/main" id="{B49E4A16-A712-A72B-CB84-178C2E880266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5" name="Rechteck 704">
              <a:extLst>
                <a:ext uri="{FF2B5EF4-FFF2-40B4-BE49-F238E27FC236}">
                  <a16:creationId xmlns:a16="http://schemas.microsoft.com/office/drawing/2014/main" id="{61DB4C94-DFE1-90E0-F023-70EC8A19602E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6" name="Rechteck 705">
              <a:extLst>
                <a:ext uri="{FF2B5EF4-FFF2-40B4-BE49-F238E27FC236}">
                  <a16:creationId xmlns:a16="http://schemas.microsoft.com/office/drawing/2014/main" id="{A836825A-F125-7E99-B6C3-FC3F4F366FB7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7" name="Rechteck 706">
              <a:extLst>
                <a:ext uri="{FF2B5EF4-FFF2-40B4-BE49-F238E27FC236}">
                  <a16:creationId xmlns:a16="http://schemas.microsoft.com/office/drawing/2014/main" id="{EF908BFE-B3F3-FE7E-9F0A-5571BFF9A370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8" name="Rechteck 707">
              <a:extLst>
                <a:ext uri="{FF2B5EF4-FFF2-40B4-BE49-F238E27FC236}">
                  <a16:creationId xmlns:a16="http://schemas.microsoft.com/office/drawing/2014/main" id="{7AA90EC7-A12D-CE0A-548F-C34391CC7CA1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9" name="Rechteck 708">
              <a:extLst>
                <a:ext uri="{FF2B5EF4-FFF2-40B4-BE49-F238E27FC236}">
                  <a16:creationId xmlns:a16="http://schemas.microsoft.com/office/drawing/2014/main" id="{ED076498-53CB-89F5-43B5-9956EFA991D5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0" name="Rechteck 709">
              <a:extLst>
                <a:ext uri="{FF2B5EF4-FFF2-40B4-BE49-F238E27FC236}">
                  <a16:creationId xmlns:a16="http://schemas.microsoft.com/office/drawing/2014/main" id="{4B390920-8BB7-F83C-33A5-96DBD5C4FB77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1" name="Rechteck 710">
              <a:extLst>
                <a:ext uri="{FF2B5EF4-FFF2-40B4-BE49-F238E27FC236}">
                  <a16:creationId xmlns:a16="http://schemas.microsoft.com/office/drawing/2014/main" id="{841C0644-7098-A2B6-2275-F2D4A45BA68E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2" name="Rechteck 711">
              <a:extLst>
                <a:ext uri="{FF2B5EF4-FFF2-40B4-BE49-F238E27FC236}">
                  <a16:creationId xmlns:a16="http://schemas.microsoft.com/office/drawing/2014/main" id="{48402F00-C092-A147-B1F9-687FFBCABF09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3" name="Rechteck 712">
              <a:extLst>
                <a:ext uri="{FF2B5EF4-FFF2-40B4-BE49-F238E27FC236}">
                  <a16:creationId xmlns:a16="http://schemas.microsoft.com/office/drawing/2014/main" id="{C747BE50-786B-57F2-EE31-0F1351B3BB07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4" name="Rechteck 713">
              <a:extLst>
                <a:ext uri="{FF2B5EF4-FFF2-40B4-BE49-F238E27FC236}">
                  <a16:creationId xmlns:a16="http://schemas.microsoft.com/office/drawing/2014/main" id="{9BC657CD-9D2B-9395-332C-B99F82E8DEE5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5" name="Rechteck 714">
              <a:extLst>
                <a:ext uri="{FF2B5EF4-FFF2-40B4-BE49-F238E27FC236}">
                  <a16:creationId xmlns:a16="http://schemas.microsoft.com/office/drawing/2014/main" id="{D1F8E09F-3DCB-C21C-EBCD-48A6D966231A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6" name="Rechteck 715">
              <a:extLst>
                <a:ext uri="{FF2B5EF4-FFF2-40B4-BE49-F238E27FC236}">
                  <a16:creationId xmlns:a16="http://schemas.microsoft.com/office/drawing/2014/main" id="{ADCE0226-B49B-A92E-0AC1-4EEA1476C80E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7" name="Rechteck 716">
              <a:extLst>
                <a:ext uri="{FF2B5EF4-FFF2-40B4-BE49-F238E27FC236}">
                  <a16:creationId xmlns:a16="http://schemas.microsoft.com/office/drawing/2014/main" id="{C0A27962-264E-DDF3-577A-5C81CD375D3D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8" name="Rechteck 717">
              <a:extLst>
                <a:ext uri="{FF2B5EF4-FFF2-40B4-BE49-F238E27FC236}">
                  <a16:creationId xmlns:a16="http://schemas.microsoft.com/office/drawing/2014/main" id="{F1D4A45E-8A93-E136-E56B-827D9CA026D6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9" name="Rechteck 718">
              <a:extLst>
                <a:ext uri="{FF2B5EF4-FFF2-40B4-BE49-F238E27FC236}">
                  <a16:creationId xmlns:a16="http://schemas.microsoft.com/office/drawing/2014/main" id="{015B6642-A414-81BB-3D01-D11C86E1DBC8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0" name="Rechteck 719">
              <a:extLst>
                <a:ext uri="{FF2B5EF4-FFF2-40B4-BE49-F238E27FC236}">
                  <a16:creationId xmlns:a16="http://schemas.microsoft.com/office/drawing/2014/main" id="{8E3E6610-25D0-54DB-E9E3-C1C93FE9161E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1" name="Rechteck 720">
              <a:extLst>
                <a:ext uri="{FF2B5EF4-FFF2-40B4-BE49-F238E27FC236}">
                  <a16:creationId xmlns:a16="http://schemas.microsoft.com/office/drawing/2014/main" id="{7DAEF2B9-CF63-F6CE-3353-25771B27AD1A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2" name="Rechteck 721">
              <a:extLst>
                <a:ext uri="{FF2B5EF4-FFF2-40B4-BE49-F238E27FC236}">
                  <a16:creationId xmlns:a16="http://schemas.microsoft.com/office/drawing/2014/main" id="{1B616252-0DDD-0F8A-F903-CFA868038DAE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3" name="Rechteck 722">
              <a:extLst>
                <a:ext uri="{FF2B5EF4-FFF2-40B4-BE49-F238E27FC236}">
                  <a16:creationId xmlns:a16="http://schemas.microsoft.com/office/drawing/2014/main" id="{372C1BE5-41D7-B0E5-03B0-AD04E3837C5E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4" name="Rechteck 723">
              <a:extLst>
                <a:ext uri="{FF2B5EF4-FFF2-40B4-BE49-F238E27FC236}">
                  <a16:creationId xmlns:a16="http://schemas.microsoft.com/office/drawing/2014/main" id="{F3EA4777-864E-6728-589B-C6607244EA0B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5" name="Rechteck 724">
              <a:extLst>
                <a:ext uri="{FF2B5EF4-FFF2-40B4-BE49-F238E27FC236}">
                  <a16:creationId xmlns:a16="http://schemas.microsoft.com/office/drawing/2014/main" id="{4F4D1CE6-5C64-AFF9-8FE6-A7F34EA9DCAA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6" name="Rechteck 725">
              <a:extLst>
                <a:ext uri="{FF2B5EF4-FFF2-40B4-BE49-F238E27FC236}">
                  <a16:creationId xmlns:a16="http://schemas.microsoft.com/office/drawing/2014/main" id="{BFE2FF0B-3C6C-9838-F9F4-1B0CEE163795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7" name="Rechteck 726">
              <a:extLst>
                <a:ext uri="{FF2B5EF4-FFF2-40B4-BE49-F238E27FC236}">
                  <a16:creationId xmlns:a16="http://schemas.microsoft.com/office/drawing/2014/main" id="{88C49E9C-417E-7FCB-B5F7-C99533AA2B56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8" name="Rechteck 727">
              <a:extLst>
                <a:ext uri="{FF2B5EF4-FFF2-40B4-BE49-F238E27FC236}">
                  <a16:creationId xmlns:a16="http://schemas.microsoft.com/office/drawing/2014/main" id="{EDEAA9AD-3E50-7D78-1C86-C63D4933A2AE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9" name="Rechteck 728">
              <a:extLst>
                <a:ext uri="{FF2B5EF4-FFF2-40B4-BE49-F238E27FC236}">
                  <a16:creationId xmlns:a16="http://schemas.microsoft.com/office/drawing/2014/main" id="{70BC07CD-A746-8228-3AB0-87F6DC8D4AA3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0" name="Rechteck 729">
              <a:extLst>
                <a:ext uri="{FF2B5EF4-FFF2-40B4-BE49-F238E27FC236}">
                  <a16:creationId xmlns:a16="http://schemas.microsoft.com/office/drawing/2014/main" id="{3D65AED7-B1A6-3D13-CA73-6FE2B799506E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1" name="Rechteck 730">
              <a:extLst>
                <a:ext uri="{FF2B5EF4-FFF2-40B4-BE49-F238E27FC236}">
                  <a16:creationId xmlns:a16="http://schemas.microsoft.com/office/drawing/2014/main" id="{2448AE39-4964-1A8B-93AF-38C6603CDE9B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2" name="Rechteck 731">
              <a:extLst>
                <a:ext uri="{FF2B5EF4-FFF2-40B4-BE49-F238E27FC236}">
                  <a16:creationId xmlns:a16="http://schemas.microsoft.com/office/drawing/2014/main" id="{321A8DBD-604D-7A62-9169-A7C187A9FF7D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3" name="Rechteck 732">
              <a:extLst>
                <a:ext uri="{FF2B5EF4-FFF2-40B4-BE49-F238E27FC236}">
                  <a16:creationId xmlns:a16="http://schemas.microsoft.com/office/drawing/2014/main" id="{7C4895CB-1548-654D-C65E-A05C31533566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4" name="Rechteck 733">
              <a:extLst>
                <a:ext uri="{FF2B5EF4-FFF2-40B4-BE49-F238E27FC236}">
                  <a16:creationId xmlns:a16="http://schemas.microsoft.com/office/drawing/2014/main" id="{24160B57-B113-9FE3-7F61-007A2CFAE196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5" name="Rechteck 734">
              <a:extLst>
                <a:ext uri="{FF2B5EF4-FFF2-40B4-BE49-F238E27FC236}">
                  <a16:creationId xmlns:a16="http://schemas.microsoft.com/office/drawing/2014/main" id="{CA2F5DEC-B663-5DEA-EA5F-B5922B154AB5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6" name="Rechteck 735">
              <a:extLst>
                <a:ext uri="{FF2B5EF4-FFF2-40B4-BE49-F238E27FC236}">
                  <a16:creationId xmlns:a16="http://schemas.microsoft.com/office/drawing/2014/main" id="{0E5A1DBB-48F6-C9DB-F7BA-1CD6FEEABB6B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7" name="Rechteck 736">
              <a:extLst>
                <a:ext uri="{FF2B5EF4-FFF2-40B4-BE49-F238E27FC236}">
                  <a16:creationId xmlns:a16="http://schemas.microsoft.com/office/drawing/2014/main" id="{CE3CD846-3C9E-6622-B08A-29BE90708547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8" name="Rechteck 737">
              <a:extLst>
                <a:ext uri="{FF2B5EF4-FFF2-40B4-BE49-F238E27FC236}">
                  <a16:creationId xmlns:a16="http://schemas.microsoft.com/office/drawing/2014/main" id="{6CA155D8-6E86-BAF3-92DA-DD5E2BCE2AB2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9" name="Rechteck 738">
              <a:extLst>
                <a:ext uri="{FF2B5EF4-FFF2-40B4-BE49-F238E27FC236}">
                  <a16:creationId xmlns:a16="http://schemas.microsoft.com/office/drawing/2014/main" id="{319B77D4-E27B-5747-DF86-C72FC5D58CA3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0" name="Rechteck 739">
              <a:extLst>
                <a:ext uri="{FF2B5EF4-FFF2-40B4-BE49-F238E27FC236}">
                  <a16:creationId xmlns:a16="http://schemas.microsoft.com/office/drawing/2014/main" id="{C16998E3-F15E-7810-855C-D1F02BF74464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1" name="Rechteck 740">
              <a:extLst>
                <a:ext uri="{FF2B5EF4-FFF2-40B4-BE49-F238E27FC236}">
                  <a16:creationId xmlns:a16="http://schemas.microsoft.com/office/drawing/2014/main" id="{4D12072E-CE74-DE53-CA85-3A6F3FBC7BDA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2" name="Rechteck 741">
              <a:extLst>
                <a:ext uri="{FF2B5EF4-FFF2-40B4-BE49-F238E27FC236}">
                  <a16:creationId xmlns:a16="http://schemas.microsoft.com/office/drawing/2014/main" id="{494AD624-501A-5F44-469D-9DF464A3277D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3" name="Rechteck 742">
              <a:extLst>
                <a:ext uri="{FF2B5EF4-FFF2-40B4-BE49-F238E27FC236}">
                  <a16:creationId xmlns:a16="http://schemas.microsoft.com/office/drawing/2014/main" id="{D67BE4F0-FEEB-F317-480A-5C9EEF6B21E7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4" name="Rechteck 743">
              <a:extLst>
                <a:ext uri="{FF2B5EF4-FFF2-40B4-BE49-F238E27FC236}">
                  <a16:creationId xmlns:a16="http://schemas.microsoft.com/office/drawing/2014/main" id="{2ADC70A6-F01E-1CB2-E92F-0C1565F20FC4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5" name="Rechteck 744">
              <a:extLst>
                <a:ext uri="{FF2B5EF4-FFF2-40B4-BE49-F238E27FC236}">
                  <a16:creationId xmlns:a16="http://schemas.microsoft.com/office/drawing/2014/main" id="{D1944C60-553A-6B58-CE23-97F191BA96E9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6" name="Rechteck 745">
              <a:extLst>
                <a:ext uri="{FF2B5EF4-FFF2-40B4-BE49-F238E27FC236}">
                  <a16:creationId xmlns:a16="http://schemas.microsoft.com/office/drawing/2014/main" id="{53E0BE3C-A567-8E4E-525F-61E8F85204D2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7" name="Rechteck 746">
              <a:extLst>
                <a:ext uri="{FF2B5EF4-FFF2-40B4-BE49-F238E27FC236}">
                  <a16:creationId xmlns:a16="http://schemas.microsoft.com/office/drawing/2014/main" id="{1D755A1F-E170-FA25-6CAA-ADEC6E59D7ED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8" name="Rechteck 747">
              <a:extLst>
                <a:ext uri="{FF2B5EF4-FFF2-40B4-BE49-F238E27FC236}">
                  <a16:creationId xmlns:a16="http://schemas.microsoft.com/office/drawing/2014/main" id="{0105CB57-745E-242F-AA7C-4CFDDD2945F5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9" name="Rechteck 748">
              <a:extLst>
                <a:ext uri="{FF2B5EF4-FFF2-40B4-BE49-F238E27FC236}">
                  <a16:creationId xmlns:a16="http://schemas.microsoft.com/office/drawing/2014/main" id="{E9324BA7-F018-8679-9F1C-764F6061E6B0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0" name="Rechteck 749">
              <a:extLst>
                <a:ext uri="{FF2B5EF4-FFF2-40B4-BE49-F238E27FC236}">
                  <a16:creationId xmlns:a16="http://schemas.microsoft.com/office/drawing/2014/main" id="{0CC5B4B1-1979-8589-FF6C-F8B2A4950B89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1" name="Rechteck 750">
              <a:extLst>
                <a:ext uri="{FF2B5EF4-FFF2-40B4-BE49-F238E27FC236}">
                  <a16:creationId xmlns:a16="http://schemas.microsoft.com/office/drawing/2014/main" id="{18B04A50-4FF4-71FA-3999-66F0DBDD64E7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2" name="Rechteck 751">
              <a:extLst>
                <a:ext uri="{FF2B5EF4-FFF2-40B4-BE49-F238E27FC236}">
                  <a16:creationId xmlns:a16="http://schemas.microsoft.com/office/drawing/2014/main" id="{53E70251-9D12-870E-73FE-018A5D6222B1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3" name="Rechteck 752">
              <a:extLst>
                <a:ext uri="{FF2B5EF4-FFF2-40B4-BE49-F238E27FC236}">
                  <a16:creationId xmlns:a16="http://schemas.microsoft.com/office/drawing/2014/main" id="{51AE28A8-55A7-1006-70D5-7328D17F8750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4" name="Rechteck 753">
              <a:extLst>
                <a:ext uri="{FF2B5EF4-FFF2-40B4-BE49-F238E27FC236}">
                  <a16:creationId xmlns:a16="http://schemas.microsoft.com/office/drawing/2014/main" id="{4356BBF2-1B0C-8D62-16BD-BAA2A8DCD913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5" name="Rechteck 754">
              <a:extLst>
                <a:ext uri="{FF2B5EF4-FFF2-40B4-BE49-F238E27FC236}">
                  <a16:creationId xmlns:a16="http://schemas.microsoft.com/office/drawing/2014/main" id="{79A00E44-177D-9495-CBC5-243604549C71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6" name="Rechteck 755">
              <a:extLst>
                <a:ext uri="{FF2B5EF4-FFF2-40B4-BE49-F238E27FC236}">
                  <a16:creationId xmlns:a16="http://schemas.microsoft.com/office/drawing/2014/main" id="{7D2F7512-A6F0-4034-145E-AD49B8524BFE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7" name="Rechteck 756">
              <a:extLst>
                <a:ext uri="{FF2B5EF4-FFF2-40B4-BE49-F238E27FC236}">
                  <a16:creationId xmlns:a16="http://schemas.microsoft.com/office/drawing/2014/main" id="{946926A1-754F-9D14-C4FF-6C2EA460D919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8" name="Rechteck 757">
              <a:extLst>
                <a:ext uri="{FF2B5EF4-FFF2-40B4-BE49-F238E27FC236}">
                  <a16:creationId xmlns:a16="http://schemas.microsoft.com/office/drawing/2014/main" id="{C9AED771-9D7F-CD41-F92C-29860DE602CA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9" name="Rechteck 758">
              <a:extLst>
                <a:ext uri="{FF2B5EF4-FFF2-40B4-BE49-F238E27FC236}">
                  <a16:creationId xmlns:a16="http://schemas.microsoft.com/office/drawing/2014/main" id="{BA2B2E1A-CB1A-23E5-38CF-154917C5C412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0" name="Rechteck 759">
              <a:extLst>
                <a:ext uri="{FF2B5EF4-FFF2-40B4-BE49-F238E27FC236}">
                  <a16:creationId xmlns:a16="http://schemas.microsoft.com/office/drawing/2014/main" id="{E959F87B-E63C-14E7-7B8E-003C4C953327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1" name="Rechteck 760">
              <a:extLst>
                <a:ext uri="{FF2B5EF4-FFF2-40B4-BE49-F238E27FC236}">
                  <a16:creationId xmlns:a16="http://schemas.microsoft.com/office/drawing/2014/main" id="{78E7CD2C-9C91-C525-2358-536A698FF35B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2" name="Rechteck 761">
              <a:extLst>
                <a:ext uri="{FF2B5EF4-FFF2-40B4-BE49-F238E27FC236}">
                  <a16:creationId xmlns:a16="http://schemas.microsoft.com/office/drawing/2014/main" id="{8D32DF56-0AE7-0253-BD15-DEFF081713F9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3" name="Rechteck 762">
              <a:extLst>
                <a:ext uri="{FF2B5EF4-FFF2-40B4-BE49-F238E27FC236}">
                  <a16:creationId xmlns:a16="http://schemas.microsoft.com/office/drawing/2014/main" id="{8EDD8F61-25EF-E596-8675-2C1C79B3477A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4" name="Rechteck 763">
              <a:extLst>
                <a:ext uri="{FF2B5EF4-FFF2-40B4-BE49-F238E27FC236}">
                  <a16:creationId xmlns:a16="http://schemas.microsoft.com/office/drawing/2014/main" id="{DEFDEE96-97B7-2362-F134-ACBB2F59A794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5" name="Rechteck 764">
              <a:extLst>
                <a:ext uri="{FF2B5EF4-FFF2-40B4-BE49-F238E27FC236}">
                  <a16:creationId xmlns:a16="http://schemas.microsoft.com/office/drawing/2014/main" id="{4D29A3E6-4D8C-40A9-1C07-BDE99DF2DBF4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6" name="Rechteck 765">
              <a:extLst>
                <a:ext uri="{FF2B5EF4-FFF2-40B4-BE49-F238E27FC236}">
                  <a16:creationId xmlns:a16="http://schemas.microsoft.com/office/drawing/2014/main" id="{A2BA79A1-AEDD-B00C-067F-8116583673D4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7" name="Rechteck 766">
              <a:extLst>
                <a:ext uri="{FF2B5EF4-FFF2-40B4-BE49-F238E27FC236}">
                  <a16:creationId xmlns:a16="http://schemas.microsoft.com/office/drawing/2014/main" id="{BAEB3FA7-C69C-1AC8-3E2D-E1E5CDB67D40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8" name="Rechteck 767">
              <a:extLst>
                <a:ext uri="{FF2B5EF4-FFF2-40B4-BE49-F238E27FC236}">
                  <a16:creationId xmlns:a16="http://schemas.microsoft.com/office/drawing/2014/main" id="{4C2A91C1-B221-C7FE-B449-241F4EE4C793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9" name="Rechteck 768">
              <a:extLst>
                <a:ext uri="{FF2B5EF4-FFF2-40B4-BE49-F238E27FC236}">
                  <a16:creationId xmlns:a16="http://schemas.microsoft.com/office/drawing/2014/main" id="{ECC86243-8C8F-2D3F-BD98-098F3343795C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0" name="Rechteck 769">
              <a:extLst>
                <a:ext uri="{FF2B5EF4-FFF2-40B4-BE49-F238E27FC236}">
                  <a16:creationId xmlns:a16="http://schemas.microsoft.com/office/drawing/2014/main" id="{E1B78498-3350-A570-FA0B-CE58A6789B2A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1" name="Rechteck 770">
              <a:extLst>
                <a:ext uri="{FF2B5EF4-FFF2-40B4-BE49-F238E27FC236}">
                  <a16:creationId xmlns:a16="http://schemas.microsoft.com/office/drawing/2014/main" id="{D758F18B-6876-FDCF-E0CD-EE1FDE4D9E85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2" name="Rechteck 771">
              <a:extLst>
                <a:ext uri="{FF2B5EF4-FFF2-40B4-BE49-F238E27FC236}">
                  <a16:creationId xmlns:a16="http://schemas.microsoft.com/office/drawing/2014/main" id="{8C2F01BC-5FD0-9CB2-D1CD-B2341A228007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3" name="Rechteck 772">
              <a:extLst>
                <a:ext uri="{FF2B5EF4-FFF2-40B4-BE49-F238E27FC236}">
                  <a16:creationId xmlns:a16="http://schemas.microsoft.com/office/drawing/2014/main" id="{D852AD68-18A5-F007-1896-44B4FD13F0C3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4" name="Rechteck 773">
              <a:extLst>
                <a:ext uri="{FF2B5EF4-FFF2-40B4-BE49-F238E27FC236}">
                  <a16:creationId xmlns:a16="http://schemas.microsoft.com/office/drawing/2014/main" id="{F71A6149-DC90-4E55-427F-06A6F1137104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5" name="Rechteck 774">
              <a:extLst>
                <a:ext uri="{FF2B5EF4-FFF2-40B4-BE49-F238E27FC236}">
                  <a16:creationId xmlns:a16="http://schemas.microsoft.com/office/drawing/2014/main" id="{95604D4F-2572-5080-9D87-BA75D3EA3761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sp>
        <p:nvSpPr>
          <p:cNvPr id="465" name="Freihandform: Form 464">
            <a:extLst>
              <a:ext uri="{FF2B5EF4-FFF2-40B4-BE49-F238E27FC236}">
                <a16:creationId xmlns:a16="http://schemas.microsoft.com/office/drawing/2014/main" id="{F53BCC81-9A8A-393F-4C99-062853EB99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1424" y="2060848"/>
            <a:ext cx="2892425" cy="2879303"/>
          </a:xfrm>
          <a:custGeom>
            <a:avLst/>
            <a:gdLst>
              <a:gd name="connsiteX0" fmla="*/ 0 w 2892425"/>
              <a:gd name="connsiteY0" fmla="*/ 0 h 2879303"/>
              <a:gd name="connsiteX1" fmla="*/ 2892425 w 2892425"/>
              <a:gd name="connsiteY1" fmla="*/ 0 h 2879303"/>
              <a:gd name="connsiteX2" fmla="*/ 2307742 w 2892425"/>
              <a:gd name="connsiteY2" fmla="*/ 2298575 h 2879303"/>
              <a:gd name="connsiteX3" fmla="*/ 0 w 2892425"/>
              <a:gd name="connsiteY3" fmla="*/ 2879303 h 2879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92425" h="2879303">
                <a:moveTo>
                  <a:pt x="0" y="0"/>
                </a:moveTo>
                <a:lnTo>
                  <a:pt x="2892425" y="0"/>
                </a:lnTo>
                <a:lnTo>
                  <a:pt x="2307742" y="2298575"/>
                </a:lnTo>
                <a:lnTo>
                  <a:pt x="0" y="2879303"/>
                </a:lnTo>
                <a:close/>
              </a:path>
            </a:pathLst>
          </a:custGeom>
          <a:solidFill>
            <a:schemeClr val="bg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de-DE" sz="1600" err="1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9643576-7BDD-4648-A0C5-57807B7A76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AEB2DC1C-225F-EB0F-4A1C-51FDDBE09E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910862F-C2BD-E62E-45F2-50CB4C465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83" name="Number">
            <a:extLst>
              <a:ext uri="{FF2B5EF4-FFF2-40B4-BE49-F238E27FC236}">
                <a16:creationId xmlns:a16="http://schemas.microsoft.com/office/drawing/2014/main" id="{4C4966BF-C099-498A-89EE-FA463EDE83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13259" y="2060997"/>
            <a:ext cx="2892425" cy="2879303"/>
          </a:xfrm>
          <a:custGeom>
            <a:avLst/>
            <a:gdLst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517775 w 3022600"/>
              <a:gd name="connsiteY2" fmla="*/ 2520950 h 3024187"/>
              <a:gd name="connsiteX3" fmla="*/ 0 w 3022600"/>
              <a:gd name="connsiteY3" fmla="*/ 3024187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159443 w 3022600"/>
              <a:gd name="connsiteY2" fmla="*/ 2134117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411603 w 3022600"/>
              <a:gd name="connsiteY2" fmla="*/ 2414237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2600" h="3024187">
                <a:moveTo>
                  <a:pt x="0" y="0"/>
                </a:moveTo>
                <a:lnTo>
                  <a:pt x="3022600" y="0"/>
                </a:lnTo>
                <a:lnTo>
                  <a:pt x="2411603" y="2414237"/>
                </a:lnTo>
                <a:lnTo>
                  <a:pt x="0" y="3024187"/>
                </a:lnTo>
                <a:lnTo>
                  <a:pt x="0" y="0"/>
                </a:lnTo>
                <a:close/>
              </a:path>
            </a:pathLst>
          </a:custGeom>
          <a:solidFill>
            <a:srgbClr val="FFA52F"/>
          </a:solidFill>
          <a:ln w="127">
            <a:solidFill>
              <a:srgbClr val="FFA52F">
                <a:alpha val="0"/>
              </a:srgbClr>
            </a:solidFill>
          </a:ln>
        </p:spPr>
        <p:txBody>
          <a:bodyPr wrap="square" lIns="21600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9pPr>
          </a:lstStyle>
          <a:p>
            <a:r>
              <a:rPr lang="en-GB"/>
              <a:t>00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4727849" y="1988995"/>
            <a:ext cx="5040000" cy="2088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36000" rIns="216000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Divider slide | Insert your headline in maximal 3 </a:t>
            </a:r>
            <a:br>
              <a:rPr lang="en-GB"/>
            </a:br>
            <a:r>
              <a:rPr lang="en-GB"/>
              <a:t>lines her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46297C-A90E-4725-9584-F26D2B59D3D8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4727848" y="4076996"/>
            <a:ext cx="5040000" cy="1007999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255" name="Source">
            <a:extLst>
              <a:ext uri="{FF2B5EF4-FFF2-40B4-BE49-F238E27FC236}">
                <a16:creationId xmlns:a16="http://schemas.microsoft.com/office/drawing/2014/main" id="{1AD47167-2C48-8452-2CC8-78AC2BF1C1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487488" y="6525000"/>
            <a:ext cx="9217024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</p:spTree>
    <p:extLst>
      <p:ext uri="{BB962C8B-B14F-4D97-AF65-F5344CB8AC3E}">
        <p14:creationId xmlns:p14="http://schemas.microsoft.com/office/powerpoint/2010/main" val="18903881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| Magent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F82CCF50-AC8D-71AA-CBE7-91CD8E4F31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F1D45EF1-1413-2179-1179-9D95C3347955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31ECF7D-4D5E-6CE7-8B6E-6AFE834483D0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5E42FB58-7083-1C5F-E4A0-08F64FC059B2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664E6B38-6346-3095-8090-D2D9E38AB9A2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20F86035-04B5-F5C8-CE41-6579B114C488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938D8A27-30C2-EB83-16AC-C7F5349B5395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72" name="Rechteck 171">
              <a:extLst>
                <a:ext uri="{FF2B5EF4-FFF2-40B4-BE49-F238E27FC236}">
                  <a16:creationId xmlns:a16="http://schemas.microsoft.com/office/drawing/2014/main" id="{16BB91D7-E7B6-EF7A-A1CD-03E0CE9C380E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73" name="Rechteck 172">
              <a:extLst>
                <a:ext uri="{FF2B5EF4-FFF2-40B4-BE49-F238E27FC236}">
                  <a16:creationId xmlns:a16="http://schemas.microsoft.com/office/drawing/2014/main" id="{B74522FD-EAC1-8631-C335-737D38AB4D84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37F35849-A141-C30A-132A-ABA53F763516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F91649A4-3EF4-AF64-04BE-C5197DC40B86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FE505EA5-9AB6-4C84-F856-A92E9AE3962F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2298381E-6F93-21E2-303C-B4CC379F76E2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3" name="Rechteck 212">
              <a:extLst>
                <a:ext uri="{FF2B5EF4-FFF2-40B4-BE49-F238E27FC236}">
                  <a16:creationId xmlns:a16="http://schemas.microsoft.com/office/drawing/2014/main" id="{A9A2761B-9283-EA11-00DE-9E34DA9CA034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39368781-2621-7E6A-AB49-25EAA7A408CC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5" name="Rechteck 214">
              <a:extLst>
                <a:ext uri="{FF2B5EF4-FFF2-40B4-BE49-F238E27FC236}">
                  <a16:creationId xmlns:a16="http://schemas.microsoft.com/office/drawing/2014/main" id="{E799809A-1F99-F902-C843-4C6028CFFA1B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6" name="Rechteck 215">
              <a:extLst>
                <a:ext uri="{FF2B5EF4-FFF2-40B4-BE49-F238E27FC236}">
                  <a16:creationId xmlns:a16="http://schemas.microsoft.com/office/drawing/2014/main" id="{0E6D5FDF-2B76-9E9A-53BA-ED656E72EA7F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7" name="Rechteck 216">
              <a:extLst>
                <a:ext uri="{FF2B5EF4-FFF2-40B4-BE49-F238E27FC236}">
                  <a16:creationId xmlns:a16="http://schemas.microsoft.com/office/drawing/2014/main" id="{EFAE6407-C778-8873-CB85-EE763AAB9F61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8" name="Rechteck 217">
              <a:extLst>
                <a:ext uri="{FF2B5EF4-FFF2-40B4-BE49-F238E27FC236}">
                  <a16:creationId xmlns:a16="http://schemas.microsoft.com/office/drawing/2014/main" id="{1209747A-6209-09A5-CC1D-1194157A6539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9" name="Rechteck 218">
              <a:extLst>
                <a:ext uri="{FF2B5EF4-FFF2-40B4-BE49-F238E27FC236}">
                  <a16:creationId xmlns:a16="http://schemas.microsoft.com/office/drawing/2014/main" id="{507C611C-2D4F-4B39-C4BC-1E8E39B6C2FC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0" name="Rechteck 219">
              <a:extLst>
                <a:ext uri="{FF2B5EF4-FFF2-40B4-BE49-F238E27FC236}">
                  <a16:creationId xmlns:a16="http://schemas.microsoft.com/office/drawing/2014/main" id="{929E5C75-2F11-A324-5C09-A5FFDCCFF3D3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1" name="Rechteck 220">
              <a:extLst>
                <a:ext uri="{FF2B5EF4-FFF2-40B4-BE49-F238E27FC236}">
                  <a16:creationId xmlns:a16="http://schemas.microsoft.com/office/drawing/2014/main" id="{C64C9CC6-3D80-F396-C8ED-0C4A332484AA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2" name="Rechteck 221">
              <a:extLst>
                <a:ext uri="{FF2B5EF4-FFF2-40B4-BE49-F238E27FC236}">
                  <a16:creationId xmlns:a16="http://schemas.microsoft.com/office/drawing/2014/main" id="{29EFDB8E-770D-9D67-90DC-249C243CB8EF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3" name="Rechteck 222">
              <a:extLst>
                <a:ext uri="{FF2B5EF4-FFF2-40B4-BE49-F238E27FC236}">
                  <a16:creationId xmlns:a16="http://schemas.microsoft.com/office/drawing/2014/main" id="{852EAC4E-0B42-47E7-B0B0-302D2D8321EE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4" name="Rechteck 223">
              <a:extLst>
                <a:ext uri="{FF2B5EF4-FFF2-40B4-BE49-F238E27FC236}">
                  <a16:creationId xmlns:a16="http://schemas.microsoft.com/office/drawing/2014/main" id="{FA579DF0-7795-03E7-7CAB-0E4FC2AE5FAE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DCE22264-E28D-AFEE-3914-8F8511D5FA5F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D08DA59B-5593-F3BF-7FC3-0FC358200802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7" name="Rechteck 226">
              <a:extLst>
                <a:ext uri="{FF2B5EF4-FFF2-40B4-BE49-F238E27FC236}">
                  <a16:creationId xmlns:a16="http://schemas.microsoft.com/office/drawing/2014/main" id="{35563DD8-35ED-43F2-72B2-F0E25AC11A8D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B23906F4-E896-3A96-B396-6D3694FD35BB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9" name="Rechteck 228">
              <a:extLst>
                <a:ext uri="{FF2B5EF4-FFF2-40B4-BE49-F238E27FC236}">
                  <a16:creationId xmlns:a16="http://schemas.microsoft.com/office/drawing/2014/main" id="{ADCE39CB-ECFD-B3CA-C1F9-0EE6A072A4AE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0" name="Rechteck 229">
              <a:extLst>
                <a:ext uri="{FF2B5EF4-FFF2-40B4-BE49-F238E27FC236}">
                  <a16:creationId xmlns:a16="http://schemas.microsoft.com/office/drawing/2014/main" id="{EB9FF971-B82A-D748-6034-8E7759739D90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1" name="Rechteck 230">
              <a:extLst>
                <a:ext uri="{FF2B5EF4-FFF2-40B4-BE49-F238E27FC236}">
                  <a16:creationId xmlns:a16="http://schemas.microsoft.com/office/drawing/2014/main" id="{F6A37980-C02A-A7D8-D1DB-255989FE1536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2" name="Rechteck 231">
              <a:extLst>
                <a:ext uri="{FF2B5EF4-FFF2-40B4-BE49-F238E27FC236}">
                  <a16:creationId xmlns:a16="http://schemas.microsoft.com/office/drawing/2014/main" id="{22FCA950-F21C-DCD9-1582-3A04CA07531B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3" name="Rechteck 232">
              <a:extLst>
                <a:ext uri="{FF2B5EF4-FFF2-40B4-BE49-F238E27FC236}">
                  <a16:creationId xmlns:a16="http://schemas.microsoft.com/office/drawing/2014/main" id="{664178BE-D70D-B339-33C6-9ED9D7F758CB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4" name="Rechteck 233">
              <a:extLst>
                <a:ext uri="{FF2B5EF4-FFF2-40B4-BE49-F238E27FC236}">
                  <a16:creationId xmlns:a16="http://schemas.microsoft.com/office/drawing/2014/main" id="{B5B1E0EA-7711-E4DA-6672-40BAF0A4D261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5" name="Rechteck 234">
              <a:extLst>
                <a:ext uri="{FF2B5EF4-FFF2-40B4-BE49-F238E27FC236}">
                  <a16:creationId xmlns:a16="http://schemas.microsoft.com/office/drawing/2014/main" id="{72B62C78-1900-EA6E-43B8-3F4E23A465A9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6" name="Rechteck 235">
              <a:extLst>
                <a:ext uri="{FF2B5EF4-FFF2-40B4-BE49-F238E27FC236}">
                  <a16:creationId xmlns:a16="http://schemas.microsoft.com/office/drawing/2014/main" id="{ACAE0931-D038-4BD2-20B8-EE05B9EAA041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7" name="Rechteck 236">
              <a:extLst>
                <a:ext uri="{FF2B5EF4-FFF2-40B4-BE49-F238E27FC236}">
                  <a16:creationId xmlns:a16="http://schemas.microsoft.com/office/drawing/2014/main" id="{4EB2539E-5A60-DCC9-FA20-C3E732D96E65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8" name="Rechteck 237">
              <a:extLst>
                <a:ext uri="{FF2B5EF4-FFF2-40B4-BE49-F238E27FC236}">
                  <a16:creationId xmlns:a16="http://schemas.microsoft.com/office/drawing/2014/main" id="{1814B4FB-2CAA-7EB1-C773-88527B1267EF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9" name="Rechteck 238">
              <a:extLst>
                <a:ext uri="{FF2B5EF4-FFF2-40B4-BE49-F238E27FC236}">
                  <a16:creationId xmlns:a16="http://schemas.microsoft.com/office/drawing/2014/main" id="{EA886707-B801-22A0-F0E9-AC0C8D58EE0A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0" name="Rechteck 239">
              <a:extLst>
                <a:ext uri="{FF2B5EF4-FFF2-40B4-BE49-F238E27FC236}">
                  <a16:creationId xmlns:a16="http://schemas.microsoft.com/office/drawing/2014/main" id="{8652C363-740C-F649-A2F4-065CBAC49F06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1" name="Rechteck 240">
              <a:extLst>
                <a:ext uri="{FF2B5EF4-FFF2-40B4-BE49-F238E27FC236}">
                  <a16:creationId xmlns:a16="http://schemas.microsoft.com/office/drawing/2014/main" id="{E9552B0B-28DE-4291-210B-0D845A12E9A3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2" name="Rechteck 241">
              <a:extLst>
                <a:ext uri="{FF2B5EF4-FFF2-40B4-BE49-F238E27FC236}">
                  <a16:creationId xmlns:a16="http://schemas.microsoft.com/office/drawing/2014/main" id="{BC8B5324-AC0D-867C-CC6D-BC6118077141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3" name="Rechteck 242">
              <a:extLst>
                <a:ext uri="{FF2B5EF4-FFF2-40B4-BE49-F238E27FC236}">
                  <a16:creationId xmlns:a16="http://schemas.microsoft.com/office/drawing/2014/main" id="{BDB5714C-7FB7-69C3-BC66-0BAD63AF4DC4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4" name="Rechteck 243">
              <a:extLst>
                <a:ext uri="{FF2B5EF4-FFF2-40B4-BE49-F238E27FC236}">
                  <a16:creationId xmlns:a16="http://schemas.microsoft.com/office/drawing/2014/main" id="{926BA2AC-73A1-6C36-0EAA-A13CAFA16BC6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5" name="Rechteck 244">
              <a:extLst>
                <a:ext uri="{FF2B5EF4-FFF2-40B4-BE49-F238E27FC236}">
                  <a16:creationId xmlns:a16="http://schemas.microsoft.com/office/drawing/2014/main" id="{EF571841-CD57-0F3E-EF77-C655169A5CB0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6" name="Rechteck 245">
              <a:extLst>
                <a:ext uri="{FF2B5EF4-FFF2-40B4-BE49-F238E27FC236}">
                  <a16:creationId xmlns:a16="http://schemas.microsoft.com/office/drawing/2014/main" id="{C8E0BF00-836D-BD68-9560-FE57E6D4FC7D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7" name="Rechteck 246">
              <a:extLst>
                <a:ext uri="{FF2B5EF4-FFF2-40B4-BE49-F238E27FC236}">
                  <a16:creationId xmlns:a16="http://schemas.microsoft.com/office/drawing/2014/main" id="{C805ED61-D2A9-1476-4E64-893A49664AC2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8" name="Rechteck 247">
              <a:extLst>
                <a:ext uri="{FF2B5EF4-FFF2-40B4-BE49-F238E27FC236}">
                  <a16:creationId xmlns:a16="http://schemas.microsoft.com/office/drawing/2014/main" id="{3A9089DC-9049-6A13-1566-EC964C321CCB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9" name="Rechteck 248">
              <a:extLst>
                <a:ext uri="{FF2B5EF4-FFF2-40B4-BE49-F238E27FC236}">
                  <a16:creationId xmlns:a16="http://schemas.microsoft.com/office/drawing/2014/main" id="{FB842C0A-7B84-910A-FDEA-055E983E00EB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0" name="Rechteck 249">
              <a:extLst>
                <a:ext uri="{FF2B5EF4-FFF2-40B4-BE49-F238E27FC236}">
                  <a16:creationId xmlns:a16="http://schemas.microsoft.com/office/drawing/2014/main" id="{48873349-850F-61DB-9C6E-6B025FFCA9F1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1" name="Rechteck 250">
              <a:extLst>
                <a:ext uri="{FF2B5EF4-FFF2-40B4-BE49-F238E27FC236}">
                  <a16:creationId xmlns:a16="http://schemas.microsoft.com/office/drawing/2014/main" id="{E668CCD0-074F-5014-3343-67409E7C943F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2" name="Rechteck 251">
              <a:extLst>
                <a:ext uri="{FF2B5EF4-FFF2-40B4-BE49-F238E27FC236}">
                  <a16:creationId xmlns:a16="http://schemas.microsoft.com/office/drawing/2014/main" id="{FDC70A77-43C1-8639-4BA3-03E914874015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3" name="Rechteck 252">
              <a:extLst>
                <a:ext uri="{FF2B5EF4-FFF2-40B4-BE49-F238E27FC236}">
                  <a16:creationId xmlns:a16="http://schemas.microsoft.com/office/drawing/2014/main" id="{9B470030-211F-142F-778C-9D3904FBC09B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4" name="Rechteck 253">
              <a:extLst>
                <a:ext uri="{FF2B5EF4-FFF2-40B4-BE49-F238E27FC236}">
                  <a16:creationId xmlns:a16="http://schemas.microsoft.com/office/drawing/2014/main" id="{70190B47-C519-5BEF-98CA-D3E5B14AED6B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5" name="Rechteck 254">
              <a:extLst>
                <a:ext uri="{FF2B5EF4-FFF2-40B4-BE49-F238E27FC236}">
                  <a16:creationId xmlns:a16="http://schemas.microsoft.com/office/drawing/2014/main" id="{7E9921D4-6AE9-4ADA-F3BE-F87D697BDEC6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7739BDFF-180C-390E-E4D9-85C74133980F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3CA1F511-4678-17A2-1691-7EFAC378DA4D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1EC4D92B-F50A-BF43-4E6F-2BE3222C4A8D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EFBDC69A-B7FC-172F-24A5-48DDF473360E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8057ED5E-9276-B070-0428-2372C52AA551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9021EE4E-05F0-CCA4-7A88-D740D8B01654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60E681C1-AA2A-8B45-97BA-8F54B2F2153C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6DF70FE7-E4C3-4D8D-40A6-98343B423CAF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351E1E4E-667A-05CC-8975-86E6B95C7432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05E04E42-7A0E-B810-DEDE-BE1A45B677BA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43525712-0C94-F118-DB74-563D27BAF641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D74385FC-1323-B0D1-5EB1-31067A0C1D9A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7362D7B9-3A45-106F-4604-03354DAA1019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A246ECF1-BD1A-4457-F0B0-9215694C73A9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0" name="Rechteck 269">
              <a:extLst>
                <a:ext uri="{FF2B5EF4-FFF2-40B4-BE49-F238E27FC236}">
                  <a16:creationId xmlns:a16="http://schemas.microsoft.com/office/drawing/2014/main" id="{885A6630-F457-3D57-97E5-B37C9B442C47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1" name="Rechteck 270">
              <a:extLst>
                <a:ext uri="{FF2B5EF4-FFF2-40B4-BE49-F238E27FC236}">
                  <a16:creationId xmlns:a16="http://schemas.microsoft.com/office/drawing/2014/main" id="{82AFF486-9B3E-E999-D9DD-E55BF78A6835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9065781A-A3C7-9C9E-1E9A-46361C239FFD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E798BB9C-87FB-6E23-0621-D41755F865D8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7193340B-9801-4D78-A200-7B83099FD128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860DB300-8445-DB07-1913-14C8A98459C2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057A437E-4D2C-960E-8A5C-97213E8CFEA2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489E7755-77B6-145E-DDE3-70D291A43E3E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265A5581-45D2-BA58-1C02-55186D440866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673D37DB-4337-FE1C-6615-4657CC415517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52B0293E-6496-8D24-1453-CFDF83F8CFB3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C87B4648-B6B3-667A-94B3-AD77A3D9E62A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DBD53BE0-CAA0-B255-6851-F7CE735F9B5D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3" name="Rechteck 282">
              <a:extLst>
                <a:ext uri="{FF2B5EF4-FFF2-40B4-BE49-F238E27FC236}">
                  <a16:creationId xmlns:a16="http://schemas.microsoft.com/office/drawing/2014/main" id="{458EC90F-78E7-73AF-3389-C31FD510732A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0E586992-3C07-8BC5-46FE-06525DAC2A8E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84071912-14F1-54E7-B535-1610C1C6931B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FB94E6ED-A4EB-8354-6378-3440B0BAE8A9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FF01F104-55FF-F0B9-0EFA-22835DB146A2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EF04B698-9714-D915-BF55-63D3B1990489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2A4388E0-2B5B-2373-F308-6E82E26D1AD1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0025A6DE-EB02-7E21-BE1A-72D6D04B2DD2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6512F9F9-5D21-FE7A-B27E-37708495EEB1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4EAE6FC6-3020-76E8-1758-01ACCD855CEC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0DCD3B8F-B48D-8192-1D24-ADF3C810F0E2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3B090F12-B2AF-7BF0-C328-32FB0028C231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0035B1EF-2F52-C4EA-F58B-EF79D7762E7F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2F01DD9B-CF3E-D01C-2721-4C23F48C8712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4E0C8342-2468-C416-D418-CCC48E30CE4B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8D1EF65B-1AC3-E653-A9B0-9C57872E0001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EF56C678-A96E-2C6E-ECB8-450E8245CEE9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81950E06-DDEA-0574-2B50-D95A76C3C161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CFFF59EE-4BC5-D7FC-6BD3-8DB7E80C7DA3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CE8E5665-841D-439D-88F9-C0482D213167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D51C9449-A3AC-EB89-4852-421D2A670377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C57FFAAC-E227-D0ED-AFED-5C9BD33A3AAD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1E886C4F-096D-71CF-7C4D-DF86BD55D9A7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69053717-98E1-683D-BAD1-082785210534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9DFD58B2-8138-B7FF-224D-8713A4070833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5D79BECC-0554-89E6-FF01-E4B43E5FB58E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8721D6C0-EB7F-25FB-3032-D0A24D1CD931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E5FF118A-F75E-E9D0-2A74-1AE891020EEF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C1467030-00D9-1604-1296-C10E4620710E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4E8CFE52-7F20-1A6F-2FB9-E9AB6FBC6535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192AB724-786F-5456-0327-BA9658F9C9B1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3400A77F-6766-12AE-ABF4-E2DDABBA1A12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63F3154C-D126-54C7-8FF9-54828F0EAAE5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3AFA8A15-EFA6-31E0-E385-4A8841DF92D9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D0D86538-BC21-C290-5815-BAF2E8E935B7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55E5B7D2-9E53-B633-FE80-5E15245D345C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26A48755-ACE9-8556-D55C-4A0C0432D850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F32AAAE1-763B-F4FC-5358-0BAE45AF412E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645F32EB-AFAA-49C6-003F-851ED76E7E9D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D6C617D8-97F2-D7BB-0295-938B828BA7C5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72AB4B90-3073-E981-549B-3CF209097AE3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1BC855CE-ADB8-0066-2B13-DAF402B9D105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0E77CEF3-6B9E-D0E6-DBB6-C461B8EB1F42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A087F359-63EC-089B-2CFC-FF5ABB29BE5B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80572B67-7D10-3D35-B4C7-80B05490354F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FB8DA8F8-A462-CDE2-A51F-3D6456CD36B1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94B0F9E2-EE5B-C65C-984A-EE652DB49C30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E7EC6427-04DA-47CB-17CC-FCB14DFBF1CC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BE52F97C-E17F-C11B-0683-C1B3A23CE31D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D580A496-4D81-6BA5-5F30-C10E6702B348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5317D3F2-D04F-777E-2002-87845719095B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3D06D903-5749-EDA0-1A03-9684D1622CFE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24213A02-2D31-8234-FA2F-80950967E43C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48B5F45E-FD0D-8121-36D6-2AE268CFFECD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8D815B26-6838-FF20-2FA7-0BD7AC40E2A3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FA8BB8B7-DF39-EB0E-51B4-95343C14E372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DDF8CE9A-5EC0-CD6C-C81E-97960FB42341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90906833-3297-4443-F0F7-A1009662225C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C866BE7C-07B5-D0C7-178B-EC0FB7FF1D9A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10F7F222-00B4-1CD8-2878-A2D770711531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18425981-E168-58C7-FC9E-903B2B00162A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934A7AD3-495D-82BB-FEAF-7ED562DE4C1E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349E896F-19AD-C92B-EC27-A2CEC3827ED2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B016E223-2580-A63E-5110-E95D0ACF55E0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9D31E695-01D1-5797-C3D7-028A9125937C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E5844D6D-B146-72B7-E858-FC3E4AE0A0A5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F00A0CC2-369A-2D67-3345-0D68D1F17550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851722DE-C462-2073-FA8E-4F695130E5CE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06E45819-AD49-8875-F29A-87BBD5B7E776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3C5E75E6-6796-912C-0361-465BA7871EA5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3F1D9520-3624-B3F2-C9A9-231BA696DABA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E6A80A22-C74A-5A04-96DF-568B63452921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E36E6904-2344-33E6-252C-AAC22A97D3D8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D7B285F8-507F-6920-E4F8-954AF97B3711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A07DA9F8-43D4-6490-EC8D-B7AA61A1E163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0897592B-5BF2-BAE6-0B94-19160374AC23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49089D65-6E0E-CF4E-A859-511934CF609C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5DFC814A-FDB1-FD93-30AC-84AC7AE573DB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9125E63C-FCE4-4F2B-5DA5-57A86E462219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DC13DAD2-F54D-6935-233A-2C4611FA542D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9522CC35-B808-95E4-8260-19F61B10D691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FC420D5F-126E-A4A9-DEB2-00993A4A0A45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592A07D9-4B2F-1E98-3779-1707DA3A2613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39BAD770-F3E7-182A-955D-21A103DE1AB4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A4BDE51D-1CB2-6C51-3FF4-02ABDCE9B474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CED435C8-D4C9-3835-D587-E0E834E83C2F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13340522-EE91-1A08-B231-0E9911D1C059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8D435A81-CB44-38A3-8F5A-C5FD555974E1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B7E86F9B-1971-4CE1-B7DF-0B5CE0445805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994F6B04-CDCA-C318-CD1C-EFF88064D65B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7CEF5DB6-CA82-1E10-578C-18D47F30D281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E6785616-FD42-3D7A-48D2-FFEDF06D5C6A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E2F131A8-B17A-B634-573D-A41B9202A5C3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6AD91C81-1777-8DC7-49BF-267B7D184DDE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4C49B4D4-C30A-DE57-E482-BEC792C5C1A8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9926BD96-9B4A-60D4-BA70-17C1CDC6CE48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F1662142-0CDA-771D-EAF2-428F2F861924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131E3891-8963-7047-9A62-EC78E9DF168A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ACB779BD-E252-4801-D481-34D090CD8EDD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C01F8A0F-7B94-F13F-F286-2A6C0575CE43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FA539BAA-EF22-086B-0891-FBD76EE717DD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E2C60E01-F078-06F4-47A0-1C3C6B02036E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E86E1E23-0D21-27BE-2724-E9DEEDEAC1A7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9A3E77E7-CEAF-7DCA-467A-8C1D6CBE7ABB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1B8B5B4B-CF97-D78E-66A1-85C749291533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10FAAB18-6797-A678-E178-FB790C06B767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B72C259D-B03D-E1F8-20AE-DCFD6A0345D2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grpSp>
        <p:nvGrpSpPr>
          <p:cNvPr id="403" name="Gruppieren 402">
            <a:extLst>
              <a:ext uri="{FF2B5EF4-FFF2-40B4-BE49-F238E27FC236}">
                <a16:creationId xmlns:a16="http://schemas.microsoft.com/office/drawing/2014/main" id="{83A786F0-CFEF-2D98-E7D9-F4EC9FE066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1" y="2082829"/>
            <a:ext cx="2448000" cy="0"/>
            <a:chOff x="983432" y="2082829"/>
            <a:chExt cx="2448000" cy="0"/>
          </a:xfrm>
        </p:grpSpPr>
        <p:cxnSp>
          <p:nvCxnSpPr>
            <p:cNvPr id="404" name="Line">
              <a:extLst>
                <a:ext uri="{FF2B5EF4-FFF2-40B4-BE49-F238E27FC236}">
                  <a16:creationId xmlns:a16="http://schemas.microsoft.com/office/drawing/2014/main" id="{0CFC1E8E-9C4E-C938-A2CB-E252F6107F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5" name="Line">
              <a:extLst>
                <a:ext uri="{FF2B5EF4-FFF2-40B4-BE49-F238E27FC236}">
                  <a16:creationId xmlns:a16="http://schemas.microsoft.com/office/drawing/2014/main" id="{F8E15E37-AFB6-540E-647D-AA8E8340BD1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6" name="Shape">
            <a:extLst>
              <a:ext uri="{FF2B5EF4-FFF2-40B4-BE49-F238E27FC236}">
                <a16:creationId xmlns:a16="http://schemas.microsoft.com/office/drawing/2014/main" id="{87FA4392-0D1B-C338-7F51-6219712A85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0848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07" name="Bildplatzhalter 406">
            <a:extLst>
              <a:ext uri="{FF2B5EF4-FFF2-40B4-BE49-F238E27FC236}">
                <a16:creationId xmlns:a16="http://schemas.microsoft.com/office/drawing/2014/main" id="{2510D404-DBC3-1692-EA41-E7524DB6C9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367809" y="2061400"/>
            <a:ext cx="5760640" cy="3463099"/>
          </a:xfrm>
          <a:custGeom>
            <a:avLst/>
            <a:gdLst>
              <a:gd name="connsiteX0" fmla="*/ 5760640 w 5760640"/>
              <a:gd name="connsiteY0" fmla="*/ 0 h 3463099"/>
              <a:gd name="connsiteX1" fmla="*/ 4609453 w 5760640"/>
              <a:gd name="connsiteY1" fmla="*/ 2311556 h 3463099"/>
              <a:gd name="connsiteX2" fmla="*/ 0 w 5760640"/>
              <a:gd name="connsiteY2" fmla="*/ 3463099 h 3463099"/>
              <a:gd name="connsiteX3" fmla="*/ 0 w 5760640"/>
              <a:gd name="connsiteY3" fmla="*/ 518 h 3463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60640" h="3463099">
                <a:moveTo>
                  <a:pt x="5760640" y="0"/>
                </a:moveTo>
                <a:lnTo>
                  <a:pt x="4609453" y="2311556"/>
                </a:lnTo>
                <a:lnTo>
                  <a:pt x="0" y="3463099"/>
                </a:lnTo>
                <a:lnTo>
                  <a:pt x="0" y="518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399" name="Title">
            <a:extLst>
              <a:ext uri="{FF2B5EF4-FFF2-40B4-BE49-F238E27FC236}">
                <a16:creationId xmlns:a16="http://schemas.microsoft.com/office/drawing/2014/main" id="{5A31CA2D-E074-BD09-8FB1-60D8252638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695400" y="2564904"/>
            <a:ext cx="2952000" cy="1152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tIns="36000" rIns="216000" anchor="t">
            <a:noAutofit/>
          </a:bodyPr>
          <a:lstStyle>
            <a:lvl1pPr algn="l">
              <a:lnSpc>
                <a:spcPct val="90000"/>
              </a:lnSpc>
              <a:defRPr sz="2400"/>
            </a:lvl1pPr>
          </a:lstStyle>
          <a:p>
            <a:r>
              <a:rPr lang="en-GB"/>
              <a:t>Insert your long title here in max. three lines</a:t>
            </a:r>
          </a:p>
        </p:txBody>
      </p:sp>
      <p:sp>
        <p:nvSpPr>
          <p:cNvPr id="400" name="Subtitle 2">
            <a:extLst>
              <a:ext uri="{FF2B5EF4-FFF2-40B4-BE49-F238E27FC236}">
                <a16:creationId xmlns:a16="http://schemas.microsoft.com/office/drawing/2014/main" id="{86E7FA45-9FD2-F40E-013B-E42E1250F9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400" y="3717032"/>
            <a:ext cx="2952000" cy="1202385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401" name="Author">
            <a:extLst>
              <a:ext uri="{FF2B5EF4-FFF2-40B4-BE49-F238E27FC236}">
                <a16:creationId xmlns:a16="http://schemas.microsoft.com/office/drawing/2014/main" id="{B0691ABE-DB6B-FCA3-26EE-D19124967C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400" y="4869160"/>
            <a:ext cx="2952000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GB"/>
              <a:t>First name Last name</a:t>
            </a:r>
          </a:p>
        </p:txBody>
      </p:sp>
      <p:sp>
        <p:nvSpPr>
          <p:cNvPr id="402" name="Department, Date">
            <a:extLst>
              <a:ext uri="{FF2B5EF4-FFF2-40B4-BE49-F238E27FC236}">
                <a16:creationId xmlns:a16="http://schemas.microsoft.com/office/drawing/2014/main" id="{6F2378A6-2EA0-7AD3-D3B3-69216EA41E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5085160"/>
            <a:ext cx="2952000" cy="720104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GB"/>
              <a:t>Department</a:t>
            </a:r>
            <a:br>
              <a:rPr lang="en-GB"/>
            </a:br>
            <a:r>
              <a:rPr lang="en-GB"/>
              <a:t>DD/MM/YYYY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45AAC8A3-FB3F-8A6C-F39E-1578803F1A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28448" y="335757"/>
            <a:ext cx="1365736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3236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3 | Magant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B0A31A9-9924-696E-FB66-4436CE506C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7403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B0A31A9-9924-696E-FB66-4436CE506C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F556759-D0F1-F371-D708-872DD959548E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F240A2D-DF33-4064-C42D-8ABF8FAF900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4EA0A6C-E972-430F-366A-D572486AD04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43" name="Source">
            <a:extLst>
              <a:ext uri="{FF2B5EF4-FFF2-40B4-BE49-F238E27FC236}">
                <a16:creationId xmlns:a16="http://schemas.microsoft.com/office/drawing/2014/main" id="{CB081D7B-28DD-9941-7ABB-B472540D57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487488" y="6525000"/>
            <a:ext cx="9217024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grpSp>
        <p:nvGrpSpPr>
          <p:cNvPr id="404" name="Gruppieren 403">
            <a:extLst>
              <a:ext uri="{FF2B5EF4-FFF2-40B4-BE49-F238E27FC236}">
                <a16:creationId xmlns:a16="http://schemas.microsoft.com/office/drawing/2014/main" id="{04C048BE-7905-D610-6B61-0D5ECA7CC035}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405" name="Rechteck 404">
              <a:extLst>
                <a:ext uri="{FF2B5EF4-FFF2-40B4-BE49-F238E27FC236}">
                  <a16:creationId xmlns:a16="http://schemas.microsoft.com/office/drawing/2014/main" id="{C8534E3C-2CF5-A3A2-0400-83854F08E4B7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6" name="Rechteck 405">
              <a:extLst>
                <a:ext uri="{FF2B5EF4-FFF2-40B4-BE49-F238E27FC236}">
                  <a16:creationId xmlns:a16="http://schemas.microsoft.com/office/drawing/2014/main" id="{2642479F-4D57-075E-49AE-CE7FF522A9C7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2FBBCAD6-B2D5-EEE4-80F3-7B21C3C50302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552A4487-02CF-EE9D-549E-FA44DA3C6164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DAA139EA-D1B0-79B9-9A92-275C1BB638FF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0" name="Rechteck 409">
              <a:extLst>
                <a:ext uri="{FF2B5EF4-FFF2-40B4-BE49-F238E27FC236}">
                  <a16:creationId xmlns:a16="http://schemas.microsoft.com/office/drawing/2014/main" id="{A52E1848-0E5A-9D78-25E0-DA3FACDA7CF7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B10B3D36-B1B9-E95F-3E7C-96F1D80FE82E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F26D824A-39A6-3FDB-BE04-7CC5314001A2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458F2A98-6D89-9650-4101-F5C10B7C1D8D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BF454603-B4CD-657A-011B-40E91B963531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6C93CD96-9F61-4150-B70A-50410BC741B4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6" name="Rechteck 415">
              <a:extLst>
                <a:ext uri="{FF2B5EF4-FFF2-40B4-BE49-F238E27FC236}">
                  <a16:creationId xmlns:a16="http://schemas.microsoft.com/office/drawing/2014/main" id="{65234738-C8AE-9F8A-5899-FCC5BA08223B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BB4BE4F1-A8D4-B6BE-40DE-C40F4E8DB506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8" name="Rechteck 417">
              <a:extLst>
                <a:ext uri="{FF2B5EF4-FFF2-40B4-BE49-F238E27FC236}">
                  <a16:creationId xmlns:a16="http://schemas.microsoft.com/office/drawing/2014/main" id="{BE59DB32-E5F9-F3F9-B535-F6C3D62F6FEE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19" name="Rechteck 418">
              <a:extLst>
                <a:ext uri="{FF2B5EF4-FFF2-40B4-BE49-F238E27FC236}">
                  <a16:creationId xmlns:a16="http://schemas.microsoft.com/office/drawing/2014/main" id="{355E0C15-19DA-DB20-C8CC-352EE7D74D5E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0" name="Rechteck 419">
              <a:extLst>
                <a:ext uri="{FF2B5EF4-FFF2-40B4-BE49-F238E27FC236}">
                  <a16:creationId xmlns:a16="http://schemas.microsoft.com/office/drawing/2014/main" id="{BCBE50D2-E4C5-A8C3-AD7D-AA2917EBBAD3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1" name="Rechteck 420">
              <a:extLst>
                <a:ext uri="{FF2B5EF4-FFF2-40B4-BE49-F238E27FC236}">
                  <a16:creationId xmlns:a16="http://schemas.microsoft.com/office/drawing/2014/main" id="{8EA6A4A8-C30A-7D98-DA78-B2FD911D667D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2" name="Rechteck 421">
              <a:extLst>
                <a:ext uri="{FF2B5EF4-FFF2-40B4-BE49-F238E27FC236}">
                  <a16:creationId xmlns:a16="http://schemas.microsoft.com/office/drawing/2014/main" id="{C2204EF9-F7AA-4DE5-310A-5DDDD66591F9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3" name="Rechteck 422">
              <a:extLst>
                <a:ext uri="{FF2B5EF4-FFF2-40B4-BE49-F238E27FC236}">
                  <a16:creationId xmlns:a16="http://schemas.microsoft.com/office/drawing/2014/main" id="{1C4B3FA9-A920-84E4-3C45-09856B26868C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4" name="Rechteck 423">
              <a:extLst>
                <a:ext uri="{FF2B5EF4-FFF2-40B4-BE49-F238E27FC236}">
                  <a16:creationId xmlns:a16="http://schemas.microsoft.com/office/drawing/2014/main" id="{B3B85DD2-476A-0B95-5EB1-8F312DA44622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5" name="Rechteck 424">
              <a:extLst>
                <a:ext uri="{FF2B5EF4-FFF2-40B4-BE49-F238E27FC236}">
                  <a16:creationId xmlns:a16="http://schemas.microsoft.com/office/drawing/2014/main" id="{99D6B96F-8374-F9F1-59A5-98EBA3EE25CD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6" name="Rechteck 425">
              <a:extLst>
                <a:ext uri="{FF2B5EF4-FFF2-40B4-BE49-F238E27FC236}">
                  <a16:creationId xmlns:a16="http://schemas.microsoft.com/office/drawing/2014/main" id="{DC823EE3-BADD-6F95-5CE8-BED7CBAE080A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7" name="Rechteck 426">
              <a:extLst>
                <a:ext uri="{FF2B5EF4-FFF2-40B4-BE49-F238E27FC236}">
                  <a16:creationId xmlns:a16="http://schemas.microsoft.com/office/drawing/2014/main" id="{8E865B11-168E-A455-145C-1B34043240D2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8" name="Rechteck 427">
              <a:extLst>
                <a:ext uri="{FF2B5EF4-FFF2-40B4-BE49-F238E27FC236}">
                  <a16:creationId xmlns:a16="http://schemas.microsoft.com/office/drawing/2014/main" id="{89E05B10-BD1F-958E-9026-B892E687B974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29" name="Rechteck 428">
              <a:extLst>
                <a:ext uri="{FF2B5EF4-FFF2-40B4-BE49-F238E27FC236}">
                  <a16:creationId xmlns:a16="http://schemas.microsoft.com/office/drawing/2014/main" id="{421D8672-B7B6-B216-D75B-D7B1D4F1108E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0" name="Rechteck 429">
              <a:extLst>
                <a:ext uri="{FF2B5EF4-FFF2-40B4-BE49-F238E27FC236}">
                  <a16:creationId xmlns:a16="http://schemas.microsoft.com/office/drawing/2014/main" id="{2A3F3D9E-1B89-48BA-EBBF-A97D6C8DBCCF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1" name="Rechteck 430">
              <a:extLst>
                <a:ext uri="{FF2B5EF4-FFF2-40B4-BE49-F238E27FC236}">
                  <a16:creationId xmlns:a16="http://schemas.microsoft.com/office/drawing/2014/main" id="{2E1007CB-9535-DA31-9048-F7F0B0FDC68E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2" name="Rechteck 431">
              <a:extLst>
                <a:ext uri="{FF2B5EF4-FFF2-40B4-BE49-F238E27FC236}">
                  <a16:creationId xmlns:a16="http://schemas.microsoft.com/office/drawing/2014/main" id="{1C2CB0FC-98AB-16FA-5D3E-77E640C3E6CC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3" name="Rechteck 432">
              <a:extLst>
                <a:ext uri="{FF2B5EF4-FFF2-40B4-BE49-F238E27FC236}">
                  <a16:creationId xmlns:a16="http://schemas.microsoft.com/office/drawing/2014/main" id="{CB1E9931-CDB9-84CA-B1B4-35911570F87B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4" name="Rechteck 433">
              <a:extLst>
                <a:ext uri="{FF2B5EF4-FFF2-40B4-BE49-F238E27FC236}">
                  <a16:creationId xmlns:a16="http://schemas.microsoft.com/office/drawing/2014/main" id="{CB5B5FF5-5E89-16CE-AC9D-E1703C1962A0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5" name="Rechteck 434">
              <a:extLst>
                <a:ext uri="{FF2B5EF4-FFF2-40B4-BE49-F238E27FC236}">
                  <a16:creationId xmlns:a16="http://schemas.microsoft.com/office/drawing/2014/main" id="{F8773E70-31F7-A1F0-7ABF-5E584B1BF675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6" name="Rechteck 435">
              <a:extLst>
                <a:ext uri="{FF2B5EF4-FFF2-40B4-BE49-F238E27FC236}">
                  <a16:creationId xmlns:a16="http://schemas.microsoft.com/office/drawing/2014/main" id="{4F17D763-580C-FBD5-4238-30C626721A51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7" name="Rechteck 436">
              <a:extLst>
                <a:ext uri="{FF2B5EF4-FFF2-40B4-BE49-F238E27FC236}">
                  <a16:creationId xmlns:a16="http://schemas.microsoft.com/office/drawing/2014/main" id="{FB8E908F-D62F-BEBA-FA1B-A4CA919B0FEC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8" name="Rechteck 437">
              <a:extLst>
                <a:ext uri="{FF2B5EF4-FFF2-40B4-BE49-F238E27FC236}">
                  <a16:creationId xmlns:a16="http://schemas.microsoft.com/office/drawing/2014/main" id="{1D7B2149-7D87-4846-43FB-12D17A3939A1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39" name="Rechteck 438">
              <a:extLst>
                <a:ext uri="{FF2B5EF4-FFF2-40B4-BE49-F238E27FC236}">
                  <a16:creationId xmlns:a16="http://schemas.microsoft.com/office/drawing/2014/main" id="{64B367DA-ECBE-3D6F-7892-969A91F31717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0" name="Rechteck 439">
              <a:extLst>
                <a:ext uri="{FF2B5EF4-FFF2-40B4-BE49-F238E27FC236}">
                  <a16:creationId xmlns:a16="http://schemas.microsoft.com/office/drawing/2014/main" id="{AFD1E34E-B48A-65B8-0AE2-7C72215CB250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1" name="Rechteck 440">
              <a:extLst>
                <a:ext uri="{FF2B5EF4-FFF2-40B4-BE49-F238E27FC236}">
                  <a16:creationId xmlns:a16="http://schemas.microsoft.com/office/drawing/2014/main" id="{17D87CBC-0CEB-E217-010B-1DA03C1F7E72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2" name="Rechteck 441">
              <a:extLst>
                <a:ext uri="{FF2B5EF4-FFF2-40B4-BE49-F238E27FC236}">
                  <a16:creationId xmlns:a16="http://schemas.microsoft.com/office/drawing/2014/main" id="{4C507037-1A43-6753-3448-B6412FB9525A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3" name="Rechteck 442">
              <a:extLst>
                <a:ext uri="{FF2B5EF4-FFF2-40B4-BE49-F238E27FC236}">
                  <a16:creationId xmlns:a16="http://schemas.microsoft.com/office/drawing/2014/main" id="{B9EA4EF1-8270-A8F6-0B39-F4EE8985D611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4" name="Rechteck 443">
              <a:extLst>
                <a:ext uri="{FF2B5EF4-FFF2-40B4-BE49-F238E27FC236}">
                  <a16:creationId xmlns:a16="http://schemas.microsoft.com/office/drawing/2014/main" id="{22D17A1C-D4E6-F63F-C632-5F02FCDBEC98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5" name="Rechteck 444">
              <a:extLst>
                <a:ext uri="{FF2B5EF4-FFF2-40B4-BE49-F238E27FC236}">
                  <a16:creationId xmlns:a16="http://schemas.microsoft.com/office/drawing/2014/main" id="{2DE08B39-3441-2D61-6C4C-A404444E0C54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6" name="Rechteck 445">
              <a:extLst>
                <a:ext uri="{FF2B5EF4-FFF2-40B4-BE49-F238E27FC236}">
                  <a16:creationId xmlns:a16="http://schemas.microsoft.com/office/drawing/2014/main" id="{9FC815D8-F3D6-67E1-3471-CD84245D5289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7" name="Rechteck 446">
              <a:extLst>
                <a:ext uri="{FF2B5EF4-FFF2-40B4-BE49-F238E27FC236}">
                  <a16:creationId xmlns:a16="http://schemas.microsoft.com/office/drawing/2014/main" id="{1999CB14-F9AE-0996-DE85-D56C83440B52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8" name="Rechteck 447">
              <a:extLst>
                <a:ext uri="{FF2B5EF4-FFF2-40B4-BE49-F238E27FC236}">
                  <a16:creationId xmlns:a16="http://schemas.microsoft.com/office/drawing/2014/main" id="{6C56F053-84BA-5783-8B6F-D75048C78A9A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49" name="Rechteck 448">
              <a:extLst>
                <a:ext uri="{FF2B5EF4-FFF2-40B4-BE49-F238E27FC236}">
                  <a16:creationId xmlns:a16="http://schemas.microsoft.com/office/drawing/2014/main" id="{75B65E3E-9571-5056-1DA6-1E89022106C8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0" name="Rechteck 449">
              <a:extLst>
                <a:ext uri="{FF2B5EF4-FFF2-40B4-BE49-F238E27FC236}">
                  <a16:creationId xmlns:a16="http://schemas.microsoft.com/office/drawing/2014/main" id="{7C1B3581-10C1-31C0-555F-9C1DA3F4D22E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1" name="Rechteck 450">
              <a:extLst>
                <a:ext uri="{FF2B5EF4-FFF2-40B4-BE49-F238E27FC236}">
                  <a16:creationId xmlns:a16="http://schemas.microsoft.com/office/drawing/2014/main" id="{48F56C21-4088-377F-6E6F-4414C408DB56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2" name="Rechteck 451">
              <a:extLst>
                <a:ext uri="{FF2B5EF4-FFF2-40B4-BE49-F238E27FC236}">
                  <a16:creationId xmlns:a16="http://schemas.microsoft.com/office/drawing/2014/main" id="{9D2EB8FA-D581-5FCC-6E80-6C9CE48D4A7F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3" name="Rechteck 452">
              <a:extLst>
                <a:ext uri="{FF2B5EF4-FFF2-40B4-BE49-F238E27FC236}">
                  <a16:creationId xmlns:a16="http://schemas.microsoft.com/office/drawing/2014/main" id="{62320D29-C890-3F79-C1CA-709FC0D2198A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4" name="Rechteck 453">
              <a:extLst>
                <a:ext uri="{FF2B5EF4-FFF2-40B4-BE49-F238E27FC236}">
                  <a16:creationId xmlns:a16="http://schemas.microsoft.com/office/drawing/2014/main" id="{18BD8EB4-8623-29C1-915A-3D2A50C0F9E8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5" name="Rechteck 454">
              <a:extLst>
                <a:ext uri="{FF2B5EF4-FFF2-40B4-BE49-F238E27FC236}">
                  <a16:creationId xmlns:a16="http://schemas.microsoft.com/office/drawing/2014/main" id="{A39DFE0C-656A-DE80-C145-471906FEB86E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6" name="Rechteck 455">
              <a:extLst>
                <a:ext uri="{FF2B5EF4-FFF2-40B4-BE49-F238E27FC236}">
                  <a16:creationId xmlns:a16="http://schemas.microsoft.com/office/drawing/2014/main" id="{76B56F8E-3075-318C-87D7-415D9575A13C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7" name="Rechteck 456">
              <a:extLst>
                <a:ext uri="{FF2B5EF4-FFF2-40B4-BE49-F238E27FC236}">
                  <a16:creationId xmlns:a16="http://schemas.microsoft.com/office/drawing/2014/main" id="{7099021B-6ADC-73B8-3A29-669E22AB4399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4" name="Rechteck 643">
              <a:extLst>
                <a:ext uri="{FF2B5EF4-FFF2-40B4-BE49-F238E27FC236}">
                  <a16:creationId xmlns:a16="http://schemas.microsoft.com/office/drawing/2014/main" id="{8E8FE5D4-0EB7-96E1-08E7-4F1B16EBB33A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5" name="Rechteck 644">
              <a:extLst>
                <a:ext uri="{FF2B5EF4-FFF2-40B4-BE49-F238E27FC236}">
                  <a16:creationId xmlns:a16="http://schemas.microsoft.com/office/drawing/2014/main" id="{A60C5B67-358E-14EE-4FA7-480517FBAFB4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6" name="Rechteck 645">
              <a:extLst>
                <a:ext uri="{FF2B5EF4-FFF2-40B4-BE49-F238E27FC236}">
                  <a16:creationId xmlns:a16="http://schemas.microsoft.com/office/drawing/2014/main" id="{B4A09DC8-0CE6-36BD-D875-B005F3971926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7" name="Rechteck 646">
              <a:extLst>
                <a:ext uri="{FF2B5EF4-FFF2-40B4-BE49-F238E27FC236}">
                  <a16:creationId xmlns:a16="http://schemas.microsoft.com/office/drawing/2014/main" id="{7EDC3ED9-4D94-DC05-1A13-CF21EDC1E64C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8" name="Rechteck 647">
              <a:extLst>
                <a:ext uri="{FF2B5EF4-FFF2-40B4-BE49-F238E27FC236}">
                  <a16:creationId xmlns:a16="http://schemas.microsoft.com/office/drawing/2014/main" id="{7ABECC60-99A1-3A8E-B432-9C5C426070BF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49" name="Rechteck 648">
              <a:extLst>
                <a:ext uri="{FF2B5EF4-FFF2-40B4-BE49-F238E27FC236}">
                  <a16:creationId xmlns:a16="http://schemas.microsoft.com/office/drawing/2014/main" id="{B3A842FC-8CE9-85E9-6603-1CC4F2D1B7A0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0" name="Rechteck 649">
              <a:extLst>
                <a:ext uri="{FF2B5EF4-FFF2-40B4-BE49-F238E27FC236}">
                  <a16:creationId xmlns:a16="http://schemas.microsoft.com/office/drawing/2014/main" id="{DA7B7322-E2AF-381E-3EBE-F9C20D63FF58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1" name="Rechteck 650">
              <a:extLst>
                <a:ext uri="{FF2B5EF4-FFF2-40B4-BE49-F238E27FC236}">
                  <a16:creationId xmlns:a16="http://schemas.microsoft.com/office/drawing/2014/main" id="{EC1F45C1-1677-0917-B365-708531B72AA6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2" name="Rechteck 651">
              <a:extLst>
                <a:ext uri="{FF2B5EF4-FFF2-40B4-BE49-F238E27FC236}">
                  <a16:creationId xmlns:a16="http://schemas.microsoft.com/office/drawing/2014/main" id="{50A4A50F-31EC-FBCF-9140-5DBDB846C553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3" name="Rechteck 652">
              <a:extLst>
                <a:ext uri="{FF2B5EF4-FFF2-40B4-BE49-F238E27FC236}">
                  <a16:creationId xmlns:a16="http://schemas.microsoft.com/office/drawing/2014/main" id="{84C76EFD-3633-98AA-A442-2D8C5AB6FCFD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4" name="Rechteck 653">
              <a:extLst>
                <a:ext uri="{FF2B5EF4-FFF2-40B4-BE49-F238E27FC236}">
                  <a16:creationId xmlns:a16="http://schemas.microsoft.com/office/drawing/2014/main" id="{5DE99BB2-D190-A188-CF7B-DE8887FCAFFA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5" name="Rechteck 654">
              <a:extLst>
                <a:ext uri="{FF2B5EF4-FFF2-40B4-BE49-F238E27FC236}">
                  <a16:creationId xmlns:a16="http://schemas.microsoft.com/office/drawing/2014/main" id="{5779E240-142B-5A3B-D29F-762991079402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6" name="Rechteck 655">
              <a:extLst>
                <a:ext uri="{FF2B5EF4-FFF2-40B4-BE49-F238E27FC236}">
                  <a16:creationId xmlns:a16="http://schemas.microsoft.com/office/drawing/2014/main" id="{7DF3EF50-64C3-0521-419E-0A34DE091838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7" name="Rechteck 656">
              <a:extLst>
                <a:ext uri="{FF2B5EF4-FFF2-40B4-BE49-F238E27FC236}">
                  <a16:creationId xmlns:a16="http://schemas.microsoft.com/office/drawing/2014/main" id="{B0D7530B-72EC-D3B4-90E2-2D6E1B271C7A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8" name="Rechteck 657">
              <a:extLst>
                <a:ext uri="{FF2B5EF4-FFF2-40B4-BE49-F238E27FC236}">
                  <a16:creationId xmlns:a16="http://schemas.microsoft.com/office/drawing/2014/main" id="{80E6E29A-5D6B-0C1F-2DC5-C0DB2565B266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59" name="Rechteck 658">
              <a:extLst>
                <a:ext uri="{FF2B5EF4-FFF2-40B4-BE49-F238E27FC236}">
                  <a16:creationId xmlns:a16="http://schemas.microsoft.com/office/drawing/2014/main" id="{6253B98A-C2FC-F7AC-D28E-FDDEBDF1C5B5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0" name="Rechteck 659">
              <a:extLst>
                <a:ext uri="{FF2B5EF4-FFF2-40B4-BE49-F238E27FC236}">
                  <a16:creationId xmlns:a16="http://schemas.microsoft.com/office/drawing/2014/main" id="{9984C8AB-B7F7-76AA-D39C-D02FD0EC7A32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1" name="Rechteck 660">
              <a:extLst>
                <a:ext uri="{FF2B5EF4-FFF2-40B4-BE49-F238E27FC236}">
                  <a16:creationId xmlns:a16="http://schemas.microsoft.com/office/drawing/2014/main" id="{6A058027-50E5-A9B4-1BF2-5060149E18DC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2" name="Rechteck 661">
              <a:extLst>
                <a:ext uri="{FF2B5EF4-FFF2-40B4-BE49-F238E27FC236}">
                  <a16:creationId xmlns:a16="http://schemas.microsoft.com/office/drawing/2014/main" id="{98FBD54A-F54C-29E1-5108-09E00A4269B9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3" name="Rechteck 662">
              <a:extLst>
                <a:ext uri="{FF2B5EF4-FFF2-40B4-BE49-F238E27FC236}">
                  <a16:creationId xmlns:a16="http://schemas.microsoft.com/office/drawing/2014/main" id="{6EDAAAE1-AA61-1362-CECC-3D5EE27A32FC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4" name="Rechteck 663">
              <a:extLst>
                <a:ext uri="{FF2B5EF4-FFF2-40B4-BE49-F238E27FC236}">
                  <a16:creationId xmlns:a16="http://schemas.microsoft.com/office/drawing/2014/main" id="{9A096197-71CE-0844-41D0-A46DC238ACC0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5" name="Rechteck 664">
              <a:extLst>
                <a:ext uri="{FF2B5EF4-FFF2-40B4-BE49-F238E27FC236}">
                  <a16:creationId xmlns:a16="http://schemas.microsoft.com/office/drawing/2014/main" id="{9BAC1024-A3AA-DA30-6638-91CB96C75E2D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6" name="Rechteck 665">
              <a:extLst>
                <a:ext uri="{FF2B5EF4-FFF2-40B4-BE49-F238E27FC236}">
                  <a16:creationId xmlns:a16="http://schemas.microsoft.com/office/drawing/2014/main" id="{27954658-2F67-8A3E-E295-5AE0BB5709CE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7" name="Rechteck 666">
              <a:extLst>
                <a:ext uri="{FF2B5EF4-FFF2-40B4-BE49-F238E27FC236}">
                  <a16:creationId xmlns:a16="http://schemas.microsoft.com/office/drawing/2014/main" id="{46E72F9C-219A-FF20-1A92-D57F35DA0BA0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8" name="Rechteck 667">
              <a:extLst>
                <a:ext uri="{FF2B5EF4-FFF2-40B4-BE49-F238E27FC236}">
                  <a16:creationId xmlns:a16="http://schemas.microsoft.com/office/drawing/2014/main" id="{B1F0B7B2-9256-4FB1-ECCB-3D5CD7439428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69" name="Rechteck 668">
              <a:extLst>
                <a:ext uri="{FF2B5EF4-FFF2-40B4-BE49-F238E27FC236}">
                  <a16:creationId xmlns:a16="http://schemas.microsoft.com/office/drawing/2014/main" id="{F424F12F-F7D7-E4F7-D296-F1E66F512AE0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0" name="Rechteck 669">
              <a:extLst>
                <a:ext uri="{FF2B5EF4-FFF2-40B4-BE49-F238E27FC236}">
                  <a16:creationId xmlns:a16="http://schemas.microsoft.com/office/drawing/2014/main" id="{8EAA27A1-ABA7-7824-3AAE-E30598AB2124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1" name="Rechteck 670">
              <a:extLst>
                <a:ext uri="{FF2B5EF4-FFF2-40B4-BE49-F238E27FC236}">
                  <a16:creationId xmlns:a16="http://schemas.microsoft.com/office/drawing/2014/main" id="{C34E7599-8AF7-4FEC-68B1-3402BDD6D856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2" name="Rechteck 671">
              <a:extLst>
                <a:ext uri="{FF2B5EF4-FFF2-40B4-BE49-F238E27FC236}">
                  <a16:creationId xmlns:a16="http://schemas.microsoft.com/office/drawing/2014/main" id="{B0D2F336-CA2A-2193-1BC7-3C54952CFACF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3" name="Rechteck 672">
              <a:extLst>
                <a:ext uri="{FF2B5EF4-FFF2-40B4-BE49-F238E27FC236}">
                  <a16:creationId xmlns:a16="http://schemas.microsoft.com/office/drawing/2014/main" id="{D073002A-F875-EEDC-4EB6-EF997A284DDA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4" name="Rechteck 673">
              <a:extLst>
                <a:ext uri="{FF2B5EF4-FFF2-40B4-BE49-F238E27FC236}">
                  <a16:creationId xmlns:a16="http://schemas.microsoft.com/office/drawing/2014/main" id="{F8138724-4632-2DB7-FA2D-7F0357DF5720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5" name="Rechteck 674">
              <a:extLst>
                <a:ext uri="{FF2B5EF4-FFF2-40B4-BE49-F238E27FC236}">
                  <a16:creationId xmlns:a16="http://schemas.microsoft.com/office/drawing/2014/main" id="{2D2CD9BA-1A94-56DF-8CFA-A97A83254D29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6" name="Rechteck 675">
              <a:extLst>
                <a:ext uri="{FF2B5EF4-FFF2-40B4-BE49-F238E27FC236}">
                  <a16:creationId xmlns:a16="http://schemas.microsoft.com/office/drawing/2014/main" id="{7C79B6F2-54E2-3C33-65BC-1875013AD61F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7" name="Rechteck 676">
              <a:extLst>
                <a:ext uri="{FF2B5EF4-FFF2-40B4-BE49-F238E27FC236}">
                  <a16:creationId xmlns:a16="http://schemas.microsoft.com/office/drawing/2014/main" id="{65E4504F-B5EF-BDF9-DD5A-DCA3D696CA83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8" name="Rechteck 677">
              <a:extLst>
                <a:ext uri="{FF2B5EF4-FFF2-40B4-BE49-F238E27FC236}">
                  <a16:creationId xmlns:a16="http://schemas.microsoft.com/office/drawing/2014/main" id="{3C212384-F966-94CF-A5F3-A9F6605EAA0A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79" name="Rechteck 678">
              <a:extLst>
                <a:ext uri="{FF2B5EF4-FFF2-40B4-BE49-F238E27FC236}">
                  <a16:creationId xmlns:a16="http://schemas.microsoft.com/office/drawing/2014/main" id="{ED44795D-30E4-B4C1-87C3-5BA33D5E2238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0" name="Rechteck 679">
              <a:extLst>
                <a:ext uri="{FF2B5EF4-FFF2-40B4-BE49-F238E27FC236}">
                  <a16:creationId xmlns:a16="http://schemas.microsoft.com/office/drawing/2014/main" id="{D1EA4F25-7E1D-7C78-685B-4D8DFBFAFD69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1" name="Rechteck 680">
              <a:extLst>
                <a:ext uri="{FF2B5EF4-FFF2-40B4-BE49-F238E27FC236}">
                  <a16:creationId xmlns:a16="http://schemas.microsoft.com/office/drawing/2014/main" id="{AF63D508-7642-BD4D-326D-088EB0B5D63A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2" name="Rechteck 681">
              <a:extLst>
                <a:ext uri="{FF2B5EF4-FFF2-40B4-BE49-F238E27FC236}">
                  <a16:creationId xmlns:a16="http://schemas.microsoft.com/office/drawing/2014/main" id="{DBFB793B-46CD-B651-4079-42CBF284A3A0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3" name="Rechteck 682">
              <a:extLst>
                <a:ext uri="{FF2B5EF4-FFF2-40B4-BE49-F238E27FC236}">
                  <a16:creationId xmlns:a16="http://schemas.microsoft.com/office/drawing/2014/main" id="{676BEC22-B6D2-664A-1C01-EF3150CB903F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4" name="Rechteck 683">
              <a:extLst>
                <a:ext uri="{FF2B5EF4-FFF2-40B4-BE49-F238E27FC236}">
                  <a16:creationId xmlns:a16="http://schemas.microsoft.com/office/drawing/2014/main" id="{87E18572-03D5-E300-4A12-2FA2E7D658B8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5" name="Rechteck 684">
              <a:extLst>
                <a:ext uri="{FF2B5EF4-FFF2-40B4-BE49-F238E27FC236}">
                  <a16:creationId xmlns:a16="http://schemas.microsoft.com/office/drawing/2014/main" id="{35D72595-8878-87D2-919B-38AD660CFF66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6" name="Rechteck 685">
              <a:extLst>
                <a:ext uri="{FF2B5EF4-FFF2-40B4-BE49-F238E27FC236}">
                  <a16:creationId xmlns:a16="http://schemas.microsoft.com/office/drawing/2014/main" id="{D3CAB2D9-997B-12B0-2A5A-91522C3FF170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7" name="Rechteck 686">
              <a:extLst>
                <a:ext uri="{FF2B5EF4-FFF2-40B4-BE49-F238E27FC236}">
                  <a16:creationId xmlns:a16="http://schemas.microsoft.com/office/drawing/2014/main" id="{74E6F77E-5B7C-2E64-6FCA-30A5DC10DE2C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8" name="Rechteck 687">
              <a:extLst>
                <a:ext uri="{FF2B5EF4-FFF2-40B4-BE49-F238E27FC236}">
                  <a16:creationId xmlns:a16="http://schemas.microsoft.com/office/drawing/2014/main" id="{27CC7125-1BAE-6097-CEBC-A02D054FFC09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89" name="Rechteck 688">
              <a:extLst>
                <a:ext uri="{FF2B5EF4-FFF2-40B4-BE49-F238E27FC236}">
                  <a16:creationId xmlns:a16="http://schemas.microsoft.com/office/drawing/2014/main" id="{9D7B5CFB-7258-DAD3-9B10-3E64BB73EF28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0" name="Rechteck 689">
              <a:extLst>
                <a:ext uri="{FF2B5EF4-FFF2-40B4-BE49-F238E27FC236}">
                  <a16:creationId xmlns:a16="http://schemas.microsoft.com/office/drawing/2014/main" id="{43787BF0-E845-3E22-C348-E7333B517E23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1" name="Rechteck 690">
              <a:extLst>
                <a:ext uri="{FF2B5EF4-FFF2-40B4-BE49-F238E27FC236}">
                  <a16:creationId xmlns:a16="http://schemas.microsoft.com/office/drawing/2014/main" id="{D83F9A5C-556C-5686-A837-8D16AEF9C029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2" name="Rechteck 691">
              <a:extLst>
                <a:ext uri="{FF2B5EF4-FFF2-40B4-BE49-F238E27FC236}">
                  <a16:creationId xmlns:a16="http://schemas.microsoft.com/office/drawing/2014/main" id="{C67B3110-8690-6365-8BE6-FE5AD9D334C8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3" name="Rechteck 692">
              <a:extLst>
                <a:ext uri="{FF2B5EF4-FFF2-40B4-BE49-F238E27FC236}">
                  <a16:creationId xmlns:a16="http://schemas.microsoft.com/office/drawing/2014/main" id="{16371B9B-82E3-36BE-28D4-418C8A3F8723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4" name="Rechteck 693">
              <a:extLst>
                <a:ext uri="{FF2B5EF4-FFF2-40B4-BE49-F238E27FC236}">
                  <a16:creationId xmlns:a16="http://schemas.microsoft.com/office/drawing/2014/main" id="{F46749CC-D382-4700-C143-5E7CFE6DB114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5" name="Rechteck 694">
              <a:extLst>
                <a:ext uri="{FF2B5EF4-FFF2-40B4-BE49-F238E27FC236}">
                  <a16:creationId xmlns:a16="http://schemas.microsoft.com/office/drawing/2014/main" id="{FDD07DA5-8965-5A12-2B46-D97986402E1F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6" name="Rechteck 695">
              <a:extLst>
                <a:ext uri="{FF2B5EF4-FFF2-40B4-BE49-F238E27FC236}">
                  <a16:creationId xmlns:a16="http://schemas.microsoft.com/office/drawing/2014/main" id="{BFBD31BF-21A0-8C08-7846-4C6E3550D334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7" name="Rechteck 696">
              <a:extLst>
                <a:ext uri="{FF2B5EF4-FFF2-40B4-BE49-F238E27FC236}">
                  <a16:creationId xmlns:a16="http://schemas.microsoft.com/office/drawing/2014/main" id="{E702ABEE-AFDE-FCB9-DC6D-4C548A32C549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8" name="Rechteck 697">
              <a:extLst>
                <a:ext uri="{FF2B5EF4-FFF2-40B4-BE49-F238E27FC236}">
                  <a16:creationId xmlns:a16="http://schemas.microsoft.com/office/drawing/2014/main" id="{57D26C21-34A9-14F8-1EBE-6BEA872B7EC6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699" name="Rechteck 698">
              <a:extLst>
                <a:ext uri="{FF2B5EF4-FFF2-40B4-BE49-F238E27FC236}">
                  <a16:creationId xmlns:a16="http://schemas.microsoft.com/office/drawing/2014/main" id="{3011720A-B02A-1F24-D94C-A7397307D93B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0" name="Rechteck 699">
              <a:extLst>
                <a:ext uri="{FF2B5EF4-FFF2-40B4-BE49-F238E27FC236}">
                  <a16:creationId xmlns:a16="http://schemas.microsoft.com/office/drawing/2014/main" id="{2E9FD90D-3AFA-EEEE-D410-56A8E2D55BA7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1" name="Rechteck 700">
              <a:extLst>
                <a:ext uri="{FF2B5EF4-FFF2-40B4-BE49-F238E27FC236}">
                  <a16:creationId xmlns:a16="http://schemas.microsoft.com/office/drawing/2014/main" id="{6FCC2FBF-958C-7735-0A1C-16A56435300D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2" name="Rechteck 701">
              <a:extLst>
                <a:ext uri="{FF2B5EF4-FFF2-40B4-BE49-F238E27FC236}">
                  <a16:creationId xmlns:a16="http://schemas.microsoft.com/office/drawing/2014/main" id="{3D9D4B3E-434E-ECCC-A3D5-132211A0DE6A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3" name="Rechteck 702">
              <a:extLst>
                <a:ext uri="{FF2B5EF4-FFF2-40B4-BE49-F238E27FC236}">
                  <a16:creationId xmlns:a16="http://schemas.microsoft.com/office/drawing/2014/main" id="{45D248EB-65FC-9849-23DE-90DAA04E9119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4" name="Rechteck 703">
              <a:extLst>
                <a:ext uri="{FF2B5EF4-FFF2-40B4-BE49-F238E27FC236}">
                  <a16:creationId xmlns:a16="http://schemas.microsoft.com/office/drawing/2014/main" id="{96F47919-304A-390F-A714-2F83255EEB6A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5" name="Rechteck 704">
              <a:extLst>
                <a:ext uri="{FF2B5EF4-FFF2-40B4-BE49-F238E27FC236}">
                  <a16:creationId xmlns:a16="http://schemas.microsoft.com/office/drawing/2014/main" id="{3BFC90F8-328B-5CFC-949C-6F43624417D7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6" name="Rechteck 705">
              <a:extLst>
                <a:ext uri="{FF2B5EF4-FFF2-40B4-BE49-F238E27FC236}">
                  <a16:creationId xmlns:a16="http://schemas.microsoft.com/office/drawing/2014/main" id="{D9E9C03E-129D-B797-8A98-7094D02C4E00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7" name="Rechteck 706">
              <a:extLst>
                <a:ext uri="{FF2B5EF4-FFF2-40B4-BE49-F238E27FC236}">
                  <a16:creationId xmlns:a16="http://schemas.microsoft.com/office/drawing/2014/main" id="{76EA08EF-3571-3BD0-BC82-8EAECCFD1C87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8" name="Rechteck 707">
              <a:extLst>
                <a:ext uri="{FF2B5EF4-FFF2-40B4-BE49-F238E27FC236}">
                  <a16:creationId xmlns:a16="http://schemas.microsoft.com/office/drawing/2014/main" id="{64E17A62-2A82-E3FC-BB4D-997A5897219C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09" name="Rechteck 708">
              <a:extLst>
                <a:ext uri="{FF2B5EF4-FFF2-40B4-BE49-F238E27FC236}">
                  <a16:creationId xmlns:a16="http://schemas.microsoft.com/office/drawing/2014/main" id="{8068A110-BA33-3AAB-4C65-51F4707BE47C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0" name="Rechteck 709">
              <a:extLst>
                <a:ext uri="{FF2B5EF4-FFF2-40B4-BE49-F238E27FC236}">
                  <a16:creationId xmlns:a16="http://schemas.microsoft.com/office/drawing/2014/main" id="{58A44D55-0C13-686B-EABD-0F964DCCA34F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1" name="Rechteck 710">
              <a:extLst>
                <a:ext uri="{FF2B5EF4-FFF2-40B4-BE49-F238E27FC236}">
                  <a16:creationId xmlns:a16="http://schemas.microsoft.com/office/drawing/2014/main" id="{B6282360-48A5-1FEC-8830-3A07CCCD8A2C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2" name="Rechteck 711">
              <a:extLst>
                <a:ext uri="{FF2B5EF4-FFF2-40B4-BE49-F238E27FC236}">
                  <a16:creationId xmlns:a16="http://schemas.microsoft.com/office/drawing/2014/main" id="{BF47F399-F039-2E26-AA7F-39FA37B35966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3" name="Rechteck 712">
              <a:extLst>
                <a:ext uri="{FF2B5EF4-FFF2-40B4-BE49-F238E27FC236}">
                  <a16:creationId xmlns:a16="http://schemas.microsoft.com/office/drawing/2014/main" id="{19C9502A-EEA0-43B5-CA3C-850FFF3BF11B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4" name="Rechteck 713">
              <a:extLst>
                <a:ext uri="{FF2B5EF4-FFF2-40B4-BE49-F238E27FC236}">
                  <a16:creationId xmlns:a16="http://schemas.microsoft.com/office/drawing/2014/main" id="{EAA1F086-1034-F7F8-6323-4F64FA54D52E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5" name="Rechteck 714">
              <a:extLst>
                <a:ext uri="{FF2B5EF4-FFF2-40B4-BE49-F238E27FC236}">
                  <a16:creationId xmlns:a16="http://schemas.microsoft.com/office/drawing/2014/main" id="{5C87350B-44BA-A287-BBC6-39C03D126165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6" name="Rechteck 715">
              <a:extLst>
                <a:ext uri="{FF2B5EF4-FFF2-40B4-BE49-F238E27FC236}">
                  <a16:creationId xmlns:a16="http://schemas.microsoft.com/office/drawing/2014/main" id="{B611F7A2-DE8F-D592-F59E-B91F0E2D65BB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7" name="Rechteck 716">
              <a:extLst>
                <a:ext uri="{FF2B5EF4-FFF2-40B4-BE49-F238E27FC236}">
                  <a16:creationId xmlns:a16="http://schemas.microsoft.com/office/drawing/2014/main" id="{09DF8832-35A4-42ED-B20E-914DCCEF5902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8" name="Rechteck 717">
              <a:extLst>
                <a:ext uri="{FF2B5EF4-FFF2-40B4-BE49-F238E27FC236}">
                  <a16:creationId xmlns:a16="http://schemas.microsoft.com/office/drawing/2014/main" id="{5C5DE0FD-ACBB-BA64-FC68-EDD40FC9255F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19" name="Rechteck 718">
              <a:extLst>
                <a:ext uri="{FF2B5EF4-FFF2-40B4-BE49-F238E27FC236}">
                  <a16:creationId xmlns:a16="http://schemas.microsoft.com/office/drawing/2014/main" id="{CC1573AD-B10C-41EA-A57E-B0F270F8C3D2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0" name="Rechteck 719">
              <a:extLst>
                <a:ext uri="{FF2B5EF4-FFF2-40B4-BE49-F238E27FC236}">
                  <a16:creationId xmlns:a16="http://schemas.microsoft.com/office/drawing/2014/main" id="{78030154-E285-8777-84E2-C7B8E49DE95E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1" name="Rechteck 720">
              <a:extLst>
                <a:ext uri="{FF2B5EF4-FFF2-40B4-BE49-F238E27FC236}">
                  <a16:creationId xmlns:a16="http://schemas.microsoft.com/office/drawing/2014/main" id="{0563102E-2261-7B1C-54AD-C5C578C3C873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2" name="Rechteck 721">
              <a:extLst>
                <a:ext uri="{FF2B5EF4-FFF2-40B4-BE49-F238E27FC236}">
                  <a16:creationId xmlns:a16="http://schemas.microsoft.com/office/drawing/2014/main" id="{7A2BFCAF-0196-C069-700B-A4AA62C6E3FE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3" name="Rechteck 722">
              <a:extLst>
                <a:ext uri="{FF2B5EF4-FFF2-40B4-BE49-F238E27FC236}">
                  <a16:creationId xmlns:a16="http://schemas.microsoft.com/office/drawing/2014/main" id="{4305C88E-AEF0-EAF9-F9BE-AD92FEA08EA1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4" name="Rechteck 723">
              <a:extLst>
                <a:ext uri="{FF2B5EF4-FFF2-40B4-BE49-F238E27FC236}">
                  <a16:creationId xmlns:a16="http://schemas.microsoft.com/office/drawing/2014/main" id="{5C5AA5F0-64E2-8B3F-E80E-5EF2E5B990F8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5" name="Rechteck 724">
              <a:extLst>
                <a:ext uri="{FF2B5EF4-FFF2-40B4-BE49-F238E27FC236}">
                  <a16:creationId xmlns:a16="http://schemas.microsoft.com/office/drawing/2014/main" id="{9EAE955B-D45F-F3F1-A2DC-1B7E386D5E15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6" name="Rechteck 725">
              <a:extLst>
                <a:ext uri="{FF2B5EF4-FFF2-40B4-BE49-F238E27FC236}">
                  <a16:creationId xmlns:a16="http://schemas.microsoft.com/office/drawing/2014/main" id="{CE8EEC35-65A0-6651-782E-D74375C8FE9C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7" name="Rechteck 726">
              <a:extLst>
                <a:ext uri="{FF2B5EF4-FFF2-40B4-BE49-F238E27FC236}">
                  <a16:creationId xmlns:a16="http://schemas.microsoft.com/office/drawing/2014/main" id="{D9136E2B-567D-E2F8-62BE-A9E5C4AEBBDB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8" name="Rechteck 727">
              <a:extLst>
                <a:ext uri="{FF2B5EF4-FFF2-40B4-BE49-F238E27FC236}">
                  <a16:creationId xmlns:a16="http://schemas.microsoft.com/office/drawing/2014/main" id="{072DA505-EB91-3454-9F55-29AC5A477D3A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29" name="Rechteck 728">
              <a:extLst>
                <a:ext uri="{FF2B5EF4-FFF2-40B4-BE49-F238E27FC236}">
                  <a16:creationId xmlns:a16="http://schemas.microsoft.com/office/drawing/2014/main" id="{8C743622-41AB-2DFE-6079-339D7B2E2FAD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0" name="Rechteck 729">
              <a:extLst>
                <a:ext uri="{FF2B5EF4-FFF2-40B4-BE49-F238E27FC236}">
                  <a16:creationId xmlns:a16="http://schemas.microsoft.com/office/drawing/2014/main" id="{978EE1A2-B3C3-F08A-3D80-987A2CEA204E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1" name="Rechteck 730">
              <a:extLst>
                <a:ext uri="{FF2B5EF4-FFF2-40B4-BE49-F238E27FC236}">
                  <a16:creationId xmlns:a16="http://schemas.microsoft.com/office/drawing/2014/main" id="{19EFB8CC-35CE-83CC-7A52-FDB64E0EE9FC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2" name="Rechteck 731">
              <a:extLst>
                <a:ext uri="{FF2B5EF4-FFF2-40B4-BE49-F238E27FC236}">
                  <a16:creationId xmlns:a16="http://schemas.microsoft.com/office/drawing/2014/main" id="{05C8A9B9-25C8-E4C2-C45C-5D2C3A79927A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3" name="Rechteck 732">
              <a:extLst>
                <a:ext uri="{FF2B5EF4-FFF2-40B4-BE49-F238E27FC236}">
                  <a16:creationId xmlns:a16="http://schemas.microsoft.com/office/drawing/2014/main" id="{8F6FC92F-47E5-0A9C-1736-24F92E9D4390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4" name="Rechteck 733">
              <a:extLst>
                <a:ext uri="{FF2B5EF4-FFF2-40B4-BE49-F238E27FC236}">
                  <a16:creationId xmlns:a16="http://schemas.microsoft.com/office/drawing/2014/main" id="{E15AD90A-CEED-3B3D-35AD-F8D3A9AB8913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5" name="Rechteck 734">
              <a:extLst>
                <a:ext uri="{FF2B5EF4-FFF2-40B4-BE49-F238E27FC236}">
                  <a16:creationId xmlns:a16="http://schemas.microsoft.com/office/drawing/2014/main" id="{67979FA8-197D-7646-2E74-0D5C0860C561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6" name="Rechteck 735">
              <a:extLst>
                <a:ext uri="{FF2B5EF4-FFF2-40B4-BE49-F238E27FC236}">
                  <a16:creationId xmlns:a16="http://schemas.microsoft.com/office/drawing/2014/main" id="{8C1690AF-07E7-417E-D020-FEF1F86DE3E0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7" name="Rechteck 736">
              <a:extLst>
                <a:ext uri="{FF2B5EF4-FFF2-40B4-BE49-F238E27FC236}">
                  <a16:creationId xmlns:a16="http://schemas.microsoft.com/office/drawing/2014/main" id="{4CDF46FE-A6A4-19EC-1760-8241851A640D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8" name="Rechteck 737">
              <a:extLst>
                <a:ext uri="{FF2B5EF4-FFF2-40B4-BE49-F238E27FC236}">
                  <a16:creationId xmlns:a16="http://schemas.microsoft.com/office/drawing/2014/main" id="{D0BBBD05-88AE-755B-CCD5-779986C106FF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39" name="Rechteck 738">
              <a:extLst>
                <a:ext uri="{FF2B5EF4-FFF2-40B4-BE49-F238E27FC236}">
                  <a16:creationId xmlns:a16="http://schemas.microsoft.com/office/drawing/2014/main" id="{A2AD4B53-C18F-DE88-5BC5-25C2A2D64237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0" name="Rechteck 739">
              <a:extLst>
                <a:ext uri="{FF2B5EF4-FFF2-40B4-BE49-F238E27FC236}">
                  <a16:creationId xmlns:a16="http://schemas.microsoft.com/office/drawing/2014/main" id="{2330320E-07C8-F649-FC60-D320E3ED90BF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1" name="Rechteck 740">
              <a:extLst>
                <a:ext uri="{FF2B5EF4-FFF2-40B4-BE49-F238E27FC236}">
                  <a16:creationId xmlns:a16="http://schemas.microsoft.com/office/drawing/2014/main" id="{A7C16634-1F2B-1C62-D120-97A756CE1840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2" name="Rechteck 741">
              <a:extLst>
                <a:ext uri="{FF2B5EF4-FFF2-40B4-BE49-F238E27FC236}">
                  <a16:creationId xmlns:a16="http://schemas.microsoft.com/office/drawing/2014/main" id="{BA34E16F-1BA3-8AAC-A190-19145C7947D1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3" name="Rechteck 742">
              <a:extLst>
                <a:ext uri="{FF2B5EF4-FFF2-40B4-BE49-F238E27FC236}">
                  <a16:creationId xmlns:a16="http://schemas.microsoft.com/office/drawing/2014/main" id="{2E03565E-D6FA-3AA6-EAE6-60FA8AEBBCFF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4" name="Rechteck 743">
              <a:extLst>
                <a:ext uri="{FF2B5EF4-FFF2-40B4-BE49-F238E27FC236}">
                  <a16:creationId xmlns:a16="http://schemas.microsoft.com/office/drawing/2014/main" id="{DDAFE961-37A9-F700-CCE0-53CF0F7376F9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5" name="Rechteck 744">
              <a:extLst>
                <a:ext uri="{FF2B5EF4-FFF2-40B4-BE49-F238E27FC236}">
                  <a16:creationId xmlns:a16="http://schemas.microsoft.com/office/drawing/2014/main" id="{565EF1AB-E1F4-57B2-7563-F0BF4E82EE27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6" name="Rechteck 745">
              <a:extLst>
                <a:ext uri="{FF2B5EF4-FFF2-40B4-BE49-F238E27FC236}">
                  <a16:creationId xmlns:a16="http://schemas.microsoft.com/office/drawing/2014/main" id="{CEF5166E-7942-7269-5CD2-DF6D6710953E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7" name="Rechteck 746">
              <a:extLst>
                <a:ext uri="{FF2B5EF4-FFF2-40B4-BE49-F238E27FC236}">
                  <a16:creationId xmlns:a16="http://schemas.microsoft.com/office/drawing/2014/main" id="{FD31B3D4-366D-E6CF-5C73-0D16344A9A2A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8" name="Rechteck 747">
              <a:extLst>
                <a:ext uri="{FF2B5EF4-FFF2-40B4-BE49-F238E27FC236}">
                  <a16:creationId xmlns:a16="http://schemas.microsoft.com/office/drawing/2014/main" id="{A8883A67-AF2F-0A02-F5FD-0EFE7137C00D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49" name="Rechteck 748">
              <a:extLst>
                <a:ext uri="{FF2B5EF4-FFF2-40B4-BE49-F238E27FC236}">
                  <a16:creationId xmlns:a16="http://schemas.microsoft.com/office/drawing/2014/main" id="{CFABFEA7-E0E1-894D-A314-180B265E2E80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0" name="Rechteck 749">
              <a:extLst>
                <a:ext uri="{FF2B5EF4-FFF2-40B4-BE49-F238E27FC236}">
                  <a16:creationId xmlns:a16="http://schemas.microsoft.com/office/drawing/2014/main" id="{CCC1B349-39D6-6964-06C9-56F46ADA9FF5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1" name="Rechteck 750">
              <a:extLst>
                <a:ext uri="{FF2B5EF4-FFF2-40B4-BE49-F238E27FC236}">
                  <a16:creationId xmlns:a16="http://schemas.microsoft.com/office/drawing/2014/main" id="{2F2AC973-3678-EF30-5508-0EFC6712D9F0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2" name="Rechteck 751">
              <a:extLst>
                <a:ext uri="{FF2B5EF4-FFF2-40B4-BE49-F238E27FC236}">
                  <a16:creationId xmlns:a16="http://schemas.microsoft.com/office/drawing/2014/main" id="{35E69DA7-FD7C-8370-38A8-D55251AED31B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3" name="Rechteck 752">
              <a:extLst>
                <a:ext uri="{FF2B5EF4-FFF2-40B4-BE49-F238E27FC236}">
                  <a16:creationId xmlns:a16="http://schemas.microsoft.com/office/drawing/2014/main" id="{244BCA0C-C458-26AB-736D-24007068C7A8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4" name="Rechteck 753">
              <a:extLst>
                <a:ext uri="{FF2B5EF4-FFF2-40B4-BE49-F238E27FC236}">
                  <a16:creationId xmlns:a16="http://schemas.microsoft.com/office/drawing/2014/main" id="{35E93E16-5FC5-12EE-C867-FAE6A2763BDD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5" name="Rechteck 754">
              <a:extLst>
                <a:ext uri="{FF2B5EF4-FFF2-40B4-BE49-F238E27FC236}">
                  <a16:creationId xmlns:a16="http://schemas.microsoft.com/office/drawing/2014/main" id="{759E5477-2636-E307-A017-F26F0305EB74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6" name="Rechteck 755">
              <a:extLst>
                <a:ext uri="{FF2B5EF4-FFF2-40B4-BE49-F238E27FC236}">
                  <a16:creationId xmlns:a16="http://schemas.microsoft.com/office/drawing/2014/main" id="{1BE78FE1-0480-01A8-BADA-AF5459AD108F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7" name="Rechteck 756">
              <a:extLst>
                <a:ext uri="{FF2B5EF4-FFF2-40B4-BE49-F238E27FC236}">
                  <a16:creationId xmlns:a16="http://schemas.microsoft.com/office/drawing/2014/main" id="{DE71C179-DF5B-71B0-D54E-E95D449EF766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8" name="Rechteck 757">
              <a:extLst>
                <a:ext uri="{FF2B5EF4-FFF2-40B4-BE49-F238E27FC236}">
                  <a16:creationId xmlns:a16="http://schemas.microsoft.com/office/drawing/2014/main" id="{E655655F-0347-65A7-4DC4-0979C81CD990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59" name="Rechteck 758">
              <a:extLst>
                <a:ext uri="{FF2B5EF4-FFF2-40B4-BE49-F238E27FC236}">
                  <a16:creationId xmlns:a16="http://schemas.microsoft.com/office/drawing/2014/main" id="{EA877A64-8978-BF4E-CF88-615EBEE992D2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0" name="Rechteck 759">
              <a:extLst>
                <a:ext uri="{FF2B5EF4-FFF2-40B4-BE49-F238E27FC236}">
                  <a16:creationId xmlns:a16="http://schemas.microsoft.com/office/drawing/2014/main" id="{CFE19937-FFE9-031D-B24E-A64916D10CDD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1" name="Rechteck 760">
              <a:extLst>
                <a:ext uri="{FF2B5EF4-FFF2-40B4-BE49-F238E27FC236}">
                  <a16:creationId xmlns:a16="http://schemas.microsoft.com/office/drawing/2014/main" id="{3858A1D4-E89C-6F7D-8025-D03C4283354B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2" name="Rechteck 761">
              <a:extLst>
                <a:ext uri="{FF2B5EF4-FFF2-40B4-BE49-F238E27FC236}">
                  <a16:creationId xmlns:a16="http://schemas.microsoft.com/office/drawing/2014/main" id="{C9D1F4F9-F6C9-3C34-DEEB-8BFBEE43D880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3" name="Rechteck 762">
              <a:extLst>
                <a:ext uri="{FF2B5EF4-FFF2-40B4-BE49-F238E27FC236}">
                  <a16:creationId xmlns:a16="http://schemas.microsoft.com/office/drawing/2014/main" id="{B49AF24D-3DC7-026A-6753-77E65341A85B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4" name="Rechteck 763">
              <a:extLst>
                <a:ext uri="{FF2B5EF4-FFF2-40B4-BE49-F238E27FC236}">
                  <a16:creationId xmlns:a16="http://schemas.microsoft.com/office/drawing/2014/main" id="{BC03AF3E-2C01-0B7D-9914-0D29FDB0E1AD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5" name="Rechteck 764">
              <a:extLst>
                <a:ext uri="{FF2B5EF4-FFF2-40B4-BE49-F238E27FC236}">
                  <a16:creationId xmlns:a16="http://schemas.microsoft.com/office/drawing/2014/main" id="{4A1A06BB-DE34-F683-DD12-FA76FB6BBDD3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6" name="Rechteck 765">
              <a:extLst>
                <a:ext uri="{FF2B5EF4-FFF2-40B4-BE49-F238E27FC236}">
                  <a16:creationId xmlns:a16="http://schemas.microsoft.com/office/drawing/2014/main" id="{1E649CD3-E1AE-92F2-4C3C-BE8626E873EB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7" name="Rechteck 766">
              <a:extLst>
                <a:ext uri="{FF2B5EF4-FFF2-40B4-BE49-F238E27FC236}">
                  <a16:creationId xmlns:a16="http://schemas.microsoft.com/office/drawing/2014/main" id="{FBBFAC61-D572-A003-0FA7-C6F6BBE7107F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8" name="Rechteck 767">
              <a:extLst>
                <a:ext uri="{FF2B5EF4-FFF2-40B4-BE49-F238E27FC236}">
                  <a16:creationId xmlns:a16="http://schemas.microsoft.com/office/drawing/2014/main" id="{087EEB43-1F1E-4D6E-1904-2BFEC1AA7582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69" name="Rechteck 768">
              <a:extLst>
                <a:ext uri="{FF2B5EF4-FFF2-40B4-BE49-F238E27FC236}">
                  <a16:creationId xmlns:a16="http://schemas.microsoft.com/office/drawing/2014/main" id="{83CB1A25-2AD1-41E7-DF2E-09D2362FB7D6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0" name="Rechteck 769">
              <a:extLst>
                <a:ext uri="{FF2B5EF4-FFF2-40B4-BE49-F238E27FC236}">
                  <a16:creationId xmlns:a16="http://schemas.microsoft.com/office/drawing/2014/main" id="{E0275135-3AB4-CC59-1F1E-3F0249175845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1" name="Rechteck 770">
              <a:extLst>
                <a:ext uri="{FF2B5EF4-FFF2-40B4-BE49-F238E27FC236}">
                  <a16:creationId xmlns:a16="http://schemas.microsoft.com/office/drawing/2014/main" id="{A3A121D9-ACB1-53F0-3519-1EC8DDEA8AF1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2" name="Rechteck 771">
              <a:extLst>
                <a:ext uri="{FF2B5EF4-FFF2-40B4-BE49-F238E27FC236}">
                  <a16:creationId xmlns:a16="http://schemas.microsoft.com/office/drawing/2014/main" id="{E9F14960-2584-D6F7-90A1-8BC4D2553FB4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3" name="Rechteck 772">
              <a:extLst>
                <a:ext uri="{FF2B5EF4-FFF2-40B4-BE49-F238E27FC236}">
                  <a16:creationId xmlns:a16="http://schemas.microsoft.com/office/drawing/2014/main" id="{8FA6E9B7-39DB-9E9B-2CAA-6E23B491F0DD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4" name="Rechteck 773">
              <a:extLst>
                <a:ext uri="{FF2B5EF4-FFF2-40B4-BE49-F238E27FC236}">
                  <a16:creationId xmlns:a16="http://schemas.microsoft.com/office/drawing/2014/main" id="{D52B8F7C-DF12-E819-AA45-2C9CC2151338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5" name="Rechteck 774">
              <a:extLst>
                <a:ext uri="{FF2B5EF4-FFF2-40B4-BE49-F238E27FC236}">
                  <a16:creationId xmlns:a16="http://schemas.microsoft.com/office/drawing/2014/main" id="{FED27F47-859F-550D-7414-649DA95A43E0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6" name="Rechteck 775">
              <a:extLst>
                <a:ext uri="{FF2B5EF4-FFF2-40B4-BE49-F238E27FC236}">
                  <a16:creationId xmlns:a16="http://schemas.microsoft.com/office/drawing/2014/main" id="{DF307584-D647-EBE7-200F-8C491754F2C3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7" name="Rechteck 776">
              <a:extLst>
                <a:ext uri="{FF2B5EF4-FFF2-40B4-BE49-F238E27FC236}">
                  <a16:creationId xmlns:a16="http://schemas.microsoft.com/office/drawing/2014/main" id="{4F523918-E619-98C6-2F65-1C4204E23280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8" name="Rechteck 777">
              <a:extLst>
                <a:ext uri="{FF2B5EF4-FFF2-40B4-BE49-F238E27FC236}">
                  <a16:creationId xmlns:a16="http://schemas.microsoft.com/office/drawing/2014/main" id="{D5B91FCE-D6BE-E8D5-BD1A-AD201DD0B0EC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779" name="Rechteck 778">
              <a:extLst>
                <a:ext uri="{FF2B5EF4-FFF2-40B4-BE49-F238E27FC236}">
                  <a16:creationId xmlns:a16="http://schemas.microsoft.com/office/drawing/2014/main" id="{B773B166-E3E3-2A65-7D81-6004E8A6D12B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sp>
        <p:nvSpPr>
          <p:cNvPr id="783" name="Freihandform: Form 782">
            <a:extLst>
              <a:ext uri="{FF2B5EF4-FFF2-40B4-BE49-F238E27FC236}">
                <a16:creationId xmlns:a16="http://schemas.microsoft.com/office/drawing/2014/main" id="{E324CE70-CBD5-917E-7361-52B2426598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1424" y="2060848"/>
            <a:ext cx="2892425" cy="2879303"/>
          </a:xfrm>
          <a:custGeom>
            <a:avLst/>
            <a:gdLst>
              <a:gd name="connsiteX0" fmla="*/ 0 w 2892425"/>
              <a:gd name="connsiteY0" fmla="*/ 0 h 2879303"/>
              <a:gd name="connsiteX1" fmla="*/ 2892425 w 2892425"/>
              <a:gd name="connsiteY1" fmla="*/ 0 h 2879303"/>
              <a:gd name="connsiteX2" fmla="*/ 2307742 w 2892425"/>
              <a:gd name="connsiteY2" fmla="*/ 2298575 h 2879303"/>
              <a:gd name="connsiteX3" fmla="*/ 0 w 2892425"/>
              <a:gd name="connsiteY3" fmla="*/ 2879303 h 2879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92425" h="2879303">
                <a:moveTo>
                  <a:pt x="0" y="0"/>
                </a:moveTo>
                <a:lnTo>
                  <a:pt x="2892425" y="0"/>
                </a:lnTo>
                <a:lnTo>
                  <a:pt x="2307742" y="2298575"/>
                </a:lnTo>
                <a:lnTo>
                  <a:pt x="0" y="2879303"/>
                </a:lnTo>
                <a:close/>
              </a:path>
            </a:pathLst>
          </a:custGeom>
          <a:solidFill>
            <a:schemeClr val="bg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de-DE" sz="1600" err="1"/>
          </a:p>
        </p:txBody>
      </p:sp>
      <p:sp>
        <p:nvSpPr>
          <p:cNvPr id="784" name="Number">
            <a:extLst>
              <a:ext uri="{FF2B5EF4-FFF2-40B4-BE49-F238E27FC236}">
                <a16:creationId xmlns:a16="http://schemas.microsoft.com/office/drawing/2014/main" id="{F6C546EE-6934-81E2-81C3-1D0AEED1A0C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13259" y="2060997"/>
            <a:ext cx="2892425" cy="2879303"/>
          </a:xfrm>
          <a:custGeom>
            <a:avLst/>
            <a:gdLst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517775 w 3022600"/>
              <a:gd name="connsiteY2" fmla="*/ 2520950 h 3024187"/>
              <a:gd name="connsiteX3" fmla="*/ 0 w 3022600"/>
              <a:gd name="connsiteY3" fmla="*/ 3024187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159443 w 3022600"/>
              <a:gd name="connsiteY2" fmla="*/ 2134117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411603 w 3022600"/>
              <a:gd name="connsiteY2" fmla="*/ 2414237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2600" h="3024187">
                <a:moveTo>
                  <a:pt x="0" y="0"/>
                </a:moveTo>
                <a:lnTo>
                  <a:pt x="3022600" y="0"/>
                </a:lnTo>
                <a:lnTo>
                  <a:pt x="2411603" y="2414237"/>
                </a:lnTo>
                <a:lnTo>
                  <a:pt x="0" y="302418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127">
            <a:solidFill>
              <a:srgbClr val="FFA52F">
                <a:alpha val="0"/>
              </a:srgbClr>
            </a:solidFill>
          </a:ln>
        </p:spPr>
        <p:txBody>
          <a:bodyPr wrap="square" lIns="21600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9pPr>
          </a:lstStyle>
          <a:p>
            <a:r>
              <a:rPr lang="en-GB"/>
              <a:t>00</a:t>
            </a:r>
          </a:p>
        </p:txBody>
      </p:sp>
      <p:sp>
        <p:nvSpPr>
          <p:cNvPr id="202" name="Title">
            <a:extLst>
              <a:ext uri="{FF2B5EF4-FFF2-40B4-BE49-F238E27FC236}">
                <a16:creationId xmlns:a16="http://schemas.microsoft.com/office/drawing/2014/main" id="{1E99D823-3000-A6F4-ECDA-68CF5CA9F5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27849" y="1988995"/>
            <a:ext cx="5040000" cy="2088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36000" rIns="216000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Divider slide | Insert your headline in maximal 3 </a:t>
            </a:r>
            <a:br>
              <a:rPr lang="en-GB"/>
            </a:br>
            <a:r>
              <a:rPr lang="en-GB"/>
              <a:t>lines here</a:t>
            </a:r>
          </a:p>
        </p:txBody>
      </p:sp>
      <p:sp>
        <p:nvSpPr>
          <p:cNvPr id="203" name="Subtitle 2">
            <a:extLst>
              <a:ext uri="{FF2B5EF4-FFF2-40B4-BE49-F238E27FC236}">
                <a16:creationId xmlns:a16="http://schemas.microsoft.com/office/drawing/2014/main" id="{C5564466-9FD6-F382-3ABF-8D85A17A55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27848" y="4076996"/>
            <a:ext cx="5040000" cy="1007999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</p:spTree>
    <p:extLst>
      <p:ext uri="{BB962C8B-B14F-4D97-AF65-F5344CB8AC3E}">
        <p14:creationId xmlns:p14="http://schemas.microsoft.com/office/powerpoint/2010/main" val="21573225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3 |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98220CE-E254-A695-1294-182347F5A2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841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98220CE-E254-A695-1294-182347F5A2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A5783A04-68F4-FCE6-B5EF-98845FF5AD5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BED0437-D359-71C7-9C16-CE8D6DC7ED7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9CE08AEE-0CFE-0A6B-AD08-7B974B639DB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58" name="Source">
            <a:extLst>
              <a:ext uri="{FF2B5EF4-FFF2-40B4-BE49-F238E27FC236}">
                <a16:creationId xmlns:a16="http://schemas.microsoft.com/office/drawing/2014/main" id="{547214C8-E3AC-D266-0D32-82D90DAB7E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487488" y="6525000"/>
            <a:ext cx="9217024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grpSp>
        <p:nvGrpSpPr>
          <p:cNvPr id="192" name="Gruppieren 191">
            <a:extLst>
              <a:ext uri="{FF2B5EF4-FFF2-40B4-BE49-F238E27FC236}">
                <a16:creationId xmlns:a16="http://schemas.microsoft.com/office/drawing/2014/main" id="{949260C2-4162-CDDA-04D4-8F33F9C72029}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193" name="Rechteck 192">
              <a:extLst>
                <a:ext uri="{FF2B5EF4-FFF2-40B4-BE49-F238E27FC236}">
                  <a16:creationId xmlns:a16="http://schemas.microsoft.com/office/drawing/2014/main" id="{9D31E908-AC13-CE30-738C-83BBF4121876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4" name="Rechteck 193">
              <a:extLst>
                <a:ext uri="{FF2B5EF4-FFF2-40B4-BE49-F238E27FC236}">
                  <a16:creationId xmlns:a16="http://schemas.microsoft.com/office/drawing/2014/main" id="{20AAF0FA-C01A-3FCE-524F-71C47B470C33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5" name="Rechteck 194">
              <a:extLst>
                <a:ext uri="{FF2B5EF4-FFF2-40B4-BE49-F238E27FC236}">
                  <a16:creationId xmlns:a16="http://schemas.microsoft.com/office/drawing/2014/main" id="{8FE604F7-6C47-AE04-7E69-AFD22AED2E18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6" name="Rechteck 195">
              <a:extLst>
                <a:ext uri="{FF2B5EF4-FFF2-40B4-BE49-F238E27FC236}">
                  <a16:creationId xmlns:a16="http://schemas.microsoft.com/office/drawing/2014/main" id="{E3B5197F-4F27-FE33-8197-0D190D534409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7" name="Rechteck 196">
              <a:extLst>
                <a:ext uri="{FF2B5EF4-FFF2-40B4-BE49-F238E27FC236}">
                  <a16:creationId xmlns:a16="http://schemas.microsoft.com/office/drawing/2014/main" id="{EE9DBADE-FE14-C59D-7202-150E62B8B08E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8" name="Rechteck 197">
              <a:extLst>
                <a:ext uri="{FF2B5EF4-FFF2-40B4-BE49-F238E27FC236}">
                  <a16:creationId xmlns:a16="http://schemas.microsoft.com/office/drawing/2014/main" id="{00C1A49D-72A4-86BA-C3A4-85F64E10C39B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9" name="Rechteck 198">
              <a:extLst>
                <a:ext uri="{FF2B5EF4-FFF2-40B4-BE49-F238E27FC236}">
                  <a16:creationId xmlns:a16="http://schemas.microsoft.com/office/drawing/2014/main" id="{899A0955-6631-B3F3-C7B8-8762278FAF12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0" name="Rechteck 199">
              <a:extLst>
                <a:ext uri="{FF2B5EF4-FFF2-40B4-BE49-F238E27FC236}">
                  <a16:creationId xmlns:a16="http://schemas.microsoft.com/office/drawing/2014/main" id="{9D4C7CAB-1329-E109-215A-5F3EB42DF7C4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1" name="Rechteck 200">
              <a:extLst>
                <a:ext uri="{FF2B5EF4-FFF2-40B4-BE49-F238E27FC236}">
                  <a16:creationId xmlns:a16="http://schemas.microsoft.com/office/drawing/2014/main" id="{B44EBE6C-0818-2D6E-2CD9-59BA385FB36E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2" name="Rechteck 201">
              <a:extLst>
                <a:ext uri="{FF2B5EF4-FFF2-40B4-BE49-F238E27FC236}">
                  <a16:creationId xmlns:a16="http://schemas.microsoft.com/office/drawing/2014/main" id="{9BD77C00-CF1D-55FF-C50A-523AC1FEAC9D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3" name="Rechteck 202">
              <a:extLst>
                <a:ext uri="{FF2B5EF4-FFF2-40B4-BE49-F238E27FC236}">
                  <a16:creationId xmlns:a16="http://schemas.microsoft.com/office/drawing/2014/main" id="{4B065302-0CEB-CB69-B7AA-DF3B2F2622A1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4" name="Rechteck 203">
              <a:extLst>
                <a:ext uri="{FF2B5EF4-FFF2-40B4-BE49-F238E27FC236}">
                  <a16:creationId xmlns:a16="http://schemas.microsoft.com/office/drawing/2014/main" id="{40E30D5D-0D59-D012-1B77-D2EEA5E5F143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5" name="Rechteck 204">
              <a:extLst>
                <a:ext uri="{FF2B5EF4-FFF2-40B4-BE49-F238E27FC236}">
                  <a16:creationId xmlns:a16="http://schemas.microsoft.com/office/drawing/2014/main" id="{1B083833-5FFB-4413-4E9B-9C1C04DAB907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6" name="Rechteck 205">
              <a:extLst>
                <a:ext uri="{FF2B5EF4-FFF2-40B4-BE49-F238E27FC236}">
                  <a16:creationId xmlns:a16="http://schemas.microsoft.com/office/drawing/2014/main" id="{0A3FD212-91F0-367B-5319-EB0901068F20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7" name="Rechteck 206">
              <a:extLst>
                <a:ext uri="{FF2B5EF4-FFF2-40B4-BE49-F238E27FC236}">
                  <a16:creationId xmlns:a16="http://schemas.microsoft.com/office/drawing/2014/main" id="{31846EA9-59BF-1BC8-7750-B5F4601F2B52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508933AC-4A1C-EFD1-9196-E5E90D54B8DB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01C0B8F6-0EB6-C5D4-4053-5FE851316F07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B8198C2E-29AB-BA3B-2911-7566107BAE2E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4F24CC8B-E725-FD33-BFFC-284A79CF7B3E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5D34DF2E-3370-5D19-5D2C-4FACB98A070B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3" name="Rechteck 212">
              <a:extLst>
                <a:ext uri="{FF2B5EF4-FFF2-40B4-BE49-F238E27FC236}">
                  <a16:creationId xmlns:a16="http://schemas.microsoft.com/office/drawing/2014/main" id="{5E0E9A6E-3D67-0BC1-C395-31E1AA84567F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E00A367F-1414-39E0-5E0E-9A202FF848BE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5" name="Rechteck 214">
              <a:extLst>
                <a:ext uri="{FF2B5EF4-FFF2-40B4-BE49-F238E27FC236}">
                  <a16:creationId xmlns:a16="http://schemas.microsoft.com/office/drawing/2014/main" id="{B6B25B48-8F05-4D77-80D2-6AB40EEDE3B5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6" name="Rechteck 215">
              <a:extLst>
                <a:ext uri="{FF2B5EF4-FFF2-40B4-BE49-F238E27FC236}">
                  <a16:creationId xmlns:a16="http://schemas.microsoft.com/office/drawing/2014/main" id="{8CF2BFC8-5279-B447-683C-A6A1BD6667D5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7" name="Rechteck 216">
              <a:extLst>
                <a:ext uri="{FF2B5EF4-FFF2-40B4-BE49-F238E27FC236}">
                  <a16:creationId xmlns:a16="http://schemas.microsoft.com/office/drawing/2014/main" id="{D99810F6-77FB-A590-D1DE-A0ECBF630F97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8" name="Rechteck 217">
              <a:extLst>
                <a:ext uri="{FF2B5EF4-FFF2-40B4-BE49-F238E27FC236}">
                  <a16:creationId xmlns:a16="http://schemas.microsoft.com/office/drawing/2014/main" id="{D0A4A3BB-65E7-2B2E-DA71-A582CB0FE0A8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9" name="Rechteck 218">
              <a:extLst>
                <a:ext uri="{FF2B5EF4-FFF2-40B4-BE49-F238E27FC236}">
                  <a16:creationId xmlns:a16="http://schemas.microsoft.com/office/drawing/2014/main" id="{40C074D3-A66D-3A49-9914-87C05ACF4CE1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0" name="Rechteck 219">
              <a:extLst>
                <a:ext uri="{FF2B5EF4-FFF2-40B4-BE49-F238E27FC236}">
                  <a16:creationId xmlns:a16="http://schemas.microsoft.com/office/drawing/2014/main" id="{8DB3C210-E91A-188E-D71C-0ADE7E74A4C8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1" name="Rechteck 220">
              <a:extLst>
                <a:ext uri="{FF2B5EF4-FFF2-40B4-BE49-F238E27FC236}">
                  <a16:creationId xmlns:a16="http://schemas.microsoft.com/office/drawing/2014/main" id="{7FC83786-B161-DEFF-BE61-4B624AD023E7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2" name="Rechteck 221">
              <a:extLst>
                <a:ext uri="{FF2B5EF4-FFF2-40B4-BE49-F238E27FC236}">
                  <a16:creationId xmlns:a16="http://schemas.microsoft.com/office/drawing/2014/main" id="{5A91F7CD-6389-2F46-5E58-B72A887524A7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3" name="Rechteck 222">
              <a:extLst>
                <a:ext uri="{FF2B5EF4-FFF2-40B4-BE49-F238E27FC236}">
                  <a16:creationId xmlns:a16="http://schemas.microsoft.com/office/drawing/2014/main" id="{07EC94A4-A06F-B8C3-FA0B-3AD93DF52B7E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4" name="Rechteck 223">
              <a:extLst>
                <a:ext uri="{FF2B5EF4-FFF2-40B4-BE49-F238E27FC236}">
                  <a16:creationId xmlns:a16="http://schemas.microsoft.com/office/drawing/2014/main" id="{61CF7FBF-2901-D634-8EDD-631F3F978A1A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4ABC9F24-E672-4D29-AE4F-B35827652A25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652C8191-D897-ECB7-C5DF-A11897A4871A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7" name="Rechteck 226">
              <a:extLst>
                <a:ext uri="{FF2B5EF4-FFF2-40B4-BE49-F238E27FC236}">
                  <a16:creationId xmlns:a16="http://schemas.microsoft.com/office/drawing/2014/main" id="{D00A95CE-25B4-0674-5941-0DBC51F5FC63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77E8A66E-D4B7-A60B-3A78-7CD408F63ACD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9" name="Rechteck 228">
              <a:extLst>
                <a:ext uri="{FF2B5EF4-FFF2-40B4-BE49-F238E27FC236}">
                  <a16:creationId xmlns:a16="http://schemas.microsoft.com/office/drawing/2014/main" id="{1D194F65-E110-D636-583E-7A96CA742B02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0" name="Rechteck 229">
              <a:extLst>
                <a:ext uri="{FF2B5EF4-FFF2-40B4-BE49-F238E27FC236}">
                  <a16:creationId xmlns:a16="http://schemas.microsoft.com/office/drawing/2014/main" id="{766ED442-2E7B-9F19-041D-5098F1E68298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1" name="Rechteck 230">
              <a:extLst>
                <a:ext uri="{FF2B5EF4-FFF2-40B4-BE49-F238E27FC236}">
                  <a16:creationId xmlns:a16="http://schemas.microsoft.com/office/drawing/2014/main" id="{CDEE524D-8F9B-30BF-C101-B8214630BD20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2" name="Rechteck 231">
              <a:extLst>
                <a:ext uri="{FF2B5EF4-FFF2-40B4-BE49-F238E27FC236}">
                  <a16:creationId xmlns:a16="http://schemas.microsoft.com/office/drawing/2014/main" id="{26311126-1D8A-A6C4-AD15-C8DCE99B6D65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3" name="Rechteck 232">
              <a:extLst>
                <a:ext uri="{FF2B5EF4-FFF2-40B4-BE49-F238E27FC236}">
                  <a16:creationId xmlns:a16="http://schemas.microsoft.com/office/drawing/2014/main" id="{89757350-0705-0B2F-B24E-D694C9062196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4" name="Rechteck 233">
              <a:extLst>
                <a:ext uri="{FF2B5EF4-FFF2-40B4-BE49-F238E27FC236}">
                  <a16:creationId xmlns:a16="http://schemas.microsoft.com/office/drawing/2014/main" id="{CC9AC3AC-15F0-97BA-E5A3-B3DACE69CE57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5" name="Rechteck 234">
              <a:extLst>
                <a:ext uri="{FF2B5EF4-FFF2-40B4-BE49-F238E27FC236}">
                  <a16:creationId xmlns:a16="http://schemas.microsoft.com/office/drawing/2014/main" id="{2876760A-352C-7EA2-205A-7EF28FE84771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6" name="Rechteck 235">
              <a:extLst>
                <a:ext uri="{FF2B5EF4-FFF2-40B4-BE49-F238E27FC236}">
                  <a16:creationId xmlns:a16="http://schemas.microsoft.com/office/drawing/2014/main" id="{84C0A338-1DC5-9B09-47BF-7B148B18087F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7" name="Rechteck 236">
              <a:extLst>
                <a:ext uri="{FF2B5EF4-FFF2-40B4-BE49-F238E27FC236}">
                  <a16:creationId xmlns:a16="http://schemas.microsoft.com/office/drawing/2014/main" id="{2EDCBC3B-7137-B7B2-8B8D-077182A21221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8" name="Rechteck 237">
              <a:extLst>
                <a:ext uri="{FF2B5EF4-FFF2-40B4-BE49-F238E27FC236}">
                  <a16:creationId xmlns:a16="http://schemas.microsoft.com/office/drawing/2014/main" id="{DAE9F553-27B3-E067-1D55-AACE2211EA5B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9" name="Rechteck 238">
              <a:extLst>
                <a:ext uri="{FF2B5EF4-FFF2-40B4-BE49-F238E27FC236}">
                  <a16:creationId xmlns:a16="http://schemas.microsoft.com/office/drawing/2014/main" id="{DA43BE25-6108-FB85-C2BB-0CEEA7A26672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0" name="Rechteck 239">
              <a:extLst>
                <a:ext uri="{FF2B5EF4-FFF2-40B4-BE49-F238E27FC236}">
                  <a16:creationId xmlns:a16="http://schemas.microsoft.com/office/drawing/2014/main" id="{86D24EEA-FD77-4250-0B36-4943B903AFA8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1" name="Rechteck 240">
              <a:extLst>
                <a:ext uri="{FF2B5EF4-FFF2-40B4-BE49-F238E27FC236}">
                  <a16:creationId xmlns:a16="http://schemas.microsoft.com/office/drawing/2014/main" id="{BEE90884-A79F-E44C-79F2-2021D14228AD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2" name="Rechteck 241">
              <a:extLst>
                <a:ext uri="{FF2B5EF4-FFF2-40B4-BE49-F238E27FC236}">
                  <a16:creationId xmlns:a16="http://schemas.microsoft.com/office/drawing/2014/main" id="{99720449-DD2F-EA73-8869-29B2DB41ECDB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3" name="Rechteck 242">
              <a:extLst>
                <a:ext uri="{FF2B5EF4-FFF2-40B4-BE49-F238E27FC236}">
                  <a16:creationId xmlns:a16="http://schemas.microsoft.com/office/drawing/2014/main" id="{375337F0-7695-1599-CF97-D291B79D38B0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4" name="Rechteck 243">
              <a:extLst>
                <a:ext uri="{FF2B5EF4-FFF2-40B4-BE49-F238E27FC236}">
                  <a16:creationId xmlns:a16="http://schemas.microsoft.com/office/drawing/2014/main" id="{D1B47A09-CF24-9CE0-E7EA-46ED78A646C4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5" name="Rechteck 244">
              <a:extLst>
                <a:ext uri="{FF2B5EF4-FFF2-40B4-BE49-F238E27FC236}">
                  <a16:creationId xmlns:a16="http://schemas.microsoft.com/office/drawing/2014/main" id="{C2B582C0-6A1C-CCBC-D18A-815F33E3C956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6" name="Rechteck 245">
              <a:extLst>
                <a:ext uri="{FF2B5EF4-FFF2-40B4-BE49-F238E27FC236}">
                  <a16:creationId xmlns:a16="http://schemas.microsoft.com/office/drawing/2014/main" id="{9559B36A-F065-DC6E-028E-471CACE72BA9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7" name="Rechteck 246">
              <a:extLst>
                <a:ext uri="{FF2B5EF4-FFF2-40B4-BE49-F238E27FC236}">
                  <a16:creationId xmlns:a16="http://schemas.microsoft.com/office/drawing/2014/main" id="{F2996B77-BB42-1FAF-D151-109EB58EDD86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8" name="Rechteck 247">
              <a:extLst>
                <a:ext uri="{FF2B5EF4-FFF2-40B4-BE49-F238E27FC236}">
                  <a16:creationId xmlns:a16="http://schemas.microsoft.com/office/drawing/2014/main" id="{5A2724B1-CD76-B206-4D7B-D74D5630DFE1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9" name="Rechteck 248">
              <a:extLst>
                <a:ext uri="{FF2B5EF4-FFF2-40B4-BE49-F238E27FC236}">
                  <a16:creationId xmlns:a16="http://schemas.microsoft.com/office/drawing/2014/main" id="{A0D0E047-9746-D3EB-F29E-3D3C2F08F9B9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0" name="Rechteck 249">
              <a:extLst>
                <a:ext uri="{FF2B5EF4-FFF2-40B4-BE49-F238E27FC236}">
                  <a16:creationId xmlns:a16="http://schemas.microsoft.com/office/drawing/2014/main" id="{243F2C41-054B-E644-FF6C-2CA64B7E98E1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1" name="Rechteck 250">
              <a:extLst>
                <a:ext uri="{FF2B5EF4-FFF2-40B4-BE49-F238E27FC236}">
                  <a16:creationId xmlns:a16="http://schemas.microsoft.com/office/drawing/2014/main" id="{342E6401-215E-77EC-E0E8-B500335BF218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2" name="Rechteck 251">
              <a:extLst>
                <a:ext uri="{FF2B5EF4-FFF2-40B4-BE49-F238E27FC236}">
                  <a16:creationId xmlns:a16="http://schemas.microsoft.com/office/drawing/2014/main" id="{34809D1A-B906-EC3F-1870-44B2500C6748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3" name="Rechteck 252">
              <a:extLst>
                <a:ext uri="{FF2B5EF4-FFF2-40B4-BE49-F238E27FC236}">
                  <a16:creationId xmlns:a16="http://schemas.microsoft.com/office/drawing/2014/main" id="{D5251D58-A5B8-4272-01AD-A37A50DE42D7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4" name="Rechteck 253">
              <a:extLst>
                <a:ext uri="{FF2B5EF4-FFF2-40B4-BE49-F238E27FC236}">
                  <a16:creationId xmlns:a16="http://schemas.microsoft.com/office/drawing/2014/main" id="{CBBAF8C3-B9F4-D7AE-D961-99171B6E475D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5" name="Rechteck 254">
              <a:extLst>
                <a:ext uri="{FF2B5EF4-FFF2-40B4-BE49-F238E27FC236}">
                  <a16:creationId xmlns:a16="http://schemas.microsoft.com/office/drawing/2014/main" id="{F3EEFDE1-6439-FEC2-3547-47B51349AC28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B8884E0E-1CB7-F65B-DE10-C6AC9BA5ED74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7608BA2B-F738-E0A2-A440-605D9F207C62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C3E3ACF8-D8CC-EBA4-D262-4ECD4ECC837E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A612E483-BFE3-9200-6457-19EAECED2BF3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7753A566-FE63-5647-500C-90332DFF959F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7BB3C77A-BA76-592A-CD60-273F9888E3D8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03554EDD-BEC8-2C4D-75F6-66CD0E214E58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B8039B25-2B77-3021-3E6A-56308F936A42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84BBD9C7-B297-408D-F6E3-0C89FE7A3D24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12AFEAB5-1265-6B6D-7804-465191A3C3F6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131E627F-AD91-0DFD-D37C-97CEF1100267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5C6DFA30-9E8B-A9AF-D5FD-C6CA90129CF3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850923D4-A0C5-5A03-8A48-0ED5548FB375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E2736851-821A-D1B9-57AB-D8BD4C2E342D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0" name="Rechteck 269">
              <a:extLst>
                <a:ext uri="{FF2B5EF4-FFF2-40B4-BE49-F238E27FC236}">
                  <a16:creationId xmlns:a16="http://schemas.microsoft.com/office/drawing/2014/main" id="{453D0650-FE37-6B14-D0CA-DF3C8FD31F26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1" name="Rechteck 270">
              <a:extLst>
                <a:ext uri="{FF2B5EF4-FFF2-40B4-BE49-F238E27FC236}">
                  <a16:creationId xmlns:a16="http://schemas.microsoft.com/office/drawing/2014/main" id="{A40CC9A8-5408-F7CF-946F-0C0A8E1FBBC1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BF25D9F2-9DA2-F816-C96D-07ECDF494FF1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9" name="Rechteck 458">
              <a:extLst>
                <a:ext uri="{FF2B5EF4-FFF2-40B4-BE49-F238E27FC236}">
                  <a16:creationId xmlns:a16="http://schemas.microsoft.com/office/drawing/2014/main" id="{8647EDF6-EB9F-27DF-B6B0-BC44ACF31E23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0" name="Rechteck 459">
              <a:extLst>
                <a:ext uri="{FF2B5EF4-FFF2-40B4-BE49-F238E27FC236}">
                  <a16:creationId xmlns:a16="http://schemas.microsoft.com/office/drawing/2014/main" id="{B5E32FB7-9110-73F2-701F-BC4770282640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1" name="Rechteck 460">
              <a:extLst>
                <a:ext uri="{FF2B5EF4-FFF2-40B4-BE49-F238E27FC236}">
                  <a16:creationId xmlns:a16="http://schemas.microsoft.com/office/drawing/2014/main" id="{A12A0B9F-CF3B-1924-2783-01F439D63BD2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2" name="Rechteck 461">
              <a:extLst>
                <a:ext uri="{FF2B5EF4-FFF2-40B4-BE49-F238E27FC236}">
                  <a16:creationId xmlns:a16="http://schemas.microsoft.com/office/drawing/2014/main" id="{C8573A82-E229-C9B7-EEB1-26D461F17BE8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3" name="Rechteck 462">
              <a:extLst>
                <a:ext uri="{FF2B5EF4-FFF2-40B4-BE49-F238E27FC236}">
                  <a16:creationId xmlns:a16="http://schemas.microsoft.com/office/drawing/2014/main" id="{021F5B7E-5004-CD28-428B-8C81A1E96C30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4" name="Rechteck 463">
              <a:extLst>
                <a:ext uri="{FF2B5EF4-FFF2-40B4-BE49-F238E27FC236}">
                  <a16:creationId xmlns:a16="http://schemas.microsoft.com/office/drawing/2014/main" id="{BF1EE297-F658-6B4F-9B06-C3377015599A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5" name="Rechteck 464">
              <a:extLst>
                <a:ext uri="{FF2B5EF4-FFF2-40B4-BE49-F238E27FC236}">
                  <a16:creationId xmlns:a16="http://schemas.microsoft.com/office/drawing/2014/main" id="{9FEA1DEC-81B5-2072-465A-B9A13739AF46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6" name="Rechteck 465">
              <a:extLst>
                <a:ext uri="{FF2B5EF4-FFF2-40B4-BE49-F238E27FC236}">
                  <a16:creationId xmlns:a16="http://schemas.microsoft.com/office/drawing/2014/main" id="{014CF6E0-D2BD-5904-603D-95D75F8357A8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7" name="Rechteck 466">
              <a:extLst>
                <a:ext uri="{FF2B5EF4-FFF2-40B4-BE49-F238E27FC236}">
                  <a16:creationId xmlns:a16="http://schemas.microsoft.com/office/drawing/2014/main" id="{59061217-7A71-57CD-E42C-0E95B2AABBE1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8" name="Rechteck 467">
              <a:extLst>
                <a:ext uri="{FF2B5EF4-FFF2-40B4-BE49-F238E27FC236}">
                  <a16:creationId xmlns:a16="http://schemas.microsoft.com/office/drawing/2014/main" id="{A77AD6A1-4D8B-586E-7BC1-E539C81238A7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9" name="Rechteck 468">
              <a:extLst>
                <a:ext uri="{FF2B5EF4-FFF2-40B4-BE49-F238E27FC236}">
                  <a16:creationId xmlns:a16="http://schemas.microsoft.com/office/drawing/2014/main" id="{261451AA-DB7B-A202-B42C-DE2C516D0A21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70" name="Rechteck 469">
              <a:extLst>
                <a:ext uri="{FF2B5EF4-FFF2-40B4-BE49-F238E27FC236}">
                  <a16:creationId xmlns:a16="http://schemas.microsoft.com/office/drawing/2014/main" id="{88EA2AA8-69E8-62B4-DFA1-141E15A9A55A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71" name="Rechteck 470">
              <a:extLst>
                <a:ext uri="{FF2B5EF4-FFF2-40B4-BE49-F238E27FC236}">
                  <a16:creationId xmlns:a16="http://schemas.microsoft.com/office/drawing/2014/main" id="{603EE28F-FAFB-B06B-E0BA-8F4D0D5DDC05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72" name="Rechteck 471">
              <a:extLst>
                <a:ext uri="{FF2B5EF4-FFF2-40B4-BE49-F238E27FC236}">
                  <a16:creationId xmlns:a16="http://schemas.microsoft.com/office/drawing/2014/main" id="{46F602A7-99C7-3B9E-1C2F-DE374A2F693C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73" name="Rechteck 472">
              <a:extLst>
                <a:ext uri="{FF2B5EF4-FFF2-40B4-BE49-F238E27FC236}">
                  <a16:creationId xmlns:a16="http://schemas.microsoft.com/office/drawing/2014/main" id="{CDFD0FC5-DD93-5493-69E0-5EBB174640A5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74" name="Rechteck 473">
              <a:extLst>
                <a:ext uri="{FF2B5EF4-FFF2-40B4-BE49-F238E27FC236}">
                  <a16:creationId xmlns:a16="http://schemas.microsoft.com/office/drawing/2014/main" id="{CEAA19DC-A3F4-8BD3-E27B-2B9FF51B689D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75" name="Rechteck 474">
              <a:extLst>
                <a:ext uri="{FF2B5EF4-FFF2-40B4-BE49-F238E27FC236}">
                  <a16:creationId xmlns:a16="http://schemas.microsoft.com/office/drawing/2014/main" id="{3492F79B-E3BA-2B4B-0011-5E8E84C9E6D3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76" name="Rechteck 475">
              <a:extLst>
                <a:ext uri="{FF2B5EF4-FFF2-40B4-BE49-F238E27FC236}">
                  <a16:creationId xmlns:a16="http://schemas.microsoft.com/office/drawing/2014/main" id="{CF7CCFE7-E854-50E1-A97E-33BE808FB24A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77" name="Rechteck 476">
              <a:extLst>
                <a:ext uri="{FF2B5EF4-FFF2-40B4-BE49-F238E27FC236}">
                  <a16:creationId xmlns:a16="http://schemas.microsoft.com/office/drawing/2014/main" id="{97A3BEFC-502D-EEDC-B75D-B240F22C35EC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78" name="Rechteck 477">
              <a:extLst>
                <a:ext uri="{FF2B5EF4-FFF2-40B4-BE49-F238E27FC236}">
                  <a16:creationId xmlns:a16="http://schemas.microsoft.com/office/drawing/2014/main" id="{EEEED159-FCA5-29D0-EE46-533D56D2A5E6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79" name="Rechteck 478">
              <a:extLst>
                <a:ext uri="{FF2B5EF4-FFF2-40B4-BE49-F238E27FC236}">
                  <a16:creationId xmlns:a16="http://schemas.microsoft.com/office/drawing/2014/main" id="{C4A200AD-B838-C6A4-048B-D82FA1DEA62A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80" name="Rechteck 479">
              <a:extLst>
                <a:ext uri="{FF2B5EF4-FFF2-40B4-BE49-F238E27FC236}">
                  <a16:creationId xmlns:a16="http://schemas.microsoft.com/office/drawing/2014/main" id="{CF7EA03D-9B5A-9EE3-4C3B-41061123267C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81" name="Rechteck 480">
              <a:extLst>
                <a:ext uri="{FF2B5EF4-FFF2-40B4-BE49-F238E27FC236}">
                  <a16:creationId xmlns:a16="http://schemas.microsoft.com/office/drawing/2014/main" id="{1AE3FF5D-1839-480C-8841-ABBEBEE3DA32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82" name="Rechteck 481">
              <a:extLst>
                <a:ext uri="{FF2B5EF4-FFF2-40B4-BE49-F238E27FC236}">
                  <a16:creationId xmlns:a16="http://schemas.microsoft.com/office/drawing/2014/main" id="{A19B7920-BF63-A8DC-64F6-67EDEA3A7CD1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83" name="Rechteck 482">
              <a:extLst>
                <a:ext uri="{FF2B5EF4-FFF2-40B4-BE49-F238E27FC236}">
                  <a16:creationId xmlns:a16="http://schemas.microsoft.com/office/drawing/2014/main" id="{0D9B8CFF-27A5-55FF-42F1-24C043824E10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84" name="Rechteck 483">
              <a:extLst>
                <a:ext uri="{FF2B5EF4-FFF2-40B4-BE49-F238E27FC236}">
                  <a16:creationId xmlns:a16="http://schemas.microsoft.com/office/drawing/2014/main" id="{0DFB13EF-1879-A0E8-1B1B-D9F84798A400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85" name="Rechteck 484">
              <a:extLst>
                <a:ext uri="{FF2B5EF4-FFF2-40B4-BE49-F238E27FC236}">
                  <a16:creationId xmlns:a16="http://schemas.microsoft.com/office/drawing/2014/main" id="{BB628139-0CE5-5074-A119-125F316BD210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86" name="Rechteck 485">
              <a:extLst>
                <a:ext uri="{FF2B5EF4-FFF2-40B4-BE49-F238E27FC236}">
                  <a16:creationId xmlns:a16="http://schemas.microsoft.com/office/drawing/2014/main" id="{24498143-3850-415D-568C-D4C84F0C0F07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87" name="Rechteck 486">
              <a:extLst>
                <a:ext uri="{FF2B5EF4-FFF2-40B4-BE49-F238E27FC236}">
                  <a16:creationId xmlns:a16="http://schemas.microsoft.com/office/drawing/2014/main" id="{AAA093E8-6AD0-5E4A-A3A8-8F6CE118DC91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88" name="Rechteck 487">
              <a:extLst>
                <a:ext uri="{FF2B5EF4-FFF2-40B4-BE49-F238E27FC236}">
                  <a16:creationId xmlns:a16="http://schemas.microsoft.com/office/drawing/2014/main" id="{E4256AE1-0525-DC18-1B5D-8EA09AD496D3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89" name="Rechteck 488">
              <a:extLst>
                <a:ext uri="{FF2B5EF4-FFF2-40B4-BE49-F238E27FC236}">
                  <a16:creationId xmlns:a16="http://schemas.microsoft.com/office/drawing/2014/main" id="{B3E3220C-4EDF-CEC9-F7C3-4F2BD546A3C4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90" name="Rechteck 489">
              <a:extLst>
                <a:ext uri="{FF2B5EF4-FFF2-40B4-BE49-F238E27FC236}">
                  <a16:creationId xmlns:a16="http://schemas.microsoft.com/office/drawing/2014/main" id="{D9D81F8A-B46C-486C-F47E-1DE4B3B1B6B9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91" name="Rechteck 490">
              <a:extLst>
                <a:ext uri="{FF2B5EF4-FFF2-40B4-BE49-F238E27FC236}">
                  <a16:creationId xmlns:a16="http://schemas.microsoft.com/office/drawing/2014/main" id="{F7C31209-6951-36BA-04C8-F497983EDEBA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92" name="Rechteck 491">
              <a:extLst>
                <a:ext uri="{FF2B5EF4-FFF2-40B4-BE49-F238E27FC236}">
                  <a16:creationId xmlns:a16="http://schemas.microsoft.com/office/drawing/2014/main" id="{CBE1384E-CB01-B54D-610E-DB8977F41536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93" name="Rechteck 492">
              <a:extLst>
                <a:ext uri="{FF2B5EF4-FFF2-40B4-BE49-F238E27FC236}">
                  <a16:creationId xmlns:a16="http://schemas.microsoft.com/office/drawing/2014/main" id="{BA253E83-A257-83FF-500F-1A7E3574A295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94" name="Rechteck 493">
              <a:extLst>
                <a:ext uri="{FF2B5EF4-FFF2-40B4-BE49-F238E27FC236}">
                  <a16:creationId xmlns:a16="http://schemas.microsoft.com/office/drawing/2014/main" id="{009D11A7-8B0A-4640-6E96-0861C0E03D59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95" name="Rechteck 494">
              <a:extLst>
                <a:ext uri="{FF2B5EF4-FFF2-40B4-BE49-F238E27FC236}">
                  <a16:creationId xmlns:a16="http://schemas.microsoft.com/office/drawing/2014/main" id="{FA3F38BD-921C-0B40-18A1-E9CD3F4823F2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96" name="Rechteck 495">
              <a:extLst>
                <a:ext uri="{FF2B5EF4-FFF2-40B4-BE49-F238E27FC236}">
                  <a16:creationId xmlns:a16="http://schemas.microsoft.com/office/drawing/2014/main" id="{43FBD65F-E178-F2DC-006D-94125B6F9564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97" name="Rechteck 496">
              <a:extLst>
                <a:ext uri="{FF2B5EF4-FFF2-40B4-BE49-F238E27FC236}">
                  <a16:creationId xmlns:a16="http://schemas.microsoft.com/office/drawing/2014/main" id="{CCEFB799-3589-6658-6763-66D72AFBF943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98" name="Rechteck 497">
              <a:extLst>
                <a:ext uri="{FF2B5EF4-FFF2-40B4-BE49-F238E27FC236}">
                  <a16:creationId xmlns:a16="http://schemas.microsoft.com/office/drawing/2014/main" id="{0D5ACF09-E7CA-4E74-D52C-D3C9BF508EFF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99" name="Rechteck 498">
              <a:extLst>
                <a:ext uri="{FF2B5EF4-FFF2-40B4-BE49-F238E27FC236}">
                  <a16:creationId xmlns:a16="http://schemas.microsoft.com/office/drawing/2014/main" id="{20B67E00-17D6-D33B-BFDB-6D8AFDD0AFA1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00" name="Rechteck 499">
              <a:extLst>
                <a:ext uri="{FF2B5EF4-FFF2-40B4-BE49-F238E27FC236}">
                  <a16:creationId xmlns:a16="http://schemas.microsoft.com/office/drawing/2014/main" id="{06DB2F5B-0DC3-A8E6-62C7-6FDF709807EA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01" name="Rechteck 500">
              <a:extLst>
                <a:ext uri="{FF2B5EF4-FFF2-40B4-BE49-F238E27FC236}">
                  <a16:creationId xmlns:a16="http://schemas.microsoft.com/office/drawing/2014/main" id="{27EA7F57-ABA9-6161-210B-C266EA776DFA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02" name="Rechteck 501">
              <a:extLst>
                <a:ext uri="{FF2B5EF4-FFF2-40B4-BE49-F238E27FC236}">
                  <a16:creationId xmlns:a16="http://schemas.microsoft.com/office/drawing/2014/main" id="{B9EFC01B-F2FC-C6F5-853A-CF2D765E8881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03" name="Rechteck 502">
              <a:extLst>
                <a:ext uri="{FF2B5EF4-FFF2-40B4-BE49-F238E27FC236}">
                  <a16:creationId xmlns:a16="http://schemas.microsoft.com/office/drawing/2014/main" id="{308322A3-A640-D97E-4503-25DA5904A62A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04" name="Rechteck 503">
              <a:extLst>
                <a:ext uri="{FF2B5EF4-FFF2-40B4-BE49-F238E27FC236}">
                  <a16:creationId xmlns:a16="http://schemas.microsoft.com/office/drawing/2014/main" id="{51FAAE0B-1EEA-F1C2-1910-8850B718981F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05" name="Rechteck 504">
              <a:extLst>
                <a:ext uri="{FF2B5EF4-FFF2-40B4-BE49-F238E27FC236}">
                  <a16:creationId xmlns:a16="http://schemas.microsoft.com/office/drawing/2014/main" id="{EE18D161-C044-E487-E2ED-80C3917F9F56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06" name="Rechteck 505">
              <a:extLst>
                <a:ext uri="{FF2B5EF4-FFF2-40B4-BE49-F238E27FC236}">
                  <a16:creationId xmlns:a16="http://schemas.microsoft.com/office/drawing/2014/main" id="{2BBD7221-1933-D482-ADBB-7598FE9C19D9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07" name="Rechteck 506">
              <a:extLst>
                <a:ext uri="{FF2B5EF4-FFF2-40B4-BE49-F238E27FC236}">
                  <a16:creationId xmlns:a16="http://schemas.microsoft.com/office/drawing/2014/main" id="{172E325D-8002-9362-A731-8BF2E3F2ECCC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08" name="Rechteck 507">
              <a:extLst>
                <a:ext uri="{FF2B5EF4-FFF2-40B4-BE49-F238E27FC236}">
                  <a16:creationId xmlns:a16="http://schemas.microsoft.com/office/drawing/2014/main" id="{477F1AC2-057D-704E-56D2-99A9990B7DF5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09" name="Rechteck 508">
              <a:extLst>
                <a:ext uri="{FF2B5EF4-FFF2-40B4-BE49-F238E27FC236}">
                  <a16:creationId xmlns:a16="http://schemas.microsoft.com/office/drawing/2014/main" id="{72A67CF7-CE6B-92F2-CB27-08791F660AE4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10" name="Rechteck 509">
              <a:extLst>
                <a:ext uri="{FF2B5EF4-FFF2-40B4-BE49-F238E27FC236}">
                  <a16:creationId xmlns:a16="http://schemas.microsoft.com/office/drawing/2014/main" id="{FB1678D4-9240-7126-52F5-0382C96501B2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11" name="Rechteck 510">
              <a:extLst>
                <a:ext uri="{FF2B5EF4-FFF2-40B4-BE49-F238E27FC236}">
                  <a16:creationId xmlns:a16="http://schemas.microsoft.com/office/drawing/2014/main" id="{4985286D-AE22-BBF4-9AC3-107B37C94C2A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12" name="Rechteck 511">
              <a:extLst>
                <a:ext uri="{FF2B5EF4-FFF2-40B4-BE49-F238E27FC236}">
                  <a16:creationId xmlns:a16="http://schemas.microsoft.com/office/drawing/2014/main" id="{908AC641-E7C7-9D74-2B99-48038809163B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13" name="Rechteck 512">
              <a:extLst>
                <a:ext uri="{FF2B5EF4-FFF2-40B4-BE49-F238E27FC236}">
                  <a16:creationId xmlns:a16="http://schemas.microsoft.com/office/drawing/2014/main" id="{3C71E757-A3CA-8197-2212-70D2AF90FBD3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14" name="Rechteck 513">
              <a:extLst>
                <a:ext uri="{FF2B5EF4-FFF2-40B4-BE49-F238E27FC236}">
                  <a16:creationId xmlns:a16="http://schemas.microsoft.com/office/drawing/2014/main" id="{43EB1CEC-FAF6-5434-EAF9-6EF9E506FF5B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15" name="Rechteck 514">
              <a:extLst>
                <a:ext uri="{FF2B5EF4-FFF2-40B4-BE49-F238E27FC236}">
                  <a16:creationId xmlns:a16="http://schemas.microsoft.com/office/drawing/2014/main" id="{A9DDA3F8-6811-708E-39FD-CA8B17CBE2C8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16" name="Rechteck 515">
              <a:extLst>
                <a:ext uri="{FF2B5EF4-FFF2-40B4-BE49-F238E27FC236}">
                  <a16:creationId xmlns:a16="http://schemas.microsoft.com/office/drawing/2014/main" id="{57B7723E-3012-B75E-2CC6-C0241FABB75D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17" name="Rechteck 516">
              <a:extLst>
                <a:ext uri="{FF2B5EF4-FFF2-40B4-BE49-F238E27FC236}">
                  <a16:creationId xmlns:a16="http://schemas.microsoft.com/office/drawing/2014/main" id="{7E6D8401-2953-19F1-89B3-C735F7727D2C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18" name="Rechteck 517">
              <a:extLst>
                <a:ext uri="{FF2B5EF4-FFF2-40B4-BE49-F238E27FC236}">
                  <a16:creationId xmlns:a16="http://schemas.microsoft.com/office/drawing/2014/main" id="{033B13AB-9AD7-98BB-A344-7827DF927C2A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19" name="Rechteck 518">
              <a:extLst>
                <a:ext uri="{FF2B5EF4-FFF2-40B4-BE49-F238E27FC236}">
                  <a16:creationId xmlns:a16="http://schemas.microsoft.com/office/drawing/2014/main" id="{20605729-12A9-2CB9-4ACE-D514DC6E9368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20" name="Rechteck 519">
              <a:extLst>
                <a:ext uri="{FF2B5EF4-FFF2-40B4-BE49-F238E27FC236}">
                  <a16:creationId xmlns:a16="http://schemas.microsoft.com/office/drawing/2014/main" id="{ACF74092-BB09-EFBE-4529-FCA235996CC4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21" name="Rechteck 520">
              <a:extLst>
                <a:ext uri="{FF2B5EF4-FFF2-40B4-BE49-F238E27FC236}">
                  <a16:creationId xmlns:a16="http://schemas.microsoft.com/office/drawing/2014/main" id="{20AE6617-982D-C2CD-F2B4-7E21AFF96E16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22" name="Rechteck 521">
              <a:extLst>
                <a:ext uri="{FF2B5EF4-FFF2-40B4-BE49-F238E27FC236}">
                  <a16:creationId xmlns:a16="http://schemas.microsoft.com/office/drawing/2014/main" id="{2ACC1950-0258-0210-DEE8-0DAC2FD31920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23" name="Rechteck 522">
              <a:extLst>
                <a:ext uri="{FF2B5EF4-FFF2-40B4-BE49-F238E27FC236}">
                  <a16:creationId xmlns:a16="http://schemas.microsoft.com/office/drawing/2014/main" id="{61079C32-1884-B350-EEFA-994D958648C8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24" name="Rechteck 523">
              <a:extLst>
                <a:ext uri="{FF2B5EF4-FFF2-40B4-BE49-F238E27FC236}">
                  <a16:creationId xmlns:a16="http://schemas.microsoft.com/office/drawing/2014/main" id="{D2361CAE-2AAC-BCEB-FD3C-43DC38A10F38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25" name="Rechteck 524">
              <a:extLst>
                <a:ext uri="{FF2B5EF4-FFF2-40B4-BE49-F238E27FC236}">
                  <a16:creationId xmlns:a16="http://schemas.microsoft.com/office/drawing/2014/main" id="{D36C84BD-8512-6358-7E37-3D6DE6059854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26" name="Rechteck 525">
              <a:extLst>
                <a:ext uri="{FF2B5EF4-FFF2-40B4-BE49-F238E27FC236}">
                  <a16:creationId xmlns:a16="http://schemas.microsoft.com/office/drawing/2014/main" id="{1305DF3A-CC40-CB5D-7420-B85AF71581C9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27" name="Rechteck 526">
              <a:extLst>
                <a:ext uri="{FF2B5EF4-FFF2-40B4-BE49-F238E27FC236}">
                  <a16:creationId xmlns:a16="http://schemas.microsoft.com/office/drawing/2014/main" id="{F5922E5F-9FA7-D1EC-9B55-EEC7929507F8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28" name="Rechteck 527">
              <a:extLst>
                <a:ext uri="{FF2B5EF4-FFF2-40B4-BE49-F238E27FC236}">
                  <a16:creationId xmlns:a16="http://schemas.microsoft.com/office/drawing/2014/main" id="{AACA11C5-08C2-D923-2206-D501D927D323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29" name="Rechteck 528">
              <a:extLst>
                <a:ext uri="{FF2B5EF4-FFF2-40B4-BE49-F238E27FC236}">
                  <a16:creationId xmlns:a16="http://schemas.microsoft.com/office/drawing/2014/main" id="{4FDB394D-33BE-492D-A0E0-E5A4FDA7AAE2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30" name="Rechteck 529">
              <a:extLst>
                <a:ext uri="{FF2B5EF4-FFF2-40B4-BE49-F238E27FC236}">
                  <a16:creationId xmlns:a16="http://schemas.microsoft.com/office/drawing/2014/main" id="{194408D2-B8C5-85BA-CBB7-20B7507C42EF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31" name="Rechteck 530">
              <a:extLst>
                <a:ext uri="{FF2B5EF4-FFF2-40B4-BE49-F238E27FC236}">
                  <a16:creationId xmlns:a16="http://schemas.microsoft.com/office/drawing/2014/main" id="{0BBC13AC-85BB-3BED-33CC-C3138704E337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32" name="Rechteck 531">
              <a:extLst>
                <a:ext uri="{FF2B5EF4-FFF2-40B4-BE49-F238E27FC236}">
                  <a16:creationId xmlns:a16="http://schemas.microsoft.com/office/drawing/2014/main" id="{20381A0E-F7B5-6427-2148-FCAAA6C826A9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33" name="Rechteck 532">
              <a:extLst>
                <a:ext uri="{FF2B5EF4-FFF2-40B4-BE49-F238E27FC236}">
                  <a16:creationId xmlns:a16="http://schemas.microsoft.com/office/drawing/2014/main" id="{E82DE4E2-47B9-1845-85FA-843589EEC7F2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34" name="Rechteck 533">
              <a:extLst>
                <a:ext uri="{FF2B5EF4-FFF2-40B4-BE49-F238E27FC236}">
                  <a16:creationId xmlns:a16="http://schemas.microsoft.com/office/drawing/2014/main" id="{D5CBBC28-415B-8768-05E3-5CC7D3A45149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35" name="Rechteck 534">
              <a:extLst>
                <a:ext uri="{FF2B5EF4-FFF2-40B4-BE49-F238E27FC236}">
                  <a16:creationId xmlns:a16="http://schemas.microsoft.com/office/drawing/2014/main" id="{8F9FD9E0-F92C-0CB5-6DC3-8B04992AD80F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36" name="Rechteck 535">
              <a:extLst>
                <a:ext uri="{FF2B5EF4-FFF2-40B4-BE49-F238E27FC236}">
                  <a16:creationId xmlns:a16="http://schemas.microsoft.com/office/drawing/2014/main" id="{7CB7E2C6-4D96-1F73-8284-A36A25CB2D47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37" name="Rechteck 536">
              <a:extLst>
                <a:ext uri="{FF2B5EF4-FFF2-40B4-BE49-F238E27FC236}">
                  <a16:creationId xmlns:a16="http://schemas.microsoft.com/office/drawing/2014/main" id="{A1E3B5CB-C7DC-F49E-B734-84CB33FB7346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38" name="Rechteck 537">
              <a:extLst>
                <a:ext uri="{FF2B5EF4-FFF2-40B4-BE49-F238E27FC236}">
                  <a16:creationId xmlns:a16="http://schemas.microsoft.com/office/drawing/2014/main" id="{1FDEE753-85B8-4F4E-9773-5D33197A7846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39" name="Rechteck 538">
              <a:extLst>
                <a:ext uri="{FF2B5EF4-FFF2-40B4-BE49-F238E27FC236}">
                  <a16:creationId xmlns:a16="http://schemas.microsoft.com/office/drawing/2014/main" id="{F06064E8-A93F-57BC-154A-45E2C7F469E5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40" name="Rechteck 539">
              <a:extLst>
                <a:ext uri="{FF2B5EF4-FFF2-40B4-BE49-F238E27FC236}">
                  <a16:creationId xmlns:a16="http://schemas.microsoft.com/office/drawing/2014/main" id="{50C6B1EC-DFE3-4813-0A63-32A64AF37FFB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41" name="Rechteck 540">
              <a:extLst>
                <a:ext uri="{FF2B5EF4-FFF2-40B4-BE49-F238E27FC236}">
                  <a16:creationId xmlns:a16="http://schemas.microsoft.com/office/drawing/2014/main" id="{6E8B6CAE-FE3B-04DE-7C35-37C1E11A9ABE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42" name="Rechteck 541">
              <a:extLst>
                <a:ext uri="{FF2B5EF4-FFF2-40B4-BE49-F238E27FC236}">
                  <a16:creationId xmlns:a16="http://schemas.microsoft.com/office/drawing/2014/main" id="{EB7008BA-937A-9FF1-4806-CC0491A82A46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43" name="Rechteck 542">
              <a:extLst>
                <a:ext uri="{FF2B5EF4-FFF2-40B4-BE49-F238E27FC236}">
                  <a16:creationId xmlns:a16="http://schemas.microsoft.com/office/drawing/2014/main" id="{CA6A1E95-E1CE-4F94-4810-0FADBEFA570F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44" name="Rechteck 543">
              <a:extLst>
                <a:ext uri="{FF2B5EF4-FFF2-40B4-BE49-F238E27FC236}">
                  <a16:creationId xmlns:a16="http://schemas.microsoft.com/office/drawing/2014/main" id="{3AE3AD0A-CD9E-A331-BA64-B9F76949044F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45" name="Rechteck 544">
              <a:extLst>
                <a:ext uri="{FF2B5EF4-FFF2-40B4-BE49-F238E27FC236}">
                  <a16:creationId xmlns:a16="http://schemas.microsoft.com/office/drawing/2014/main" id="{DD33545B-A901-CC93-E31D-9346DEC6CD36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46" name="Rechteck 545">
              <a:extLst>
                <a:ext uri="{FF2B5EF4-FFF2-40B4-BE49-F238E27FC236}">
                  <a16:creationId xmlns:a16="http://schemas.microsoft.com/office/drawing/2014/main" id="{2794BC4A-B561-8916-95C6-CB81DF2E7FE5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47" name="Rechteck 546">
              <a:extLst>
                <a:ext uri="{FF2B5EF4-FFF2-40B4-BE49-F238E27FC236}">
                  <a16:creationId xmlns:a16="http://schemas.microsoft.com/office/drawing/2014/main" id="{3383573D-C47E-9CE7-5F40-8C4972F8E224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48" name="Rechteck 547">
              <a:extLst>
                <a:ext uri="{FF2B5EF4-FFF2-40B4-BE49-F238E27FC236}">
                  <a16:creationId xmlns:a16="http://schemas.microsoft.com/office/drawing/2014/main" id="{80956E66-02AC-88D6-5E1D-B06DD8A5AEC5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49" name="Rechteck 548">
              <a:extLst>
                <a:ext uri="{FF2B5EF4-FFF2-40B4-BE49-F238E27FC236}">
                  <a16:creationId xmlns:a16="http://schemas.microsoft.com/office/drawing/2014/main" id="{8E2A9702-BD3B-7433-3034-4BBF547BD666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50" name="Rechteck 549">
              <a:extLst>
                <a:ext uri="{FF2B5EF4-FFF2-40B4-BE49-F238E27FC236}">
                  <a16:creationId xmlns:a16="http://schemas.microsoft.com/office/drawing/2014/main" id="{861F774D-AA10-8C64-C299-FE0E92B46F87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51" name="Rechteck 550">
              <a:extLst>
                <a:ext uri="{FF2B5EF4-FFF2-40B4-BE49-F238E27FC236}">
                  <a16:creationId xmlns:a16="http://schemas.microsoft.com/office/drawing/2014/main" id="{09D31B6A-4ACB-FEF1-A708-833C08D6442F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52" name="Rechteck 551">
              <a:extLst>
                <a:ext uri="{FF2B5EF4-FFF2-40B4-BE49-F238E27FC236}">
                  <a16:creationId xmlns:a16="http://schemas.microsoft.com/office/drawing/2014/main" id="{D00B332D-74DE-9D32-AB10-021C9838207D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53" name="Rechteck 552">
              <a:extLst>
                <a:ext uri="{FF2B5EF4-FFF2-40B4-BE49-F238E27FC236}">
                  <a16:creationId xmlns:a16="http://schemas.microsoft.com/office/drawing/2014/main" id="{A04D55B5-2294-896D-B34D-13C8A75119B6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54" name="Rechteck 553">
              <a:extLst>
                <a:ext uri="{FF2B5EF4-FFF2-40B4-BE49-F238E27FC236}">
                  <a16:creationId xmlns:a16="http://schemas.microsoft.com/office/drawing/2014/main" id="{ECB1E7E9-31A6-3EFD-5432-9BF904657169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55" name="Rechteck 554">
              <a:extLst>
                <a:ext uri="{FF2B5EF4-FFF2-40B4-BE49-F238E27FC236}">
                  <a16:creationId xmlns:a16="http://schemas.microsoft.com/office/drawing/2014/main" id="{E26DBA41-FB48-8FBB-0A94-620722DEBB95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56" name="Rechteck 555">
              <a:extLst>
                <a:ext uri="{FF2B5EF4-FFF2-40B4-BE49-F238E27FC236}">
                  <a16:creationId xmlns:a16="http://schemas.microsoft.com/office/drawing/2014/main" id="{AF168BC8-50BA-4B0B-A4CB-668E4F16C0FB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57" name="Rechteck 556">
              <a:extLst>
                <a:ext uri="{FF2B5EF4-FFF2-40B4-BE49-F238E27FC236}">
                  <a16:creationId xmlns:a16="http://schemas.microsoft.com/office/drawing/2014/main" id="{B08DD3FE-2E9E-05CE-6FD8-D05224C4E13C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58" name="Rechteck 557">
              <a:extLst>
                <a:ext uri="{FF2B5EF4-FFF2-40B4-BE49-F238E27FC236}">
                  <a16:creationId xmlns:a16="http://schemas.microsoft.com/office/drawing/2014/main" id="{A47F7C7B-9934-5379-E01C-349EA74F5F0E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59" name="Rechteck 558">
              <a:extLst>
                <a:ext uri="{FF2B5EF4-FFF2-40B4-BE49-F238E27FC236}">
                  <a16:creationId xmlns:a16="http://schemas.microsoft.com/office/drawing/2014/main" id="{88A7EE4B-1A1D-22D7-4865-824581B7D715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0" name="Rechteck 559">
              <a:extLst>
                <a:ext uri="{FF2B5EF4-FFF2-40B4-BE49-F238E27FC236}">
                  <a16:creationId xmlns:a16="http://schemas.microsoft.com/office/drawing/2014/main" id="{1855CAAB-2855-88C7-9AF1-682ED63A8EED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1" name="Rechteck 560">
              <a:extLst>
                <a:ext uri="{FF2B5EF4-FFF2-40B4-BE49-F238E27FC236}">
                  <a16:creationId xmlns:a16="http://schemas.microsoft.com/office/drawing/2014/main" id="{B9238654-2666-E53A-003C-C23AC170A572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2" name="Rechteck 561">
              <a:extLst>
                <a:ext uri="{FF2B5EF4-FFF2-40B4-BE49-F238E27FC236}">
                  <a16:creationId xmlns:a16="http://schemas.microsoft.com/office/drawing/2014/main" id="{6EAE14D6-6634-7EC4-A15F-DD94B3190BB6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3" name="Rechteck 562">
              <a:extLst>
                <a:ext uri="{FF2B5EF4-FFF2-40B4-BE49-F238E27FC236}">
                  <a16:creationId xmlns:a16="http://schemas.microsoft.com/office/drawing/2014/main" id="{B7E8D9E3-0725-1A0F-9513-7090597EB381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4" name="Rechteck 563">
              <a:extLst>
                <a:ext uri="{FF2B5EF4-FFF2-40B4-BE49-F238E27FC236}">
                  <a16:creationId xmlns:a16="http://schemas.microsoft.com/office/drawing/2014/main" id="{EAEBB8D6-1374-3EA2-D38B-BF4273200CFA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5" name="Rechteck 564">
              <a:extLst>
                <a:ext uri="{FF2B5EF4-FFF2-40B4-BE49-F238E27FC236}">
                  <a16:creationId xmlns:a16="http://schemas.microsoft.com/office/drawing/2014/main" id="{4DA2BC1D-EF8A-D62B-2691-4D17DCD9E798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6" name="Rechteck 565">
              <a:extLst>
                <a:ext uri="{FF2B5EF4-FFF2-40B4-BE49-F238E27FC236}">
                  <a16:creationId xmlns:a16="http://schemas.microsoft.com/office/drawing/2014/main" id="{4E1C4FF8-4FFD-D953-CB69-19202F75E75F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7" name="Rechteck 566">
              <a:extLst>
                <a:ext uri="{FF2B5EF4-FFF2-40B4-BE49-F238E27FC236}">
                  <a16:creationId xmlns:a16="http://schemas.microsoft.com/office/drawing/2014/main" id="{69B49E78-1DF8-07D8-F84C-12B3D6C6A4B3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sp>
        <p:nvSpPr>
          <p:cNvPr id="570" name="Freihandform: Form 569">
            <a:extLst>
              <a:ext uri="{FF2B5EF4-FFF2-40B4-BE49-F238E27FC236}">
                <a16:creationId xmlns:a16="http://schemas.microsoft.com/office/drawing/2014/main" id="{39553E9F-89BC-7E03-F1F1-07694B54A7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1424" y="2060848"/>
            <a:ext cx="2892425" cy="2879303"/>
          </a:xfrm>
          <a:custGeom>
            <a:avLst/>
            <a:gdLst>
              <a:gd name="connsiteX0" fmla="*/ 0 w 2892425"/>
              <a:gd name="connsiteY0" fmla="*/ 0 h 2879303"/>
              <a:gd name="connsiteX1" fmla="*/ 2892425 w 2892425"/>
              <a:gd name="connsiteY1" fmla="*/ 0 h 2879303"/>
              <a:gd name="connsiteX2" fmla="*/ 2307742 w 2892425"/>
              <a:gd name="connsiteY2" fmla="*/ 2298575 h 2879303"/>
              <a:gd name="connsiteX3" fmla="*/ 0 w 2892425"/>
              <a:gd name="connsiteY3" fmla="*/ 2879303 h 2879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92425" h="2879303">
                <a:moveTo>
                  <a:pt x="0" y="0"/>
                </a:moveTo>
                <a:lnTo>
                  <a:pt x="2892425" y="0"/>
                </a:lnTo>
                <a:lnTo>
                  <a:pt x="2307742" y="2298575"/>
                </a:lnTo>
                <a:lnTo>
                  <a:pt x="0" y="2879303"/>
                </a:lnTo>
                <a:close/>
              </a:path>
            </a:pathLst>
          </a:custGeom>
          <a:solidFill>
            <a:schemeClr val="bg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de-DE" sz="1600" err="1"/>
          </a:p>
        </p:txBody>
      </p:sp>
      <p:sp>
        <p:nvSpPr>
          <p:cNvPr id="571" name="Number">
            <a:extLst>
              <a:ext uri="{FF2B5EF4-FFF2-40B4-BE49-F238E27FC236}">
                <a16:creationId xmlns:a16="http://schemas.microsoft.com/office/drawing/2014/main" id="{2C3405EF-84EB-D4A9-60CC-EEB9588F251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13259" y="2060997"/>
            <a:ext cx="2892425" cy="2879303"/>
          </a:xfrm>
          <a:custGeom>
            <a:avLst/>
            <a:gdLst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517775 w 3022600"/>
              <a:gd name="connsiteY2" fmla="*/ 2520950 h 3024187"/>
              <a:gd name="connsiteX3" fmla="*/ 0 w 3022600"/>
              <a:gd name="connsiteY3" fmla="*/ 3024187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159443 w 3022600"/>
              <a:gd name="connsiteY2" fmla="*/ 2134117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411603 w 3022600"/>
              <a:gd name="connsiteY2" fmla="*/ 2414237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2600" h="3024187">
                <a:moveTo>
                  <a:pt x="0" y="0"/>
                </a:moveTo>
                <a:lnTo>
                  <a:pt x="3022600" y="0"/>
                </a:lnTo>
                <a:lnTo>
                  <a:pt x="2411603" y="2414237"/>
                </a:lnTo>
                <a:lnTo>
                  <a:pt x="0" y="302418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 w="127">
            <a:solidFill>
              <a:srgbClr val="FFA52F">
                <a:alpha val="0"/>
              </a:srgbClr>
            </a:solidFill>
          </a:ln>
        </p:spPr>
        <p:txBody>
          <a:bodyPr wrap="square" lIns="21600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9pPr>
          </a:lstStyle>
          <a:p>
            <a:r>
              <a:rPr lang="en-GB"/>
              <a:t>00</a:t>
            </a:r>
          </a:p>
        </p:txBody>
      </p:sp>
      <p:sp>
        <p:nvSpPr>
          <p:cNvPr id="273" name="Title">
            <a:extLst>
              <a:ext uri="{FF2B5EF4-FFF2-40B4-BE49-F238E27FC236}">
                <a16:creationId xmlns:a16="http://schemas.microsoft.com/office/drawing/2014/main" id="{5045B4CF-70E9-BCFE-9B48-6605269A13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27849" y="1988995"/>
            <a:ext cx="5040000" cy="2088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36000" rIns="216000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Divider slide | Insert your headline in maximal 3 </a:t>
            </a:r>
            <a:br>
              <a:rPr lang="en-GB"/>
            </a:br>
            <a:r>
              <a:rPr lang="en-GB"/>
              <a:t>lines here</a:t>
            </a:r>
          </a:p>
        </p:txBody>
      </p:sp>
      <p:sp>
        <p:nvSpPr>
          <p:cNvPr id="274" name="Subtitle 2">
            <a:extLst>
              <a:ext uri="{FF2B5EF4-FFF2-40B4-BE49-F238E27FC236}">
                <a16:creationId xmlns:a16="http://schemas.microsoft.com/office/drawing/2014/main" id="{75DAE668-322A-0790-5244-385F9D46A8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27848" y="4076996"/>
            <a:ext cx="5040000" cy="1007999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</p:spTree>
    <p:extLst>
      <p:ext uri="{BB962C8B-B14F-4D97-AF65-F5344CB8AC3E}">
        <p14:creationId xmlns:p14="http://schemas.microsoft.com/office/powerpoint/2010/main" val="27529119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3 |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719E231-EC0C-5505-DFDA-9CF0289ABF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7942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719E231-EC0C-5505-DFDA-9CF0289ABF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3E93F41-389B-4F3F-B43E-B481EF5BFD9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7C93C7F-9E90-34FB-AAEE-B6056EB70F9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B3414605-4C7E-7388-A800-0F64FA68C78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58" name="Source">
            <a:extLst>
              <a:ext uri="{FF2B5EF4-FFF2-40B4-BE49-F238E27FC236}">
                <a16:creationId xmlns:a16="http://schemas.microsoft.com/office/drawing/2014/main" id="{9C089872-846F-2874-2B9B-70CAA1B56E5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487488" y="6525000"/>
            <a:ext cx="9217024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grpSp>
        <p:nvGrpSpPr>
          <p:cNvPr id="192" name="Gruppieren 191">
            <a:extLst>
              <a:ext uri="{FF2B5EF4-FFF2-40B4-BE49-F238E27FC236}">
                <a16:creationId xmlns:a16="http://schemas.microsoft.com/office/drawing/2014/main" id="{A84861AC-2B26-93B6-D283-D2D64D095465}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193" name="Rechteck 192">
              <a:extLst>
                <a:ext uri="{FF2B5EF4-FFF2-40B4-BE49-F238E27FC236}">
                  <a16:creationId xmlns:a16="http://schemas.microsoft.com/office/drawing/2014/main" id="{2696FF5E-BE76-2F93-9BBF-129C8F34C485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4" name="Rechteck 193">
              <a:extLst>
                <a:ext uri="{FF2B5EF4-FFF2-40B4-BE49-F238E27FC236}">
                  <a16:creationId xmlns:a16="http://schemas.microsoft.com/office/drawing/2014/main" id="{4EFC3CF4-3C23-05E8-22E1-CD689C36C852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5" name="Rechteck 194">
              <a:extLst>
                <a:ext uri="{FF2B5EF4-FFF2-40B4-BE49-F238E27FC236}">
                  <a16:creationId xmlns:a16="http://schemas.microsoft.com/office/drawing/2014/main" id="{AEFFF3B2-9AD5-5CB7-D8BE-1E096F9DFCAA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6" name="Rechteck 195">
              <a:extLst>
                <a:ext uri="{FF2B5EF4-FFF2-40B4-BE49-F238E27FC236}">
                  <a16:creationId xmlns:a16="http://schemas.microsoft.com/office/drawing/2014/main" id="{C9F19841-8696-9AFC-774D-60A52A692AA4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7" name="Rechteck 196">
              <a:extLst>
                <a:ext uri="{FF2B5EF4-FFF2-40B4-BE49-F238E27FC236}">
                  <a16:creationId xmlns:a16="http://schemas.microsoft.com/office/drawing/2014/main" id="{F31C13F0-CE7E-8244-52EC-8B3773DEED84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8" name="Rechteck 197">
              <a:extLst>
                <a:ext uri="{FF2B5EF4-FFF2-40B4-BE49-F238E27FC236}">
                  <a16:creationId xmlns:a16="http://schemas.microsoft.com/office/drawing/2014/main" id="{229308E0-E376-F3BC-BBC6-F6924B0F8664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99" name="Rechteck 198">
              <a:extLst>
                <a:ext uri="{FF2B5EF4-FFF2-40B4-BE49-F238E27FC236}">
                  <a16:creationId xmlns:a16="http://schemas.microsoft.com/office/drawing/2014/main" id="{D83300D4-1806-F851-BED9-04231F527BA7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0" name="Rechteck 199">
              <a:extLst>
                <a:ext uri="{FF2B5EF4-FFF2-40B4-BE49-F238E27FC236}">
                  <a16:creationId xmlns:a16="http://schemas.microsoft.com/office/drawing/2014/main" id="{3260414E-DB79-3102-9410-EDFFF7960A11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1" name="Rechteck 200">
              <a:extLst>
                <a:ext uri="{FF2B5EF4-FFF2-40B4-BE49-F238E27FC236}">
                  <a16:creationId xmlns:a16="http://schemas.microsoft.com/office/drawing/2014/main" id="{33EAACF7-6001-8A58-2C94-C43387FB9E45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2" name="Rechteck 201">
              <a:extLst>
                <a:ext uri="{FF2B5EF4-FFF2-40B4-BE49-F238E27FC236}">
                  <a16:creationId xmlns:a16="http://schemas.microsoft.com/office/drawing/2014/main" id="{289EDEE4-EAA7-2449-56B3-2FB8E4C99BC2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3" name="Rechteck 202">
              <a:extLst>
                <a:ext uri="{FF2B5EF4-FFF2-40B4-BE49-F238E27FC236}">
                  <a16:creationId xmlns:a16="http://schemas.microsoft.com/office/drawing/2014/main" id="{E2E83898-104A-6BDD-EF82-CC5ADABF4121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4" name="Rechteck 203">
              <a:extLst>
                <a:ext uri="{FF2B5EF4-FFF2-40B4-BE49-F238E27FC236}">
                  <a16:creationId xmlns:a16="http://schemas.microsoft.com/office/drawing/2014/main" id="{761D9B81-DB79-49A6-3FE3-FA2443A83362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5" name="Rechteck 204">
              <a:extLst>
                <a:ext uri="{FF2B5EF4-FFF2-40B4-BE49-F238E27FC236}">
                  <a16:creationId xmlns:a16="http://schemas.microsoft.com/office/drawing/2014/main" id="{A79AEA92-DA2E-CAC3-B49F-46B7662D4754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6" name="Rechteck 205">
              <a:extLst>
                <a:ext uri="{FF2B5EF4-FFF2-40B4-BE49-F238E27FC236}">
                  <a16:creationId xmlns:a16="http://schemas.microsoft.com/office/drawing/2014/main" id="{BAB536AC-4146-C212-8018-79E474A9FA88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7" name="Rechteck 206">
              <a:extLst>
                <a:ext uri="{FF2B5EF4-FFF2-40B4-BE49-F238E27FC236}">
                  <a16:creationId xmlns:a16="http://schemas.microsoft.com/office/drawing/2014/main" id="{6247A99B-FB4A-E42B-D496-D62A9398EB11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4F636693-BAF6-E1B1-38F3-E02C55F37C34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F0161D4E-31EF-5E74-ADD7-79A174231113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277B4F25-01CD-1D2D-2ADD-E94A960C78CB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1186D66B-AC1F-47A9-7AC2-CEAF38F44F20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1A411849-96AD-AFD6-CC32-CC2A01E0CFDC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3" name="Rechteck 212">
              <a:extLst>
                <a:ext uri="{FF2B5EF4-FFF2-40B4-BE49-F238E27FC236}">
                  <a16:creationId xmlns:a16="http://schemas.microsoft.com/office/drawing/2014/main" id="{3D93290D-9E5B-AA85-F09A-C207863F9B34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1E2F302-4B53-FC4A-3334-1066139F9F63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5" name="Rechteck 214">
              <a:extLst>
                <a:ext uri="{FF2B5EF4-FFF2-40B4-BE49-F238E27FC236}">
                  <a16:creationId xmlns:a16="http://schemas.microsoft.com/office/drawing/2014/main" id="{EC46E057-A631-3F7B-C45E-19A9D94D8C8B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6" name="Rechteck 215">
              <a:extLst>
                <a:ext uri="{FF2B5EF4-FFF2-40B4-BE49-F238E27FC236}">
                  <a16:creationId xmlns:a16="http://schemas.microsoft.com/office/drawing/2014/main" id="{57C2BF52-5BC4-EE1E-48E2-485ED3834DFA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7" name="Rechteck 216">
              <a:extLst>
                <a:ext uri="{FF2B5EF4-FFF2-40B4-BE49-F238E27FC236}">
                  <a16:creationId xmlns:a16="http://schemas.microsoft.com/office/drawing/2014/main" id="{0CD705A9-5D79-D0D1-1E1C-56CF7153C81F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8" name="Rechteck 217">
              <a:extLst>
                <a:ext uri="{FF2B5EF4-FFF2-40B4-BE49-F238E27FC236}">
                  <a16:creationId xmlns:a16="http://schemas.microsoft.com/office/drawing/2014/main" id="{26931B4E-7232-0A26-10C3-C15C1DE4A471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9" name="Rechteck 218">
              <a:extLst>
                <a:ext uri="{FF2B5EF4-FFF2-40B4-BE49-F238E27FC236}">
                  <a16:creationId xmlns:a16="http://schemas.microsoft.com/office/drawing/2014/main" id="{4A9F603E-D8E5-B353-21E3-22B33D10F585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0" name="Rechteck 219">
              <a:extLst>
                <a:ext uri="{FF2B5EF4-FFF2-40B4-BE49-F238E27FC236}">
                  <a16:creationId xmlns:a16="http://schemas.microsoft.com/office/drawing/2014/main" id="{BD9D65CD-E693-9726-F70C-F1391BE5A15C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1" name="Rechteck 220">
              <a:extLst>
                <a:ext uri="{FF2B5EF4-FFF2-40B4-BE49-F238E27FC236}">
                  <a16:creationId xmlns:a16="http://schemas.microsoft.com/office/drawing/2014/main" id="{CFE4226B-B3BB-418E-C504-9CFBCE4D1F28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2" name="Rechteck 221">
              <a:extLst>
                <a:ext uri="{FF2B5EF4-FFF2-40B4-BE49-F238E27FC236}">
                  <a16:creationId xmlns:a16="http://schemas.microsoft.com/office/drawing/2014/main" id="{C40159DA-9A5F-EBCE-EF32-17C1510E93CE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3" name="Rechteck 222">
              <a:extLst>
                <a:ext uri="{FF2B5EF4-FFF2-40B4-BE49-F238E27FC236}">
                  <a16:creationId xmlns:a16="http://schemas.microsoft.com/office/drawing/2014/main" id="{D317A6EC-1B91-2F25-CE30-FF95A6589E8F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4" name="Rechteck 223">
              <a:extLst>
                <a:ext uri="{FF2B5EF4-FFF2-40B4-BE49-F238E27FC236}">
                  <a16:creationId xmlns:a16="http://schemas.microsoft.com/office/drawing/2014/main" id="{E7739646-67DD-B692-AF16-182C151904E7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FCC5E8AB-DBF6-C8BF-B281-14F816B1152A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9D50852B-9390-4B31-8D0C-BCC41A8B844C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7" name="Rechteck 226">
              <a:extLst>
                <a:ext uri="{FF2B5EF4-FFF2-40B4-BE49-F238E27FC236}">
                  <a16:creationId xmlns:a16="http://schemas.microsoft.com/office/drawing/2014/main" id="{DC297F2B-14F3-E832-27B9-80DB111082E2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D8232C4F-828B-A11D-B5ED-EF5F942BF35E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9" name="Rechteck 228">
              <a:extLst>
                <a:ext uri="{FF2B5EF4-FFF2-40B4-BE49-F238E27FC236}">
                  <a16:creationId xmlns:a16="http://schemas.microsoft.com/office/drawing/2014/main" id="{D22B55AB-6DFC-6775-6EBF-9AD1A6929307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0" name="Rechteck 229">
              <a:extLst>
                <a:ext uri="{FF2B5EF4-FFF2-40B4-BE49-F238E27FC236}">
                  <a16:creationId xmlns:a16="http://schemas.microsoft.com/office/drawing/2014/main" id="{3626E252-7BB3-4CC7-D21A-404C41A61C89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1" name="Rechteck 230">
              <a:extLst>
                <a:ext uri="{FF2B5EF4-FFF2-40B4-BE49-F238E27FC236}">
                  <a16:creationId xmlns:a16="http://schemas.microsoft.com/office/drawing/2014/main" id="{F80DDC08-98CF-82F7-F618-9B0AF4C44F9A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2" name="Rechteck 231">
              <a:extLst>
                <a:ext uri="{FF2B5EF4-FFF2-40B4-BE49-F238E27FC236}">
                  <a16:creationId xmlns:a16="http://schemas.microsoft.com/office/drawing/2014/main" id="{04C92381-F4B4-8C4F-668E-6D93B8588B5F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3" name="Rechteck 232">
              <a:extLst>
                <a:ext uri="{FF2B5EF4-FFF2-40B4-BE49-F238E27FC236}">
                  <a16:creationId xmlns:a16="http://schemas.microsoft.com/office/drawing/2014/main" id="{1C6823F7-5762-03A5-2723-3F7CD4576EA8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4" name="Rechteck 233">
              <a:extLst>
                <a:ext uri="{FF2B5EF4-FFF2-40B4-BE49-F238E27FC236}">
                  <a16:creationId xmlns:a16="http://schemas.microsoft.com/office/drawing/2014/main" id="{44EDE5F7-9161-D02E-B545-5A2DACC2A7E4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5" name="Rechteck 234">
              <a:extLst>
                <a:ext uri="{FF2B5EF4-FFF2-40B4-BE49-F238E27FC236}">
                  <a16:creationId xmlns:a16="http://schemas.microsoft.com/office/drawing/2014/main" id="{A7D264A9-CC7A-654B-0FF8-6749F4D6D970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6" name="Rechteck 235">
              <a:extLst>
                <a:ext uri="{FF2B5EF4-FFF2-40B4-BE49-F238E27FC236}">
                  <a16:creationId xmlns:a16="http://schemas.microsoft.com/office/drawing/2014/main" id="{B35A4750-8535-2ABF-59FB-C7806C7B7279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7" name="Rechteck 236">
              <a:extLst>
                <a:ext uri="{FF2B5EF4-FFF2-40B4-BE49-F238E27FC236}">
                  <a16:creationId xmlns:a16="http://schemas.microsoft.com/office/drawing/2014/main" id="{0D40B982-BEED-C7EB-DD0C-12683D687350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8" name="Rechteck 237">
              <a:extLst>
                <a:ext uri="{FF2B5EF4-FFF2-40B4-BE49-F238E27FC236}">
                  <a16:creationId xmlns:a16="http://schemas.microsoft.com/office/drawing/2014/main" id="{90FB0832-C658-9359-B95D-F16018C7FE5B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9" name="Rechteck 238">
              <a:extLst>
                <a:ext uri="{FF2B5EF4-FFF2-40B4-BE49-F238E27FC236}">
                  <a16:creationId xmlns:a16="http://schemas.microsoft.com/office/drawing/2014/main" id="{DDD6B419-263F-F9E6-6B41-39D03F6D0014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0" name="Rechteck 239">
              <a:extLst>
                <a:ext uri="{FF2B5EF4-FFF2-40B4-BE49-F238E27FC236}">
                  <a16:creationId xmlns:a16="http://schemas.microsoft.com/office/drawing/2014/main" id="{A9EC44BF-0436-3828-7DCA-D2E2ECDFE36B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1" name="Rechteck 240">
              <a:extLst>
                <a:ext uri="{FF2B5EF4-FFF2-40B4-BE49-F238E27FC236}">
                  <a16:creationId xmlns:a16="http://schemas.microsoft.com/office/drawing/2014/main" id="{23FC142A-22F2-10CF-059C-B0A11AB28318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2" name="Rechteck 241">
              <a:extLst>
                <a:ext uri="{FF2B5EF4-FFF2-40B4-BE49-F238E27FC236}">
                  <a16:creationId xmlns:a16="http://schemas.microsoft.com/office/drawing/2014/main" id="{EE239627-F512-B3D5-9CAF-762BE89AEF6C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3" name="Rechteck 242">
              <a:extLst>
                <a:ext uri="{FF2B5EF4-FFF2-40B4-BE49-F238E27FC236}">
                  <a16:creationId xmlns:a16="http://schemas.microsoft.com/office/drawing/2014/main" id="{FD54EC84-18F0-CBAF-E19C-36E1ED52A948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4" name="Rechteck 243">
              <a:extLst>
                <a:ext uri="{FF2B5EF4-FFF2-40B4-BE49-F238E27FC236}">
                  <a16:creationId xmlns:a16="http://schemas.microsoft.com/office/drawing/2014/main" id="{4EAB5FE2-9EF6-66CC-1F0F-A8FCDB59026D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5" name="Rechteck 244">
              <a:extLst>
                <a:ext uri="{FF2B5EF4-FFF2-40B4-BE49-F238E27FC236}">
                  <a16:creationId xmlns:a16="http://schemas.microsoft.com/office/drawing/2014/main" id="{86D5373E-C038-3F66-AD1C-B8FFC26A2ABF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6" name="Rechteck 245">
              <a:extLst>
                <a:ext uri="{FF2B5EF4-FFF2-40B4-BE49-F238E27FC236}">
                  <a16:creationId xmlns:a16="http://schemas.microsoft.com/office/drawing/2014/main" id="{02E8EF78-0091-7784-B881-BC1A23420813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7" name="Rechteck 246">
              <a:extLst>
                <a:ext uri="{FF2B5EF4-FFF2-40B4-BE49-F238E27FC236}">
                  <a16:creationId xmlns:a16="http://schemas.microsoft.com/office/drawing/2014/main" id="{CB7B9BFA-E95A-27AA-9463-EC3C6B1D6758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8" name="Rechteck 247">
              <a:extLst>
                <a:ext uri="{FF2B5EF4-FFF2-40B4-BE49-F238E27FC236}">
                  <a16:creationId xmlns:a16="http://schemas.microsoft.com/office/drawing/2014/main" id="{1D6C93E2-5932-BC1C-2BC0-22F2F84A9446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9" name="Rechteck 248">
              <a:extLst>
                <a:ext uri="{FF2B5EF4-FFF2-40B4-BE49-F238E27FC236}">
                  <a16:creationId xmlns:a16="http://schemas.microsoft.com/office/drawing/2014/main" id="{FF08CD82-7101-4ECD-29FD-877BB615399D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0" name="Rechteck 249">
              <a:extLst>
                <a:ext uri="{FF2B5EF4-FFF2-40B4-BE49-F238E27FC236}">
                  <a16:creationId xmlns:a16="http://schemas.microsoft.com/office/drawing/2014/main" id="{FC916C93-578E-0611-4900-C744BC336FAB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1" name="Rechteck 250">
              <a:extLst>
                <a:ext uri="{FF2B5EF4-FFF2-40B4-BE49-F238E27FC236}">
                  <a16:creationId xmlns:a16="http://schemas.microsoft.com/office/drawing/2014/main" id="{D969A920-1533-9986-55B2-40CBF9ABA070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2" name="Rechteck 251">
              <a:extLst>
                <a:ext uri="{FF2B5EF4-FFF2-40B4-BE49-F238E27FC236}">
                  <a16:creationId xmlns:a16="http://schemas.microsoft.com/office/drawing/2014/main" id="{926394EF-81DA-A14C-AA54-3E81AE9A3058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3" name="Rechteck 252">
              <a:extLst>
                <a:ext uri="{FF2B5EF4-FFF2-40B4-BE49-F238E27FC236}">
                  <a16:creationId xmlns:a16="http://schemas.microsoft.com/office/drawing/2014/main" id="{DA978E9C-ECCC-D03D-517E-F0BF49C069F4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4" name="Rechteck 253">
              <a:extLst>
                <a:ext uri="{FF2B5EF4-FFF2-40B4-BE49-F238E27FC236}">
                  <a16:creationId xmlns:a16="http://schemas.microsoft.com/office/drawing/2014/main" id="{E7F01950-38D7-BF8A-F941-A5D81D410489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5" name="Rechteck 254">
              <a:extLst>
                <a:ext uri="{FF2B5EF4-FFF2-40B4-BE49-F238E27FC236}">
                  <a16:creationId xmlns:a16="http://schemas.microsoft.com/office/drawing/2014/main" id="{C8EC1E2C-4083-B5FE-88AB-CB1AA5A483DE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C1FCA7FD-177E-E499-2BFB-B2399902C12B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F0AB7CC3-F6B6-B8E8-6482-8FC8149FC8E6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4A34D919-2D4F-8BD3-7D28-AC0EDB485743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2C17866B-673D-B8E5-DEC9-2E15E11CD663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6A151901-8C1C-26D1-8F7C-5B0C9A6DAE70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CDB6E56F-22E8-4424-AFB8-C2E40CE59429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DB8CF013-4D62-41D5-301F-CE520B33A100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BC7F594D-B25F-1766-4549-75C81D8F1893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43A04AFB-B62D-2BDB-4A24-21AECCC5088E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0F2061B7-F7BA-7460-5609-A9D4747B8786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C90051ED-9C72-900C-5865-4D6351555A04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DF453489-B67D-135C-42B5-7F238203118B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42214A48-196D-26EA-2366-46EBA7BF8A0B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2FE59AB8-A5CA-2862-079D-433A68F75E64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0" name="Rechteck 269">
              <a:extLst>
                <a:ext uri="{FF2B5EF4-FFF2-40B4-BE49-F238E27FC236}">
                  <a16:creationId xmlns:a16="http://schemas.microsoft.com/office/drawing/2014/main" id="{2A90BFFC-627C-A93E-9E3D-47EF50212615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1" name="Rechteck 270">
              <a:extLst>
                <a:ext uri="{FF2B5EF4-FFF2-40B4-BE49-F238E27FC236}">
                  <a16:creationId xmlns:a16="http://schemas.microsoft.com/office/drawing/2014/main" id="{7E31F949-E82F-6F25-F284-B760387B0A57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AF43D47F-9E7D-2235-88EC-038E7829ADBD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59" name="Rechteck 458">
              <a:extLst>
                <a:ext uri="{FF2B5EF4-FFF2-40B4-BE49-F238E27FC236}">
                  <a16:creationId xmlns:a16="http://schemas.microsoft.com/office/drawing/2014/main" id="{D23415BE-14E0-858F-394B-7BD0B4E8A249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0" name="Rechteck 459">
              <a:extLst>
                <a:ext uri="{FF2B5EF4-FFF2-40B4-BE49-F238E27FC236}">
                  <a16:creationId xmlns:a16="http://schemas.microsoft.com/office/drawing/2014/main" id="{289DAA57-4C8D-2B5D-CFD5-0128CA917CC5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1" name="Rechteck 460">
              <a:extLst>
                <a:ext uri="{FF2B5EF4-FFF2-40B4-BE49-F238E27FC236}">
                  <a16:creationId xmlns:a16="http://schemas.microsoft.com/office/drawing/2014/main" id="{0CD28E10-A184-A634-2079-D65381DB7390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2" name="Rechteck 461">
              <a:extLst>
                <a:ext uri="{FF2B5EF4-FFF2-40B4-BE49-F238E27FC236}">
                  <a16:creationId xmlns:a16="http://schemas.microsoft.com/office/drawing/2014/main" id="{11A5A6AD-3EDE-F2A3-19A8-4C4C1C99C7B8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3" name="Rechteck 462">
              <a:extLst>
                <a:ext uri="{FF2B5EF4-FFF2-40B4-BE49-F238E27FC236}">
                  <a16:creationId xmlns:a16="http://schemas.microsoft.com/office/drawing/2014/main" id="{E5F87B1D-4CB0-4F76-C097-6C0A2C16DF9D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4" name="Rechteck 463">
              <a:extLst>
                <a:ext uri="{FF2B5EF4-FFF2-40B4-BE49-F238E27FC236}">
                  <a16:creationId xmlns:a16="http://schemas.microsoft.com/office/drawing/2014/main" id="{6BE4EF4E-F062-69A0-649F-637AB8EFEAFF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5" name="Rechteck 464">
              <a:extLst>
                <a:ext uri="{FF2B5EF4-FFF2-40B4-BE49-F238E27FC236}">
                  <a16:creationId xmlns:a16="http://schemas.microsoft.com/office/drawing/2014/main" id="{F8AAFD1B-3754-019C-8AE5-9CA5A467371A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6" name="Rechteck 465">
              <a:extLst>
                <a:ext uri="{FF2B5EF4-FFF2-40B4-BE49-F238E27FC236}">
                  <a16:creationId xmlns:a16="http://schemas.microsoft.com/office/drawing/2014/main" id="{849AFDF4-82DF-482C-C69F-8AF5DC1E91C4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7" name="Rechteck 466">
              <a:extLst>
                <a:ext uri="{FF2B5EF4-FFF2-40B4-BE49-F238E27FC236}">
                  <a16:creationId xmlns:a16="http://schemas.microsoft.com/office/drawing/2014/main" id="{40CAC516-6F4E-9A93-11F8-BF50262F2FE7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8" name="Rechteck 467">
              <a:extLst>
                <a:ext uri="{FF2B5EF4-FFF2-40B4-BE49-F238E27FC236}">
                  <a16:creationId xmlns:a16="http://schemas.microsoft.com/office/drawing/2014/main" id="{FFEF8369-67DA-A04A-7481-2E7B0AB3A5DD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69" name="Rechteck 468">
              <a:extLst>
                <a:ext uri="{FF2B5EF4-FFF2-40B4-BE49-F238E27FC236}">
                  <a16:creationId xmlns:a16="http://schemas.microsoft.com/office/drawing/2014/main" id="{208D5752-6000-545F-DB4D-46438F8D9829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70" name="Rechteck 469">
              <a:extLst>
                <a:ext uri="{FF2B5EF4-FFF2-40B4-BE49-F238E27FC236}">
                  <a16:creationId xmlns:a16="http://schemas.microsoft.com/office/drawing/2014/main" id="{F6C9CD63-06EB-9AC5-96CD-9813A352D96E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71" name="Rechteck 470">
              <a:extLst>
                <a:ext uri="{FF2B5EF4-FFF2-40B4-BE49-F238E27FC236}">
                  <a16:creationId xmlns:a16="http://schemas.microsoft.com/office/drawing/2014/main" id="{C974F452-D8D6-9CF6-9223-9FA34AEC75DB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72" name="Rechteck 471">
              <a:extLst>
                <a:ext uri="{FF2B5EF4-FFF2-40B4-BE49-F238E27FC236}">
                  <a16:creationId xmlns:a16="http://schemas.microsoft.com/office/drawing/2014/main" id="{B52B6307-A3BB-71E8-76D0-5134C9510BEB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73" name="Rechteck 472">
              <a:extLst>
                <a:ext uri="{FF2B5EF4-FFF2-40B4-BE49-F238E27FC236}">
                  <a16:creationId xmlns:a16="http://schemas.microsoft.com/office/drawing/2014/main" id="{2ED0692E-2D67-D54F-9B49-47DB89A8B97D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74" name="Rechteck 473">
              <a:extLst>
                <a:ext uri="{FF2B5EF4-FFF2-40B4-BE49-F238E27FC236}">
                  <a16:creationId xmlns:a16="http://schemas.microsoft.com/office/drawing/2014/main" id="{AE447DD3-2E2E-8E56-B653-23AEECD14AD8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75" name="Rechteck 474">
              <a:extLst>
                <a:ext uri="{FF2B5EF4-FFF2-40B4-BE49-F238E27FC236}">
                  <a16:creationId xmlns:a16="http://schemas.microsoft.com/office/drawing/2014/main" id="{11769375-6C25-628B-75BD-9CF79D466454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76" name="Rechteck 475">
              <a:extLst>
                <a:ext uri="{FF2B5EF4-FFF2-40B4-BE49-F238E27FC236}">
                  <a16:creationId xmlns:a16="http://schemas.microsoft.com/office/drawing/2014/main" id="{80B8FC5D-EC69-94B6-129D-C4CB49AEC2AF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77" name="Rechteck 476">
              <a:extLst>
                <a:ext uri="{FF2B5EF4-FFF2-40B4-BE49-F238E27FC236}">
                  <a16:creationId xmlns:a16="http://schemas.microsoft.com/office/drawing/2014/main" id="{EA37455C-48DD-877D-033E-76B8A28FB091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78" name="Rechteck 477">
              <a:extLst>
                <a:ext uri="{FF2B5EF4-FFF2-40B4-BE49-F238E27FC236}">
                  <a16:creationId xmlns:a16="http://schemas.microsoft.com/office/drawing/2014/main" id="{B184EE41-DD20-E4B3-9F69-CD4F3A420DA0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79" name="Rechteck 478">
              <a:extLst>
                <a:ext uri="{FF2B5EF4-FFF2-40B4-BE49-F238E27FC236}">
                  <a16:creationId xmlns:a16="http://schemas.microsoft.com/office/drawing/2014/main" id="{20D78F29-48E5-3B50-16A9-5E34CAF3DADA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80" name="Rechteck 479">
              <a:extLst>
                <a:ext uri="{FF2B5EF4-FFF2-40B4-BE49-F238E27FC236}">
                  <a16:creationId xmlns:a16="http://schemas.microsoft.com/office/drawing/2014/main" id="{053886A5-8947-57CE-4160-E464C22C784D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81" name="Rechteck 480">
              <a:extLst>
                <a:ext uri="{FF2B5EF4-FFF2-40B4-BE49-F238E27FC236}">
                  <a16:creationId xmlns:a16="http://schemas.microsoft.com/office/drawing/2014/main" id="{00F688FD-206B-1F27-BBC2-9ED9A3AF0595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82" name="Rechteck 481">
              <a:extLst>
                <a:ext uri="{FF2B5EF4-FFF2-40B4-BE49-F238E27FC236}">
                  <a16:creationId xmlns:a16="http://schemas.microsoft.com/office/drawing/2014/main" id="{D7BB1DC8-F5DA-4DEB-9ED8-F3EB352911E7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83" name="Rechteck 482">
              <a:extLst>
                <a:ext uri="{FF2B5EF4-FFF2-40B4-BE49-F238E27FC236}">
                  <a16:creationId xmlns:a16="http://schemas.microsoft.com/office/drawing/2014/main" id="{1D86D91B-DB41-217C-6A1A-0DA8B9495BB6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84" name="Rechteck 483">
              <a:extLst>
                <a:ext uri="{FF2B5EF4-FFF2-40B4-BE49-F238E27FC236}">
                  <a16:creationId xmlns:a16="http://schemas.microsoft.com/office/drawing/2014/main" id="{7A33080D-225A-B681-FA0B-89A2768988B0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85" name="Rechteck 484">
              <a:extLst>
                <a:ext uri="{FF2B5EF4-FFF2-40B4-BE49-F238E27FC236}">
                  <a16:creationId xmlns:a16="http://schemas.microsoft.com/office/drawing/2014/main" id="{24F5A31D-8BE4-3D4C-BAA7-DE24120C62DD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86" name="Rechteck 485">
              <a:extLst>
                <a:ext uri="{FF2B5EF4-FFF2-40B4-BE49-F238E27FC236}">
                  <a16:creationId xmlns:a16="http://schemas.microsoft.com/office/drawing/2014/main" id="{8260334D-EB89-A156-5AF1-65156BAE970B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87" name="Rechteck 486">
              <a:extLst>
                <a:ext uri="{FF2B5EF4-FFF2-40B4-BE49-F238E27FC236}">
                  <a16:creationId xmlns:a16="http://schemas.microsoft.com/office/drawing/2014/main" id="{1A0510F5-B135-9731-26CC-0AF945138976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88" name="Rechteck 487">
              <a:extLst>
                <a:ext uri="{FF2B5EF4-FFF2-40B4-BE49-F238E27FC236}">
                  <a16:creationId xmlns:a16="http://schemas.microsoft.com/office/drawing/2014/main" id="{4EDA5661-3E25-3238-3D26-956F613CA7D4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89" name="Rechteck 488">
              <a:extLst>
                <a:ext uri="{FF2B5EF4-FFF2-40B4-BE49-F238E27FC236}">
                  <a16:creationId xmlns:a16="http://schemas.microsoft.com/office/drawing/2014/main" id="{84FDA7D9-179B-B666-C826-2E6B7543F37F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90" name="Rechteck 489">
              <a:extLst>
                <a:ext uri="{FF2B5EF4-FFF2-40B4-BE49-F238E27FC236}">
                  <a16:creationId xmlns:a16="http://schemas.microsoft.com/office/drawing/2014/main" id="{BFD8FB46-9C4A-F813-9538-9C184CE440FB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91" name="Rechteck 490">
              <a:extLst>
                <a:ext uri="{FF2B5EF4-FFF2-40B4-BE49-F238E27FC236}">
                  <a16:creationId xmlns:a16="http://schemas.microsoft.com/office/drawing/2014/main" id="{4ED2AFC9-729B-2D6B-D587-FE15CA630E5F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92" name="Rechteck 491">
              <a:extLst>
                <a:ext uri="{FF2B5EF4-FFF2-40B4-BE49-F238E27FC236}">
                  <a16:creationId xmlns:a16="http://schemas.microsoft.com/office/drawing/2014/main" id="{88F3F1CE-4ACC-6A47-E629-C472C715B092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93" name="Rechteck 492">
              <a:extLst>
                <a:ext uri="{FF2B5EF4-FFF2-40B4-BE49-F238E27FC236}">
                  <a16:creationId xmlns:a16="http://schemas.microsoft.com/office/drawing/2014/main" id="{E332CED7-223A-2B3A-C8D3-C4395A4C50D0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94" name="Rechteck 493">
              <a:extLst>
                <a:ext uri="{FF2B5EF4-FFF2-40B4-BE49-F238E27FC236}">
                  <a16:creationId xmlns:a16="http://schemas.microsoft.com/office/drawing/2014/main" id="{5062DF14-1215-03B5-DFB7-B2F2B7ACF270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95" name="Rechteck 494">
              <a:extLst>
                <a:ext uri="{FF2B5EF4-FFF2-40B4-BE49-F238E27FC236}">
                  <a16:creationId xmlns:a16="http://schemas.microsoft.com/office/drawing/2014/main" id="{CF0EE141-10FB-200A-4E5E-B632D045D969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96" name="Rechteck 495">
              <a:extLst>
                <a:ext uri="{FF2B5EF4-FFF2-40B4-BE49-F238E27FC236}">
                  <a16:creationId xmlns:a16="http://schemas.microsoft.com/office/drawing/2014/main" id="{A025D08E-9F12-F22D-9EFE-BCFB0BBCD5C4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97" name="Rechteck 496">
              <a:extLst>
                <a:ext uri="{FF2B5EF4-FFF2-40B4-BE49-F238E27FC236}">
                  <a16:creationId xmlns:a16="http://schemas.microsoft.com/office/drawing/2014/main" id="{71324948-50C5-0C50-3D81-3566BE1F71BC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98" name="Rechteck 497">
              <a:extLst>
                <a:ext uri="{FF2B5EF4-FFF2-40B4-BE49-F238E27FC236}">
                  <a16:creationId xmlns:a16="http://schemas.microsoft.com/office/drawing/2014/main" id="{3A0FDE95-6524-F2D7-A2E8-E15D5A48DB65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99" name="Rechteck 498">
              <a:extLst>
                <a:ext uri="{FF2B5EF4-FFF2-40B4-BE49-F238E27FC236}">
                  <a16:creationId xmlns:a16="http://schemas.microsoft.com/office/drawing/2014/main" id="{09E6DF47-8422-15B2-C550-009FB9727298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00" name="Rechteck 499">
              <a:extLst>
                <a:ext uri="{FF2B5EF4-FFF2-40B4-BE49-F238E27FC236}">
                  <a16:creationId xmlns:a16="http://schemas.microsoft.com/office/drawing/2014/main" id="{C59BA8B7-B81E-EF63-EDCB-E8E6BF42BC21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01" name="Rechteck 500">
              <a:extLst>
                <a:ext uri="{FF2B5EF4-FFF2-40B4-BE49-F238E27FC236}">
                  <a16:creationId xmlns:a16="http://schemas.microsoft.com/office/drawing/2014/main" id="{36C56416-D6F5-9389-45EA-2C404A019BEA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02" name="Rechteck 501">
              <a:extLst>
                <a:ext uri="{FF2B5EF4-FFF2-40B4-BE49-F238E27FC236}">
                  <a16:creationId xmlns:a16="http://schemas.microsoft.com/office/drawing/2014/main" id="{79CFF5DD-BD08-E403-8A12-23FB09D56AA7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03" name="Rechteck 502">
              <a:extLst>
                <a:ext uri="{FF2B5EF4-FFF2-40B4-BE49-F238E27FC236}">
                  <a16:creationId xmlns:a16="http://schemas.microsoft.com/office/drawing/2014/main" id="{A4E96681-D15D-D45A-C0A8-3AAC1FE8EC32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04" name="Rechteck 503">
              <a:extLst>
                <a:ext uri="{FF2B5EF4-FFF2-40B4-BE49-F238E27FC236}">
                  <a16:creationId xmlns:a16="http://schemas.microsoft.com/office/drawing/2014/main" id="{EF3A4893-72BE-E1A4-E7A8-1E5E1E8BBD7A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05" name="Rechteck 504">
              <a:extLst>
                <a:ext uri="{FF2B5EF4-FFF2-40B4-BE49-F238E27FC236}">
                  <a16:creationId xmlns:a16="http://schemas.microsoft.com/office/drawing/2014/main" id="{F0C0718B-1243-1E1B-5C31-E57B256AF4DB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06" name="Rechteck 505">
              <a:extLst>
                <a:ext uri="{FF2B5EF4-FFF2-40B4-BE49-F238E27FC236}">
                  <a16:creationId xmlns:a16="http://schemas.microsoft.com/office/drawing/2014/main" id="{D6945107-C5B5-EC06-DA93-4F9D71E9158B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07" name="Rechteck 506">
              <a:extLst>
                <a:ext uri="{FF2B5EF4-FFF2-40B4-BE49-F238E27FC236}">
                  <a16:creationId xmlns:a16="http://schemas.microsoft.com/office/drawing/2014/main" id="{38578740-A4C3-583A-3C62-747BE26BAF95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08" name="Rechteck 507">
              <a:extLst>
                <a:ext uri="{FF2B5EF4-FFF2-40B4-BE49-F238E27FC236}">
                  <a16:creationId xmlns:a16="http://schemas.microsoft.com/office/drawing/2014/main" id="{4916CCCC-2614-E30D-462A-C20B1D60272B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09" name="Rechteck 508">
              <a:extLst>
                <a:ext uri="{FF2B5EF4-FFF2-40B4-BE49-F238E27FC236}">
                  <a16:creationId xmlns:a16="http://schemas.microsoft.com/office/drawing/2014/main" id="{E308DA26-B717-2EF0-7E88-FCDEA484010B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10" name="Rechteck 509">
              <a:extLst>
                <a:ext uri="{FF2B5EF4-FFF2-40B4-BE49-F238E27FC236}">
                  <a16:creationId xmlns:a16="http://schemas.microsoft.com/office/drawing/2014/main" id="{7586CB40-A2AC-D75F-C74B-7BBF7A7E4DAA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11" name="Rechteck 510">
              <a:extLst>
                <a:ext uri="{FF2B5EF4-FFF2-40B4-BE49-F238E27FC236}">
                  <a16:creationId xmlns:a16="http://schemas.microsoft.com/office/drawing/2014/main" id="{C8F8097C-0ADD-C0B5-FE2A-F469E217ECAA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12" name="Rechteck 511">
              <a:extLst>
                <a:ext uri="{FF2B5EF4-FFF2-40B4-BE49-F238E27FC236}">
                  <a16:creationId xmlns:a16="http://schemas.microsoft.com/office/drawing/2014/main" id="{3704B544-AF10-C9C7-E476-B15E03E4349C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13" name="Rechteck 512">
              <a:extLst>
                <a:ext uri="{FF2B5EF4-FFF2-40B4-BE49-F238E27FC236}">
                  <a16:creationId xmlns:a16="http://schemas.microsoft.com/office/drawing/2014/main" id="{5CFF3EA5-0391-789F-A3C6-6F040FD560A0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14" name="Rechteck 513">
              <a:extLst>
                <a:ext uri="{FF2B5EF4-FFF2-40B4-BE49-F238E27FC236}">
                  <a16:creationId xmlns:a16="http://schemas.microsoft.com/office/drawing/2014/main" id="{C0E31FA7-FCF1-6701-6494-FFD017E4F277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15" name="Rechteck 514">
              <a:extLst>
                <a:ext uri="{FF2B5EF4-FFF2-40B4-BE49-F238E27FC236}">
                  <a16:creationId xmlns:a16="http://schemas.microsoft.com/office/drawing/2014/main" id="{6A176DB0-D43A-AEB8-205B-8ECC6A6C4FA2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16" name="Rechteck 515">
              <a:extLst>
                <a:ext uri="{FF2B5EF4-FFF2-40B4-BE49-F238E27FC236}">
                  <a16:creationId xmlns:a16="http://schemas.microsoft.com/office/drawing/2014/main" id="{8AB12E84-C8A6-DD90-63E2-73E4E5ED7137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17" name="Rechteck 516">
              <a:extLst>
                <a:ext uri="{FF2B5EF4-FFF2-40B4-BE49-F238E27FC236}">
                  <a16:creationId xmlns:a16="http://schemas.microsoft.com/office/drawing/2014/main" id="{B99F2997-078D-A357-B5C7-94B3A528054E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18" name="Rechteck 517">
              <a:extLst>
                <a:ext uri="{FF2B5EF4-FFF2-40B4-BE49-F238E27FC236}">
                  <a16:creationId xmlns:a16="http://schemas.microsoft.com/office/drawing/2014/main" id="{5497181A-4DCD-1C1E-0F58-3C2ED214B8D8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19" name="Rechteck 518">
              <a:extLst>
                <a:ext uri="{FF2B5EF4-FFF2-40B4-BE49-F238E27FC236}">
                  <a16:creationId xmlns:a16="http://schemas.microsoft.com/office/drawing/2014/main" id="{8EE2C80D-A68E-F8AF-D662-8D91C920F84E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20" name="Rechteck 519">
              <a:extLst>
                <a:ext uri="{FF2B5EF4-FFF2-40B4-BE49-F238E27FC236}">
                  <a16:creationId xmlns:a16="http://schemas.microsoft.com/office/drawing/2014/main" id="{96EB1FE4-4EF7-123F-74A1-BE14993F42FF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21" name="Rechteck 520">
              <a:extLst>
                <a:ext uri="{FF2B5EF4-FFF2-40B4-BE49-F238E27FC236}">
                  <a16:creationId xmlns:a16="http://schemas.microsoft.com/office/drawing/2014/main" id="{E99CB62B-BB39-0128-1A41-56D0B5BCA1D1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22" name="Rechteck 521">
              <a:extLst>
                <a:ext uri="{FF2B5EF4-FFF2-40B4-BE49-F238E27FC236}">
                  <a16:creationId xmlns:a16="http://schemas.microsoft.com/office/drawing/2014/main" id="{C7F4E707-206E-442B-0617-25B78FEB635C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23" name="Rechteck 522">
              <a:extLst>
                <a:ext uri="{FF2B5EF4-FFF2-40B4-BE49-F238E27FC236}">
                  <a16:creationId xmlns:a16="http://schemas.microsoft.com/office/drawing/2014/main" id="{DAE7D44E-4947-356E-57FC-5FF18F48E83F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24" name="Rechteck 523">
              <a:extLst>
                <a:ext uri="{FF2B5EF4-FFF2-40B4-BE49-F238E27FC236}">
                  <a16:creationId xmlns:a16="http://schemas.microsoft.com/office/drawing/2014/main" id="{DFBEE1CE-3E0C-D826-D5C2-F9DFDDAE494F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25" name="Rechteck 524">
              <a:extLst>
                <a:ext uri="{FF2B5EF4-FFF2-40B4-BE49-F238E27FC236}">
                  <a16:creationId xmlns:a16="http://schemas.microsoft.com/office/drawing/2014/main" id="{2E3129F7-5659-FD59-CECB-0F97AA8D02C2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26" name="Rechteck 525">
              <a:extLst>
                <a:ext uri="{FF2B5EF4-FFF2-40B4-BE49-F238E27FC236}">
                  <a16:creationId xmlns:a16="http://schemas.microsoft.com/office/drawing/2014/main" id="{05F5CE8E-1B8C-29EB-041F-9694D856FD14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27" name="Rechteck 526">
              <a:extLst>
                <a:ext uri="{FF2B5EF4-FFF2-40B4-BE49-F238E27FC236}">
                  <a16:creationId xmlns:a16="http://schemas.microsoft.com/office/drawing/2014/main" id="{B5E58C5A-FDD5-E929-D63A-6D6B0427810C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28" name="Rechteck 527">
              <a:extLst>
                <a:ext uri="{FF2B5EF4-FFF2-40B4-BE49-F238E27FC236}">
                  <a16:creationId xmlns:a16="http://schemas.microsoft.com/office/drawing/2014/main" id="{905C6093-FF62-C621-9FA2-9E84EB125481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29" name="Rechteck 528">
              <a:extLst>
                <a:ext uri="{FF2B5EF4-FFF2-40B4-BE49-F238E27FC236}">
                  <a16:creationId xmlns:a16="http://schemas.microsoft.com/office/drawing/2014/main" id="{5103BC67-1910-C6D4-F2D0-48B70F052789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30" name="Rechteck 529">
              <a:extLst>
                <a:ext uri="{FF2B5EF4-FFF2-40B4-BE49-F238E27FC236}">
                  <a16:creationId xmlns:a16="http://schemas.microsoft.com/office/drawing/2014/main" id="{187D0143-F0A6-883C-0686-3F5C4AEF1E57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31" name="Rechteck 530">
              <a:extLst>
                <a:ext uri="{FF2B5EF4-FFF2-40B4-BE49-F238E27FC236}">
                  <a16:creationId xmlns:a16="http://schemas.microsoft.com/office/drawing/2014/main" id="{67DD1600-DEF3-B558-4419-50BF94B2814B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32" name="Rechteck 531">
              <a:extLst>
                <a:ext uri="{FF2B5EF4-FFF2-40B4-BE49-F238E27FC236}">
                  <a16:creationId xmlns:a16="http://schemas.microsoft.com/office/drawing/2014/main" id="{4CBE1E7D-82E6-CD56-612A-0D3E3D1E87CC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33" name="Rechteck 532">
              <a:extLst>
                <a:ext uri="{FF2B5EF4-FFF2-40B4-BE49-F238E27FC236}">
                  <a16:creationId xmlns:a16="http://schemas.microsoft.com/office/drawing/2014/main" id="{1090E6E4-BF41-7507-2740-2166FE17B16E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34" name="Rechteck 533">
              <a:extLst>
                <a:ext uri="{FF2B5EF4-FFF2-40B4-BE49-F238E27FC236}">
                  <a16:creationId xmlns:a16="http://schemas.microsoft.com/office/drawing/2014/main" id="{17B5CD48-029F-DB05-6CF5-5089DC53F872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35" name="Rechteck 534">
              <a:extLst>
                <a:ext uri="{FF2B5EF4-FFF2-40B4-BE49-F238E27FC236}">
                  <a16:creationId xmlns:a16="http://schemas.microsoft.com/office/drawing/2014/main" id="{797E35F6-ABB0-1554-7AEB-7981EF76D168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36" name="Rechteck 535">
              <a:extLst>
                <a:ext uri="{FF2B5EF4-FFF2-40B4-BE49-F238E27FC236}">
                  <a16:creationId xmlns:a16="http://schemas.microsoft.com/office/drawing/2014/main" id="{09768406-A4A6-3444-9CE9-82924D922D3B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37" name="Rechteck 536">
              <a:extLst>
                <a:ext uri="{FF2B5EF4-FFF2-40B4-BE49-F238E27FC236}">
                  <a16:creationId xmlns:a16="http://schemas.microsoft.com/office/drawing/2014/main" id="{0E737EA5-90CF-8323-3E35-68B16D84DB97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38" name="Rechteck 537">
              <a:extLst>
                <a:ext uri="{FF2B5EF4-FFF2-40B4-BE49-F238E27FC236}">
                  <a16:creationId xmlns:a16="http://schemas.microsoft.com/office/drawing/2014/main" id="{50F20321-ECDB-E2CB-8AAC-1E241B5167B8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39" name="Rechteck 538">
              <a:extLst>
                <a:ext uri="{FF2B5EF4-FFF2-40B4-BE49-F238E27FC236}">
                  <a16:creationId xmlns:a16="http://schemas.microsoft.com/office/drawing/2014/main" id="{DD539495-5C61-4B30-1ED4-76AE815D99FE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40" name="Rechteck 539">
              <a:extLst>
                <a:ext uri="{FF2B5EF4-FFF2-40B4-BE49-F238E27FC236}">
                  <a16:creationId xmlns:a16="http://schemas.microsoft.com/office/drawing/2014/main" id="{B4A232A3-0E6A-08DF-C6EB-EF5B9BB522D6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41" name="Rechteck 540">
              <a:extLst>
                <a:ext uri="{FF2B5EF4-FFF2-40B4-BE49-F238E27FC236}">
                  <a16:creationId xmlns:a16="http://schemas.microsoft.com/office/drawing/2014/main" id="{DB303FD5-41C0-FFE9-0114-75A0022F937E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42" name="Rechteck 541">
              <a:extLst>
                <a:ext uri="{FF2B5EF4-FFF2-40B4-BE49-F238E27FC236}">
                  <a16:creationId xmlns:a16="http://schemas.microsoft.com/office/drawing/2014/main" id="{F674E6CD-B42D-B53E-B2FD-FE9627335BE7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43" name="Rechteck 542">
              <a:extLst>
                <a:ext uri="{FF2B5EF4-FFF2-40B4-BE49-F238E27FC236}">
                  <a16:creationId xmlns:a16="http://schemas.microsoft.com/office/drawing/2014/main" id="{8738A593-2E7A-2188-D2C5-E8E45CBDD3C5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44" name="Rechteck 543">
              <a:extLst>
                <a:ext uri="{FF2B5EF4-FFF2-40B4-BE49-F238E27FC236}">
                  <a16:creationId xmlns:a16="http://schemas.microsoft.com/office/drawing/2014/main" id="{EEE4EB10-5537-4C73-C1BF-4D3A941459DD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45" name="Rechteck 544">
              <a:extLst>
                <a:ext uri="{FF2B5EF4-FFF2-40B4-BE49-F238E27FC236}">
                  <a16:creationId xmlns:a16="http://schemas.microsoft.com/office/drawing/2014/main" id="{9FC1FF33-3802-2802-DCDD-79131D42E32A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46" name="Rechteck 545">
              <a:extLst>
                <a:ext uri="{FF2B5EF4-FFF2-40B4-BE49-F238E27FC236}">
                  <a16:creationId xmlns:a16="http://schemas.microsoft.com/office/drawing/2014/main" id="{69BC0701-F03A-FC62-CF89-AA34DDC2B249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47" name="Rechteck 546">
              <a:extLst>
                <a:ext uri="{FF2B5EF4-FFF2-40B4-BE49-F238E27FC236}">
                  <a16:creationId xmlns:a16="http://schemas.microsoft.com/office/drawing/2014/main" id="{48A4DFEA-4C49-0E4E-869F-E022CB63F73E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48" name="Rechteck 547">
              <a:extLst>
                <a:ext uri="{FF2B5EF4-FFF2-40B4-BE49-F238E27FC236}">
                  <a16:creationId xmlns:a16="http://schemas.microsoft.com/office/drawing/2014/main" id="{E07EA70A-D39F-2747-371E-1B72CE19A00B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49" name="Rechteck 548">
              <a:extLst>
                <a:ext uri="{FF2B5EF4-FFF2-40B4-BE49-F238E27FC236}">
                  <a16:creationId xmlns:a16="http://schemas.microsoft.com/office/drawing/2014/main" id="{53A603AF-FE54-84D6-7D45-A02C3338C124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50" name="Rechteck 549">
              <a:extLst>
                <a:ext uri="{FF2B5EF4-FFF2-40B4-BE49-F238E27FC236}">
                  <a16:creationId xmlns:a16="http://schemas.microsoft.com/office/drawing/2014/main" id="{26F5ED20-C116-F7D7-312B-A5497C84CCFC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51" name="Rechteck 550">
              <a:extLst>
                <a:ext uri="{FF2B5EF4-FFF2-40B4-BE49-F238E27FC236}">
                  <a16:creationId xmlns:a16="http://schemas.microsoft.com/office/drawing/2014/main" id="{4CD3D3E5-67AB-C0CB-EAB8-179FCECF77F9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52" name="Rechteck 551">
              <a:extLst>
                <a:ext uri="{FF2B5EF4-FFF2-40B4-BE49-F238E27FC236}">
                  <a16:creationId xmlns:a16="http://schemas.microsoft.com/office/drawing/2014/main" id="{79D3A9AE-5AF4-5793-DFC6-003C5989CB32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53" name="Rechteck 552">
              <a:extLst>
                <a:ext uri="{FF2B5EF4-FFF2-40B4-BE49-F238E27FC236}">
                  <a16:creationId xmlns:a16="http://schemas.microsoft.com/office/drawing/2014/main" id="{6C165688-2037-15AE-D8D1-3DD507262C20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54" name="Rechteck 553">
              <a:extLst>
                <a:ext uri="{FF2B5EF4-FFF2-40B4-BE49-F238E27FC236}">
                  <a16:creationId xmlns:a16="http://schemas.microsoft.com/office/drawing/2014/main" id="{6031DFE9-1FA7-1310-0070-26055847244B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55" name="Rechteck 554">
              <a:extLst>
                <a:ext uri="{FF2B5EF4-FFF2-40B4-BE49-F238E27FC236}">
                  <a16:creationId xmlns:a16="http://schemas.microsoft.com/office/drawing/2014/main" id="{5B6566A1-F777-4A9E-45DC-6746B9B3CF1A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56" name="Rechteck 555">
              <a:extLst>
                <a:ext uri="{FF2B5EF4-FFF2-40B4-BE49-F238E27FC236}">
                  <a16:creationId xmlns:a16="http://schemas.microsoft.com/office/drawing/2014/main" id="{7AF7E5F2-928C-90BD-2C66-FBBFF02600D7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57" name="Rechteck 556">
              <a:extLst>
                <a:ext uri="{FF2B5EF4-FFF2-40B4-BE49-F238E27FC236}">
                  <a16:creationId xmlns:a16="http://schemas.microsoft.com/office/drawing/2014/main" id="{8129B366-24BD-CD5D-C88A-B48D80CAF395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58" name="Rechteck 557">
              <a:extLst>
                <a:ext uri="{FF2B5EF4-FFF2-40B4-BE49-F238E27FC236}">
                  <a16:creationId xmlns:a16="http://schemas.microsoft.com/office/drawing/2014/main" id="{2D32598D-B099-D3B9-7108-704FFE954928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59" name="Rechteck 558">
              <a:extLst>
                <a:ext uri="{FF2B5EF4-FFF2-40B4-BE49-F238E27FC236}">
                  <a16:creationId xmlns:a16="http://schemas.microsoft.com/office/drawing/2014/main" id="{C740F768-1239-4BFB-B42B-0711CF779588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0" name="Rechteck 559">
              <a:extLst>
                <a:ext uri="{FF2B5EF4-FFF2-40B4-BE49-F238E27FC236}">
                  <a16:creationId xmlns:a16="http://schemas.microsoft.com/office/drawing/2014/main" id="{D53E6A09-CB54-3D44-C000-0CD599051B5C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1" name="Rechteck 560">
              <a:extLst>
                <a:ext uri="{FF2B5EF4-FFF2-40B4-BE49-F238E27FC236}">
                  <a16:creationId xmlns:a16="http://schemas.microsoft.com/office/drawing/2014/main" id="{6B62D044-8154-1D33-AB3F-0B0B2F802350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2" name="Rechteck 561">
              <a:extLst>
                <a:ext uri="{FF2B5EF4-FFF2-40B4-BE49-F238E27FC236}">
                  <a16:creationId xmlns:a16="http://schemas.microsoft.com/office/drawing/2014/main" id="{D0581170-278C-951F-EF10-8768BA9D75B9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3" name="Rechteck 562">
              <a:extLst>
                <a:ext uri="{FF2B5EF4-FFF2-40B4-BE49-F238E27FC236}">
                  <a16:creationId xmlns:a16="http://schemas.microsoft.com/office/drawing/2014/main" id="{A6B6C9E2-3F73-7703-B64E-6D04215CC836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4" name="Rechteck 563">
              <a:extLst>
                <a:ext uri="{FF2B5EF4-FFF2-40B4-BE49-F238E27FC236}">
                  <a16:creationId xmlns:a16="http://schemas.microsoft.com/office/drawing/2014/main" id="{FAE51131-4DFB-2DE9-B164-F38EFE01AB90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5" name="Rechteck 564">
              <a:extLst>
                <a:ext uri="{FF2B5EF4-FFF2-40B4-BE49-F238E27FC236}">
                  <a16:creationId xmlns:a16="http://schemas.microsoft.com/office/drawing/2014/main" id="{FD4BEEB2-80AC-D77E-E500-7D61FF1B4EA1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6" name="Rechteck 565">
              <a:extLst>
                <a:ext uri="{FF2B5EF4-FFF2-40B4-BE49-F238E27FC236}">
                  <a16:creationId xmlns:a16="http://schemas.microsoft.com/office/drawing/2014/main" id="{8DBDD1AB-C711-69F6-F120-A24AD7862910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567" name="Rechteck 566">
              <a:extLst>
                <a:ext uri="{FF2B5EF4-FFF2-40B4-BE49-F238E27FC236}">
                  <a16:creationId xmlns:a16="http://schemas.microsoft.com/office/drawing/2014/main" id="{DF580362-1142-39BB-55AF-48C4892FF841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sp>
        <p:nvSpPr>
          <p:cNvPr id="570" name="Freihandform: Form 569">
            <a:extLst>
              <a:ext uri="{FF2B5EF4-FFF2-40B4-BE49-F238E27FC236}">
                <a16:creationId xmlns:a16="http://schemas.microsoft.com/office/drawing/2014/main" id="{C5494A8E-1E2B-3911-B741-EC48141EBD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1424" y="2060848"/>
            <a:ext cx="2892425" cy="2879303"/>
          </a:xfrm>
          <a:custGeom>
            <a:avLst/>
            <a:gdLst>
              <a:gd name="connsiteX0" fmla="*/ 0 w 2892425"/>
              <a:gd name="connsiteY0" fmla="*/ 0 h 2879303"/>
              <a:gd name="connsiteX1" fmla="*/ 2892425 w 2892425"/>
              <a:gd name="connsiteY1" fmla="*/ 0 h 2879303"/>
              <a:gd name="connsiteX2" fmla="*/ 2307742 w 2892425"/>
              <a:gd name="connsiteY2" fmla="*/ 2298575 h 2879303"/>
              <a:gd name="connsiteX3" fmla="*/ 0 w 2892425"/>
              <a:gd name="connsiteY3" fmla="*/ 2879303 h 2879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92425" h="2879303">
                <a:moveTo>
                  <a:pt x="0" y="0"/>
                </a:moveTo>
                <a:lnTo>
                  <a:pt x="2892425" y="0"/>
                </a:lnTo>
                <a:lnTo>
                  <a:pt x="2307742" y="2298575"/>
                </a:lnTo>
                <a:lnTo>
                  <a:pt x="0" y="2879303"/>
                </a:lnTo>
                <a:close/>
              </a:path>
            </a:pathLst>
          </a:custGeom>
          <a:solidFill>
            <a:schemeClr val="bg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de-DE" sz="1600" err="1"/>
          </a:p>
        </p:txBody>
      </p:sp>
      <p:sp>
        <p:nvSpPr>
          <p:cNvPr id="571" name="Number">
            <a:extLst>
              <a:ext uri="{FF2B5EF4-FFF2-40B4-BE49-F238E27FC236}">
                <a16:creationId xmlns:a16="http://schemas.microsoft.com/office/drawing/2014/main" id="{D35868B8-07D6-38C7-C74F-B3B993F2F0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13259" y="2060997"/>
            <a:ext cx="2892425" cy="2879303"/>
          </a:xfrm>
          <a:custGeom>
            <a:avLst/>
            <a:gdLst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517775 w 3022600"/>
              <a:gd name="connsiteY2" fmla="*/ 2520950 h 3024187"/>
              <a:gd name="connsiteX3" fmla="*/ 0 w 3022600"/>
              <a:gd name="connsiteY3" fmla="*/ 3024187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159443 w 3022600"/>
              <a:gd name="connsiteY2" fmla="*/ 2134117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411603 w 3022600"/>
              <a:gd name="connsiteY2" fmla="*/ 2414237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2600" h="3024187">
                <a:moveTo>
                  <a:pt x="0" y="0"/>
                </a:moveTo>
                <a:lnTo>
                  <a:pt x="3022600" y="0"/>
                </a:lnTo>
                <a:lnTo>
                  <a:pt x="2411603" y="2414237"/>
                </a:lnTo>
                <a:lnTo>
                  <a:pt x="0" y="3024187"/>
                </a:lnTo>
                <a:lnTo>
                  <a:pt x="0" y="0"/>
                </a:lnTo>
                <a:close/>
              </a:path>
            </a:pathLst>
          </a:custGeom>
          <a:solidFill>
            <a:srgbClr val="519FBC"/>
          </a:solidFill>
          <a:ln w="127">
            <a:solidFill>
              <a:srgbClr val="FFA52F">
                <a:alpha val="0"/>
              </a:srgbClr>
            </a:solidFill>
          </a:ln>
        </p:spPr>
        <p:txBody>
          <a:bodyPr wrap="square" lIns="21600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9pPr>
          </a:lstStyle>
          <a:p>
            <a:r>
              <a:rPr lang="en-GB"/>
              <a:t>00</a:t>
            </a:r>
          </a:p>
        </p:txBody>
      </p:sp>
      <p:sp>
        <p:nvSpPr>
          <p:cNvPr id="273" name="Title">
            <a:extLst>
              <a:ext uri="{FF2B5EF4-FFF2-40B4-BE49-F238E27FC236}">
                <a16:creationId xmlns:a16="http://schemas.microsoft.com/office/drawing/2014/main" id="{A170475D-98E5-B638-18D5-B4B6D0997C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27849" y="1988995"/>
            <a:ext cx="5040000" cy="2088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36000" rIns="216000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Divider slide | Insert your headline in maximal 3 </a:t>
            </a:r>
            <a:br>
              <a:rPr lang="en-GB"/>
            </a:br>
            <a:r>
              <a:rPr lang="en-GB"/>
              <a:t>lines here</a:t>
            </a:r>
          </a:p>
        </p:txBody>
      </p:sp>
      <p:sp>
        <p:nvSpPr>
          <p:cNvPr id="274" name="Subtitle 2">
            <a:extLst>
              <a:ext uri="{FF2B5EF4-FFF2-40B4-BE49-F238E27FC236}">
                <a16:creationId xmlns:a16="http://schemas.microsoft.com/office/drawing/2014/main" id="{089CC985-76FF-7D6A-17CC-BC6B57CE09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27848" y="4076996"/>
            <a:ext cx="5040000" cy="1007999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</p:spTree>
    <p:extLst>
      <p:ext uri="{BB962C8B-B14F-4D97-AF65-F5344CB8AC3E}">
        <p14:creationId xmlns:p14="http://schemas.microsoft.com/office/powerpoint/2010/main" val="25812264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49F76EC-0FF3-C8B6-E1FA-FDCA50C5AF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7377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49F76EC-0FF3-C8B6-E1FA-FDCA50C5AF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"/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4963" y="659362"/>
            <a:ext cx="8641357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0795529-4D73-3332-2945-704225E049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60648"/>
            <a:ext cx="8641357" cy="369332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EF647F6E-02E4-5A28-5FC9-0AE0D7CB6F72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92A6A39-ECEF-5F4F-7D24-206298A0A9F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552000" y="6957393"/>
            <a:ext cx="10584560" cy="7200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900">
                <a:solidFill>
                  <a:schemeClr val="tx1">
                    <a:alpha val="0"/>
                  </a:schemeClr>
                </a:solidFill>
              </a:defRPr>
            </a:lvl1pPr>
            <a:lvl2pPr marL="0" indent="0">
              <a:defRPr sz="900"/>
            </a:lvl2pPr>
            <a:lvl3pPr marL="0" indent="0">
              <a:defRPr sz="900"/>
            </a:lvl3pPr>
            <a:lvl4pPr marL="0" indent="0">
              <a:defRPr sz="900"/>
            </a:lvl4pPr>
            <a:lvl5pPr marL="0" indent="0">
              <a:defRPr sz="900"/>
            </a:lvl5pPr>
            <a:lvl6pPr marL="0" indent="0">
              <a:defRPr sz="900"/>
            </a:lvl6pPr>
            <a:lvl7pPr marL="0" indent="0">
              <a:defRPr sz="900"/>
            </a:lvl7pPr>
            <a:lvl8pPr marL="0" indent="0">
              <a:defRPr sz="900"/>
            </a:lvl8pPr>
            <a:lvl9pPr marL="0" indent="0">
              <a:defRPr sz="900"/>
            </a:lvl9pPr>
          </a:lstStyle>
          <a:p>
            <a:r>
              <a:rPr lang="de-DE"/>
              <a:t>Der Konsument nach Corona und Consumer Voice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2C7A0F2-CEA0-277C-7563-ECC7A39502F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208568" y="6957394"/>
            <a:ext cx="432048" cy="72008"/>
          </a:xfrm>
        </p:spPr>
        <p:txBody>
          <a:bodyPr/>
          <a:lstStyle>
            <a:lvl1pPr>
              <a:defRPr sz="1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3807B01A-3552-EF40-1656-EEB891FB71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87488" y="6525344"/>
            <a:ext cx="9217024" cy="14401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Source, Footnote</a:t>
            </a:r>
            <a:endParaRPr lang="en-GB"/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D83CF277-C745-96CF-3B26-00240E25AB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68768" y="-171392"/>
            <a:ext cx="12025408" cy="6264688"/>
            <a:chOff x="-168768" y="-171392"/>
            <a:chExt cx="12025408" cy="6264688"/>
          </a:xfrm>
        </p:grpSpPr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361FEB40-DC8C-45CE-16D5-DEE863A179A7}"/>
                </a:ext>
              </a:extLst>
            </p:cNvPr>
            <p:cNvCxnSpPr/>
            <p:nvPr userDrawn="1"/>
          </p:nvCxnSpPr>
          <p:spPr bwMode="gray">
            <a:xfrm>
              <a:off x="33536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0909279E-8785-E95C-CD9E-8B659DD06937}"/>
                </a:ext>
              </a:extLst>
            </p:cNvPr>
            <p:cNvCxnSpPr/>
            <p:nvPr userDrawn="1"/>
          </p:nvCxnSpPr>
          <p:spPr bwMode="gray">
            <a:xfrm>
              <a:off x="436780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7AF56B99-0456-ECE2-0C4E-177B2F4E46E9}"/>
                </a:ext>
              </a:extLst>
            </p:cNvPr>
            <p:cNvCxnSpPr/>
            <p:nvPr userDrawn="1"/>
          </p:nvCxnSpPr>
          <p:spPr bwMode="gray">
            <a:xfrm>
              <a:off x="494387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19D9628E-0B32-30B1-A064-5C167AB5E212}"/>
                </a:ext>
              </a:extLst>
            </p:cNvPr>
            <p:cNvCxnSpPr/>
            <p:nvPr userDrawn="1"/>
          </p:nvCxnSpPr>
          <p:spPr bwMode="gray">
            <a:xfrm>
              <a:off x="667206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A820E157-A4CC-A9E2-04E7-51B6BF1F3A0D}"/>
                </a:ext>
              </a:extLst>
            </p:cNvPr>
            <p:cNvCxnSpPr/>
            <p:nvPr userDrawn="1"/>
          </p:nvCxnSpPr>
          <p:spPr bwMode="gray">
            <a:xfrm>
              <a:off x="609600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36B47171-B86D-80BC-31F7-850BF667074B}"/>
                </a:ext>
              </a:extLst>
            </p:cNvPr>
            <p:cNvCxnSpPr/>
            <p:nvPr userDrawn="1"/>
          </p:nvCxnSpPr>
          <p:spPr bwMode="gray">
            <a:xfrm>
              <a:off x="724812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345FACF7-0462-675E-DDD5-32C265D9067D}"/>
                </a:ext>
              </a:extLst>
            </p:cNvPr>
            <p:cNvCxnSpPr/>
            <p:nvPr userDrawn="1"/>
          </p:nvCxnSpPr>
          <p:spPr bwMode="gray">
            <a:xfrm>
              <a:off x="782419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C8EB43D7-846B-0AA7-C285-164F354A2DA9}"/>
                </a:ext>
              </a:extLst>
            </p:cNvPr>
            <p:cNvCxnSpPr/>
            <p:nvPr userDrawn="1"/>
          </p:nvCxnSpPr>
          <p:spPr bwMode="gray">
            <a:xfrm>
              <a:off x="840025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C55913F1-7414-5E37-4EAA-3C2C35D13C0A}"/>
                </a:ext>
              </a:extLst>
            </p:cNvPr>
            <p:cNvCxnSpPr/>
            <p:nvPr userDrawn="1"/>
          </p:nvCxnSpPr>
          <p:spPr bwMode="gray">
            <a:xfrm>
              <a:off x="897632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B855F45F-779D-2EDE-143D-756CF15F1CEF}"/>
                </a:ext>
              </a:extLst>
            </p:cNvPr>
            <p:cNvCxnSpPr/>
            <p:nvPr userDrawn="1"/>
          </p:nvCxnSpPr>
          <p:spPr bwMode="gray">
            <a:xfrm>
              <a:off x="1128057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49ABCC2D-48C9-FF55-4383-4AD9A8322CE8}"/>
                </a:ext>
              </a:extLst>
            </p:cNvPr>
            <p:cNvCxnSpPr/>
            <p:nvPr userDrawn="1"/>
          </p:nvCxnSpPr>
          <p:spPr bwMode="gray">
            <a:xfrm>
              <a:off x="1185664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>
              <a:extLst>
                <a:ext uri="{FF2B5EF4-FFF2-40B4-BE49-F238E27FC236}">
                  <a16:creationId xmlns:a16="http://schemas.microsoft.com/office/drawing/2014/main" id="{B21E6863-C58D-356B-A9E4-90BCF720EA3F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29665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r Verbinder 57">
              <a:extLst>
                <a:ext uri="{FF2B5EF4-FFF2-40B4-BE49-F238E27FC236}">
                  <a16:creationId xmlns:a16="http://schemas.microsoft.com/office/drawing/2014/main" id="{732696DF-1F9A-AD34-33BE-C25B59C5E620}"/>
                </a:ext>
              </a:extLst>
            </p:cNvPr>
            <p:cNvCxnSpPr/>
            <p:nvPr userDrawn="1"/>
          </p:nvCxnSpPr>
          <p:spPr bwMode="gray">
            <a:xfrm>
              <a:off x="321568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r Verbinder 58">
              <a:extLst>
                <a:ext uri="{FF2B5EF4-FFF2-40B4-BE49-F238E27FC236}">
                  <a16:creationId xmlns:a16="http://schemas.microsoft.com/office/drawing/2014/main" id="{3272E917-08D4-CC26-E627-2902F6409543}"/>
                </a:ext>
              </a:extLst>
            </p:cNvPr>
            <p:cNvCxnSpPr/>
            <p:nvPr userDrawn="1"/>
          </p:nvCxnSpPr>
          <p:spPr bwMode="gray">
            <a:xfrm>
              <a:off x="379174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r Verbinder 59">
              <a:extLst>
                <a:ext uri="{FF2B5EF4-FFF2-40B4-BE49-F238E27FC236}">
                  <a16:creationId xmlns:a16="http://schemas.microsoft.com/office/drawing/2014/main" id="{211DFF1C-2109-D419-8D3D-3C66662F913E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04" y="87272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r Verbinder 60">
              <a:extLst>
                <a:ext uri="{FF2B5EF4-FFF2-40B4-BE49-F238E27FC236}">
                  <a16:creationId xmlns:a16="http://schemas.microsoft.com/office/drawing/2014/main" id="{45757A65-B2B4-EDF6-5281-D99ABC925297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12" y="202484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r Verbinder 61">
              <a:extLst>
                <a:ext uri="{FF2B5EF4-FFF2-40B4-BE49-F238E27FC236}">
                  <a16:creationId xmlns:a16="http://schemas.microsoft.com/office/drawing/2014/main" id="{DF9CAC55-15F8-2DBD-233A-2C9BE7217598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68" y="605729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>
              <a:extLst>
                <a:ext uri="{FF2B5EF4-FFF2-40B4-BE49-F238E27FC236}">
                  <a16:creationId xmlns:a16="http://schemas.microsoft.com/office/drawing/2014/main" id="{4220985A-2DAE-FEAB-803B-8E5B9D812986}"/>
                </a:ext>
              </a:extLst>
            </p:cNvPr>
            <p:cNvCxnSpPr/>
            <p:nvPr/>
          </p:nvCxnSpPr>
          <p:spPr bwMode="gray">
            <a:xfrm>
              <a:off x="1070451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A174CF69-6471-845D-9717-A680C0962E52}"/>
                </a:ext>
              </a:extLst>
            </p:cNvPr>
            <p:cNvCxnSpPr/>
            <p:nvPr/>
          </p:nvCxnSpPr>
          <p:spPr bwMode="gray">
            <a:xfrm>
              <a:off x="1012844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r Verbinder 64">
              <a:extLst>
                <a:ext uri="{FF2B5EF4-FFF2-40B4-BE49-F238E27FC236}">
                  <a16:creationId xmlns:a16="http://schemas.microsoft.com/office/drawing/2014/main" id="{80AC1286-3015-6EB9-5754-893B73DC0C3F}"/>
                </a:ext>
              </a:extLst>
            </p:cNvPr>
            <p:cNvCxnSpPr/>
            <p:nvPr/>
          </p:nvCxnSpPr>
          <p:spPr bwMode="gray">
            <a:xfrm>
              <a:off x="955059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65">
              <a:extLst>
                <a:ext uri="{FF2B5EF4-FFF2-40B4-BE49-F238E27FC236}">
                  <a16:creationId xmlns:a16="http://schemas.microsoft.com/office/drawing/2014/main" id="{EA28E21F-3707-04F6-337B-45BD05906EEE}"/>
                </a:ext>
              </a:extLst>
            </p:cNvPr>
            <p:cNvCxnSpPr/>
            <p:nvPr/>
          </p:nvCxnSpPr>
          <p:spPr bwMode="gray">
            <a:xfrm>
              <a:off x="551973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FD165575-EAFE-0A05-F2A3-0EBEB82A5DAD}"/>
                </a:ext>
              </a:extLst>
            </p:cNvPr>
            <p:cNvCxnSpPr/>
            <p:nvPr/>
          </p:nvCxnSpPr>
          <p:spPr bwMode="gray">
            <a:xfrm>
              <a:off x="263961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6320B814-118C-AB6F-FCBE-EBF8902904E5}"/>
                </a:ext>
              </a:extLst>
            </p:cNvPr>
            <p:cNvCxnSpPr/>
            <p:nvPr/>
          </p:nvCxnSpPr>
          <p:spPr bwMode="gray">
            <a:xfrm>
              <a:off x="206355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F8AFACBD-037D-8124-6B86-7A73249D3DF1}"/>
                </a:ext>
              </a:extLst>
            </p:cNvPr>
            <p:cNvCxnSpPr/>
            <p:nvPr/>
          </p:nvCxnSpPr>
          <p:spPr bwMode="gray">
            <a:xfrm>
              <a:off x="148748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B745D536-C0C6-E338-E706-B0D1960E4920}"/>
                </a:ext>
              </a:extLst>
            </p:cNvPr>
            <p:cNvCxnSpPr/>
            <p:nvPr/>
          </p:nvCxnSpPr>
          <p:spPr bwMode="gray">
            <a:xfrm>
              <a:off x="91142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C8E6CA72-FFF8-4DF0-4FF7-BC68D91C4957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04" y="144878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64099ABF-1039-FC88-557F-8855CEC039B4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260091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358B961F-6C17-4952-BA6C-FF4E35354A25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17697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3B325C11-5D7D-0AF5-678E-49574A7B64D3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75304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>
              <a:extLst>
                <a:ext uri="{FF2B5EF4-FFF2-40B4-BE49-F238E27FC236}">
                  <a16:creationId xmlns:a16="http://schemas.microsoft.com/office/drawing/2014/main" id="{163B6C7E-2221-3A80-AE5F-B4040FB16F4B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32910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A39D0634-3486-49A4-6F41-2645A5F614C0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90516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>
              <a:extLst>
                <a:ext uri="{FF2B5EF4-FFF2-40B4-BE49-F238E27FC236}">
                  <a16:creationId xmlns:a16="http://schemas.microsoft.com/office/drawing/2014/main" id="{8BBCC9C5-69D9-E7CC-CCDB-B0AFE93A77AE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548123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54557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4" orient="horz" pos="3838">
          <p15:clr>
            <a:srgbClr val="FBAE40"/>
          </p15:clr>
        </p15:guide>
        <p15:guide id="5" pos="211">
          <p15:clr>
            <a:srgbClr val="FBAE40"/>
          </p15:clr>
        </p15:guide>
        <p15:guide id="6" orient="horz" pos="935">
          <p15:clr>
            <a:srgbClr val="FBAE40"/>
          </p15:clr>
        </p15:guide>
        <p15:guide id="7" orient="horz" pos="212">
          <p15:clr>
            <a:srgbClr val="FBAE40"/>
          </p15:clr>
        </p15:guide>
        <p15:guide id="8" pos="7469">
          <p15:clr>
            <a:srgbClr val="FBAE40"/>
          </p15:clr>
        </p15:guide>
        <p15:guide id="9" pos="710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77D783D-414A-A75B-D6B2-F169BF7EA4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9633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77D783D-414A-A75B-D6B2-F169BF7EA4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">
            <a:extLst>
              <a:ext uri="{FF2B5EF4-FFF2-40B4-BE49-F238E27FC236}">
                <a16:creationId xmlns:a16="http://schemas.microsoft.com/office/drawing/2014/main" id="{CF5EDE16-5B1A-4150-90CB-D4C4142476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4964" y="260648"/>
            <a:ext cx="8641356" cy="369332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/>
              <a:t>Insert your headline in Lato Heavy 24 pt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4963" y="2060575"/>
            <a:ext cx="10945812" cy="4032249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B10F9FE1-8933-6258-C125-11CB62255F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A165BA0F-49C9-69D2-0872-687BBBAE0CD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E1A608F5-9BC6-D945-0D61-68FF1FCB59D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81716598-9EB7-D21A-CE7D-5822B707C9D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4963" y="659362"/>
            <a:ext cx="8641357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7BED3BE6-41EF-3E8F-FA90-0BA7B9ACDF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87488" y="6525344"/>
            <a:ext cx="9217024" cy="14401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Source, Footnote</a:t>
            </a:r>
            <a:endParaRPr lang="en-GB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93818099-6FDB-0206-6148-C5E5A47210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68768" y="-171392"/>
            <a:ext cx="12025408" cy="6264688"/>
            <a:chOff x="-168768" y="-171392"/>
            <a:chExt cx="12025408" cy="6264688"/>
          </a:xfrm>
        </p:grpSpPr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1067CD34-7E09-DF31-4B53-22B7C7F88080}"/>
                </a:ext>
              </a:extLst>
            </p:cNvPr>
            <p:cNvCxnSpPr/>
            <p:nvPr userDrawn="1"/>
          </p:nvCxnSpPr>
          <p:spPr bwMode="gray">
            <a:xfrm>
              <a:off x="33536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CC652826-CA95-65E4-1790-23EFAA8D67B7}"/>
                </a:ext>
              </a:extLst>
            </p:cNvPr>
            <p:cNvCxnSpPr/>
            <p:nvPr userDrawn="1"/>
          </p:nvCxnSpPr>
          <p:spPr bwMode="gray">
            <a:xfrm>
              <a:off x="436780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5358EDA-48C1-401B-C8B2-32A1A6AAB4FE}"/>
                </a:ext>
              </a:extLst>
            </p:cNvPr>
            <p:cNvCxnSpPr/>
            <p:nvPr userDrawn="1"/>
          </p:nvCxnSpPr>
          <p:spPr bwMode="gray">
            <a:xfrm>
              <a:off x="494387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3F375CC4-8EAC-03AA-4A98-AB61046E0E49}"/>
                </a:ext>
              </a:extLst>
            </p:cNvPr>
            <p:cNvCxnSpPr/>
            <p:nvPr userDrawn="1"/>
          </p:nvCxnSpPr>
          <p:spPr bwMode="gray">
            <a:xfrm>
              <a:off x="667206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5A96B0EA-5E77-48EA-8066-7AA71E80B66B}"/>
                </a:ext>
              </a:extLst>
            </p:cNvPr>
            <p:cNvCxnSpPr/>
            <p:nvPr userDrawn="1"/>
          </p:nvCxnSpPr>
          <p:spPr bwMode="gray">
            <a:xfrm>
              <a:off x="609600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0B1C87BF-FB67-D9B9-A894-B0348E125CD2}"/>
                </a:ext>
              </a:extLst>
            </p:cNvPr>
            <p:cNvCxnSpPr/>
            <p:nvPr userDrawn="1"/>
          </p:nvCxnSpPr>
          <p:spPr bwMode="gray">
            <a:xfrm>
              <a:off x="724812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CA8672BF-9ACE-6E04-1450-143820A0E820}"/>
                </a:ext>
              </a:extLst>
            </p:cNvPr>
            <p:cNvCxnSpPr/>
            <p:nvPr userDrawn="1"/>
          </p:nvCxnSpPr>
          <p:spPr bwMode="gray">
            <a:xfrm>
              <a:off x="782419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75B38E90-554E-E3C4-7833-7A7DE0FB1D49}"/>
                </a:ext>
              </a:extLst>
            </p:cNvPr>
            <p:cNvCxnSpPr/>
            <p:nvPr userDrawn="1"/>
          </p:nvCxnSpPr>
          <p:spPr bwMode="gray">
            <a:xfrm>
              <a:off x="840025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BB27E74E-ECDF-A267-6FF8-C77CFC365883}"/>
                </a:ext>
              </a:extLst>
            </p:cNvPr>
            <p:cNvCxnSpPr/>
            <p:nvPr userDrawn="1"/>
          </p:nvCxnSpPr>
          <p:spPr bwMode="gray">
            <a:xfrm>
              <a:off x="897632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ED1A9A2-C55B-1707-9A75-7553304C2D16}"/>
                </a:ext>
              </a:extLst>
            </p:cNvPr>
            <p:cNvCxnSpPr/>
            <p:nvPr userDrawn="1"/>
          </p:nvCxnSpPr>
          <p:spPr bwMode="gray">
            <a:xfrm>
              <a:off x="1128057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>
              <a:extLst>
                <a:ext uri="{FF2B5EF4-FFF2-40B4-BE49-F238E27FC236}">
                  <a16:creationId xmlns:a16="http://schemas.microsoft.com/office/drawing/2014/main" id="{6BDEFEA1-FB65-2B89-D49C-6DCD3AD6EC6E}"/>
                </a:ext>
              </a:extLst>
            </p:cNvPr>
            <p:cNvCxnSpPr/>
            <p:nvPr userDrawn="1"/>
          </p:nvCxnSpPr>
          <p:spPr bwMode="gray">
            <a:xfrm>
              <a:off x="1185664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>
              <a:extLst>
                <a:ext uri="{FF2B5EF4-FFF2-40B4-BE49-F238E27FC236}">
                  <a16:creationId xmlns:a16="http://schemas.microsoft.com/office/drawing/2014/main" id="{3A9678DF-40F4-A661-7048-14272EAE4043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29665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899379E3-9A85-846C-6B31-3D589944EC25}"/>
                </a:ext>
              </a:extLst>
            </p:cNvPr>
            <p:cNvCxnSpPr/>
            <p:nvPr userDrawn="1"/>
          </p:nvCxnSpPr>
          <p:spPr bwMode="gray">
            <a:xfrm>
              <a:off x="321568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r Verbinder 59">
              <a:extLst>
                <a:ext uri="{FF2B5EF4-FFF2-40B4-BE49-F238E27FC236}">
                  <a16:creationId xmlns:a16="http://schemas.microsoft.com/office/drawing/2014/main" id="{85DCF5C8-060C-B520-97CF-8B0892966A42}"/>
                </a:ext>
              </a:extLst>
            </p:cNvPr>
            <p:cNvCxnSpPr/>
            <p:nvPr userDrawn="1"/>
          </p:nvCxnSpPr>
          <p:spPr bwMode="gray">
            <a:xfrm>
              <a:off x="379174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r Verbinder 60">
              <a:extLst>
                <a:ext uri="{FF2B5EF4-FFF2-40B4-BE49-F238E27FC236}">
                  <a16:creationId xmlns:a16="http://schemas.microsoft.com/office/drawing/2014/main" id="{AB29ED6A-9E63-3063-F57D-B2AE4F121000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04" y="87272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r Verbinder 61">
              <a:extLst>
                <a:ext uri="{FF2B5EF4-FFF2-40B4-BE49-F238E27FC236}">
                  <a16:creationId xmlns:a16="http://schemas.microsoft.com/office/drawing/2014/main" id="{CD75853C-A72D-453B-3596-DFBF60CBD6A6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12" y="202484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>
              <a:extLst>
                <a:ext uri="{FF2B5EF4-FFF2-40B4-BE49-F238E27FC236}">
                  <a16:creationId xmlns:a16="http://schemas.microsoft.com/office/drawing/2014/main" id="{B89E8142-80D5-4A82-DCE9-652F0008E2E9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68" y="605729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D4868CAB-0627-3953-0F37-33AD51C0081F}"/>
                </a:ext>
              </a:extLst>
            </p:cNvPr>
            <p:cNvCxnSpPr/>
            <p:nvPr/>
          </p:nvCxnSpPr>
          <p:spPr bwMode="gray">
            <a:xfrm>
              <a:off x="1070451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r Verbinder 64">
              <a:extLst>
                <a:ext uri="{FF2B5EF4-FFF2-40B4-BE49-F238E27FC236}">
                  <a16:creationId xmlns:a16="http://schemas.microsoft.com/office/drawing/2014/main" id="{CDAC1FE5-8F64-1FA7-8932-C0F015D6430F}"/>
                </a:ext>
              </a:extLst>
            </p:cNvPr>
            <p:cNvCxnSpPr/>
            <p:nvPr/>
          </p:nvCxnSpPr>
          <p:spPr bwMode="gray">
            <a:xfrm>
              <a:off x="1012844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65">
              <a:extLst>
                <a:ext uri="{FF2B5EF4-FFF2-40B4-BE49-F238E27FC236}">
                  <a16:creationId xmlns:a16="http://schemas.microsoft.com/office/drawing/2014/main" id="{7B6EE8C1-8C3C-C527-1ADB-B7E0921A1550}"/>
                </a:ext>
              </a:extLst>
            </p:cNvPr>
            <p:cNvCxnSpPr/>
            <p:nvPr/>
          </p:nvCxnSpPr>
          <p:spPr bwMode="gray">
            <a:xfrm>
              <a:off x="955059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380E262E-0FA8-90A5-B1AD-5CB1A823979A}"/>
                </a:ext>
              </a:extLst>
            </p:cNvPr>
            <p:cNvCxnSpPr/>
            <p:nvPr/>
          </p:nvCxnSpPr>
          <p:spPr bwMode="gray">
            <a:xfrm>
              <a:off x="551973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AF300784-2740-3FA2-FAFC-82DF53B1592D}"/>
                </a:ext>
              </a:extLst>
            </p:cNvPr>
            <p:cNvCxnSpPr/>
            <p:nvPr/>
          </p:nvCxnSpPr>
          <p:spPr bwMode="gray">
            <a:xfrm>
              <a:off x="263961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7C92B4F0-C1C8-5777-F657-22450DE51D95}"/>
                </a:ext>
              </a:extLst>
            </p:cNvPr>
            <p:cNvCxnSpPr/>
            <p:nvPr/>
          </p:nvCxnSpPr>
          <p:spPr bwMode="gray">
            <a:xfrm>
              <a:off x="206355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689D5183-7C2C-F9DC-40BE-2257116005D5}"/>
                </a:ext>
              </a:extLst>
            </p:cNvPr>
            <p:cNvCxnSpPr/>
            <p:nvPr/>
          </p:nvCxnSpPr>
          <p:spPr bwMode="gray">
            <a:xfrm>
              <a:off x="148748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41138DE6-2C50-05FF-AD88-418199777B4F}"/>
                </a:ext>
              </a:extLst>
            </p:cNvPr>
            <p:cNvCxnSpPr/>
            <p:nvPr/>
          </p:nvCxnSpPr>
          <p:spPr bwMode="gray">
            <a:xfrm>
              <a:off x="91142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3BAAC55B-B244-58AD-1D04-1B78A389D200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04" y="144878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5491C047-1909-E96B-DBE2-F6579EF9B247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260091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36DE9970-6C14-5278-2D34-BECCAE1B6358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17697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>
              <a:extLst>
                <a:ext uri="{FF2B5EF4-FFF2-40B4-BE49-F238E27FC236}">
                  <a16:creationId xmlns:a16="http://schemas.microsoft.com/office/drawing/2014/main" id="{13D8CDFC-F40C-2DD7-DDF5-D2BB43F15F3C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75304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B8C41BBC-3E8B-0E7C-2F47-DC2D560AC532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32910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>
              <a:extLst>
                <a:ext uri="{FF2B5EF4-FFF2-40B4-BE49-F238E27FC236}">
                  <a16:creationId xmlns:a16="http://schemas.microsoft.com/office/drawing/2014/main" id="{70F1A32C-4658-F713-4E3F-E10F1ACF21CD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90516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79D171DF-79B0-9D91-7BB0-54C4B11A6C55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548123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072130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3" pos="7106">
          <p15:clr>
            <a:srgbClr val="FBAE40"/>
          </p15:clr>
        </p15:guide>
        <p15:guide id="4" orient="horz" pos="3838">
          <p15:clr>
            <a:srgbClr val="FBAE40"/>
          </p15:clr>
        </p15:guide>
        <p15:guide id="5" pos="211">
          <p15:clr>
            <a:srgbClr val="FBAE40"/>
          </p15:clr>
        </p15:guide>
        <p15:guide id="6" orient="horz" pos="1298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EA4F7F-A4C1-7F86-3C8B-8C6F118BE2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1574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8EA4F7F-A4C1-7F86-3C8B-8C6F118BE2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">
            <a:extLst>
              <a:ext uri="{FF2B5EF4-FFF2-40B4-BE49-F238E27FC236}">
                <a16:creationId xmlns:a16="http://schemas.microsoft.com/office/drawing/2014/main" id="{88B08B0E-0F2C-4F39-8C83-40D56780A4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4964" y="260648"/>
            <a:ext cx="8641356" cy="369332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5361" y="2060575"/>
            <a:ext cx="5184377" cy="403224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096000" y="2060575"/>
            <a:ext cx="5761038" cy="4032249"/>
          </a:xfrm>
          <a:prstGeom prst="rect">
            <a:avLst/>
          </a:prstGeom>
          <a:solidFill>
            <a:srgbClr val="D6D9DC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A8750777-45DF-39CE-98C6-76EB228D20A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F14F79BD-34F5-E63D-52DE-7F3C3F725E8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4605AE2-41FD-098E-2CB0-745DC124498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5ED82D1B-DE32-8B17-5C23-1037B356ECD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4964" y="659362"/>
            <a:ext cx="8641356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F5AAD56C-6B49-9F0A-5CA8-D884EADC2F0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487488" y="6525344"/>
            <a:ext cx="9217024" cy="14401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Source, </a:t>
            </a:r>
            <a:r>
              <a:rPr lang="de-DE" err="1"/>
              <a:t>Footnote</a:t>
            </a:r>
            <a:endParaRPr lang="en-GB"/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B2011940-F743-2416-1CA3-AB1446957A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68768" y="-171392"/>
            <a:ext cx="12025408" cy="6264688"/>
            <a:chOff x="-168768" y="-171392"/>
            <a:chExt cx="12025408" cy="6264688"/>
          </a:xfrm>
        </p:grpSpPr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EB5A538F-8FA3-C6BB-3818-D5282791A24D}"/>
                </a:ext>
              </a:extLst>
            </p:cNvPr>
            <p:cNvCxnSpPr/>
            <p:nvPr userDrawn="1"/>
          </p:nvCxnSpPr>
          <p:spPr bwMode="gray">
            <a:xfrm>
              <a:off x="33536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F8CE4638-EE27-7E82-F42B-CEBD43D5AEE8}"/>
                </a:ext>
              </a:extLst>
            </p:cNvPr>
            <p:cNvCxnSpPr/>
            <p:nvPr userDrawn="1"/>
          </p:nvCxnSpPr>
          <p:spPr bwMode="gray">
            <a:xfrm>
              <a:off x="436780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6E092F9-9C40-3628-C254-E5B2D9A6AA48}"/>
                </a:ext>
              </a:extLst>
            </p:cNvPr>
            <p:cNvCxnSpPr/>
            <p:nvPr userDrawn="1"/>
          </p:nvCxnSpPr>
          <p:spPr bwMode="gray">
            <a:xfrm>
              <a:off x="494387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4E098906-0864-2358-6AC2-16664A60A97E}"/>
                </a:ext>
              </a:extLst>
            </p:cNvPr>
            <p:cNvCxnSpPr/>
            <p:nvPr userDrawn="1"/>
          </p:nvCxnSpPr>
          <p:spPr bwMode="gray">
            <a:xfrm>
              <a:off x="667206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5A42C355-C105-CA03-0A90-7588743C5293}"/>
                </a:ext>
              </a:extLst>
            </p:cNvPr>
            <p:cNvCxnSpPr/>
            <p:nvPr userDrawn="1"/>
          </p:nvCxnSpPr>
          <p:spPr bwMode="gray">
            <a:xfrm>
              <a:off x="609600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7D516135-5062-7FCF-655B-24C56F5F43E8}"/>
                </a:ext>
              </a:extLst>
            </p:cNvPr>
            <p:cNvCxnSpPr/>
            <p:nvPr userDrawn="1"/>
          </p:nvCxnSpPr>
          <p:spPr bwMode="gray">
            <a:xfrm>
              <a:off x="724812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DD65C410-B0E9-BB6C-1199-12596C94B291}"/>
                </a:ext>
              </a:extLst>
            </p:cNvPr>
            <p:cNvCxnSpPr/>
            <p:nvPr userDrawn="1"/>
          </p:nvCxnSpPr>
          <p:spPr bwMode="gray">
            <a:xfrm>
              <a:off x="782419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6560C0B6-36AF-3938-944D-06AA0ED9FAAB}"/>
                </a:ext>
              </a:extLst>
            </p:cNvPr>
            <p:cNvCxnSpPr/>
            <p:nvPr userDrawn="1"/>
          </p:nvCxnSpPr>
          <p:spPr bwMode="gray">
            <a:xfrm>
              <a:off x="840025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448B40C0-F1A9-BFF9-ED6F-0B8DB794787D}"/>
                </a:ext>
              </a:extLst>
            </p:cNvPr>
            <p:cNvCxnSpPr/>
            <p:nvPr userDrawn="1"/>
          </p:nvCxnSpPr>
          <p:spPr bwMode="gray">
            <a:xfrm>
              <a:off x="897632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>
              <a:extLst>
                <a:ext uri="{FF2B5EF4-FFF2-40B4-BE49-F238E27FC236}">
                  <a16:creationId xmlns:a16="http://schemas.microsoft.com/office/drawing/2014/main" id="{B98F384A-95BE-D4A2-24F0-DDABF8AD7AEA}"/>
                </a:ext>
              </a:extLst>
            </p:cNvPr>
            <p:cNvCxnSpPr/>
            <p:nvPr userDrawn="1"/>
          </p:nvCxnSpPr>
          <p:spPr bwMode="gray">
            <a:xfrm>
              <a:off x="1128057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>
              <a:extLst>
                <a:ext uri="{FF2B5EF4-FFF2-40B4-BE49-F238E27FC236}">
                  <a16:creationId xmlns:a16="http://schemas.microsoft.com/office/drawing/2014/main" id="{CB6CFCED-7F38-F2C4-C7DE-3DD6C5EE678E}"/>
                </a:ext>
              </a:extLst>
            </p:cNvPr>
            <p:cNvCxnSpPr/>
            <p:nvPr userDrawn="1"/>
          </p:nvCxnSpPr>
          <p:spPr bwMode="gray">
            <a:xfrm>
              <a:off x="1185664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8D7772C-E368-9ABA-0CFF-6632615FA97A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29665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r Verbinder 59">
              <a:extLst>
                <a:ext uri="{FF2B5EF4-FFF2-40B4-BE49-F238E27FC236}">
                  <a16:creationId xmlns:a16="http://schemas.microsoft.com/office/drawing/2014/main" id="{BB959AC7-2379-FAA0-1FD2-422343026EF8}"/>
                </a:ext>
              </a:extLst>
            </p:cNvPr>
            <p:cNvCxnSpPr/>
            <p:nvPr userDrawn="1"/>
          </p:nvCxnSpPr>
          <p:spPr bwMode="gray">
            <a:xfrm>
              <a:off x="321568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r Verbinder 60">
              <a:extLst>
                <a:ext uri="{FF2B5EF4-FFF2-40B4-BE49-F238E27FC236}">
                  <a16:creationId xmlns:a16="http://schemas.microsoft.com/office/drawing/2014/main" id="{64D28B8A-7994-FB6A-D985-122068D6D450}"/>
                </a:ext>
              </a:extLst>
            </p:cNvPr>
            <p:cNvCxnSpPr/>
            <p:nvPr userDrawn="1"/>
          </p:nvCxnSpPr>
          <p:spPr bwMode="gray">
            <a:xfrm>
              <a:off x="379174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r Verbinder 61">
              <a:extLst>
                <a:ext uri="{FF2B5EF4-FFF2-40B4-BE49-F238E27FC236}">
                  <a16:creationId xmlns:a16="http://schemas.microsoft.com/office/drawing/2014/main" id="{B9DD28AB-D573-98DA-00EC-090241EA390B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04" y="87272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>
              <a:extLst>
                <a:ext uri="{FF2B5EF4-FFF2-40B4-BE49-F238E27FC236}">
                  <a16:creationId xmlns:a16="http://schemas.microsoft.com/office/drawing/2014/main" id="{B2F3C9C3-1A7C-E95B-F0EC-6A344A1FA2A5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12" y="202484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B448C787-1F88-C334-9BA2-FF68558527BC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68" y="605729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r Verbinder 64">
              <a:extLst>
                <a:ext uri="{FF2B5EF4-FFF2-40B4-BE49-F238E27FC236}">
                  <a16:creationId xmlns:a16="http://schemas.microsoft.com/office/drawing/2014/main" id="{69A8901F-0394-274A-A07B-1364C375787F}"/>
                </a:ext>
              </a:extLst>
            </p:cNvPr>
            <p:cNvCxnSpPr/>
            <p:nvPr/>
          </p:nvCxnSpPr>
          <p:spPr bwMode="gray">
            <a:xfrm>
              <a:off x="1070451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65">
              <a:extLst>
                <a:ext uri="{FF2B5EF4-FFF2-40B4-BE49-F238E27FC236}">
                  <a16:creationId xmlns:a16="http://schemas.microsoft.com/office/drawing/2014/main" id="{CB5CD8C9-61FC-0E04-38DF-4D15717975CD}"/>
                </a:ext>
              </a:extLst>
            </p:cNvPr>
            <p:cNvCxnSpPr/>
            <p:nvPr/>
          </p:nvCxnSpPr>
          <p:spPr bwMode="gray">
            <a:xfrm>
              <a:off x="1012844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0B39C2AC-3596-8D42-126E-9236D2BF0BA2}"/>
                </a:ext>
              </a:extLst>
            </p:cNvPr>
            <p:cNvCxnSpPr/>
            <p:nvPr/>
          </p:nvCxnSpPr>
          <p:spPr bwMode="gray">
            <a:xfrm>
              <a:off x="955059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A68451E5-522C-6C52-B53E-8436EE02D013}"/>
                </a:ext>
              </a:extLst>
            </p:cNvPr>
            <p:cNvCxnSpPr/>
            <p:nvPr/>
          </p:nvCxnSpPr>
          <p:spPr bwMode="gray">
            <a:xfrm>
              <a:off x="551973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902DB303-D441-CB91-1E67-89B18DF6A057}"/>
                </a:ext>
              </a:extLst>
            </p:cNvPr>
            <p:cNvCxnSpPr/>
            <p:nvPr/>
          </p:nvCxnSpPr>
          <p:spPr bwMode="gray">
            <a:xfrm>
              <a:off x="263961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B18F0824-2508-1130-AC29-4E2DF236B063}"/>
                </a:ext>
              </a:extLst>
            </p:cNvPr>
            <p:cNvCxnSpPr/>
            <p:nvPr/>
          </p:nvCxnSpPr>
          <p:spPr bwMode="gray">
            <a:xfrm>
              <a:off x="206355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190EBFE8-815D-349E-EC11-300F45B90F8F}"/>
                </a:ext>
              </a:extLst>
            </p:cNvPr>
            <p:cNvCxnSpPr/>
            <p:nvPr/>
          </p:nvCxnSpPr>
          <p:spPr bwMode="gray">
            <a:xfrm>
              <a:off x="148748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B403BDAD-857A-F8E8-3CAA-B2B644FB14D2}"/>
                </a:ext>
              </a:extLst>
            </p:cNvPr>
            <p:cNvCxnSpPr/>
            <p:nvPr/>
          </p:nvCxnSpPr>
          <p:spPr bwMode="gray">
            <a:xfrm>
              <a:off x="91142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A476C5BD-873C-B470-3F03-7CABF0A2836F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04" y="144878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A5C0BE80-146A-BBAB-261A-16DCFD97DB0C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260091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>
              <a:extLst>
                <a:ext uri="{FF2B5EF4-FFF2-40B4-BE49-F238E27FC236}">
                  <a16:creationId xmlns:a16="http://schemas.microsoft.com/office/drawing/2014/main" id="{296BE370-46ED-1B20-FD46-25DBF1C74068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17697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E4C6563C-8F74-A87F-9484-B65EDBF69B54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75304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>
              <a:extLst>
                <a:ext uri="{FF2B5EF4-FFF2-40B4-BE49-F238E27FC236}">
                  <a16:creationId xmlns:a16="http://schemas.microsoft.com/office/drawing/2014/main" id="{BC02F02B-6FC4-174D-1C1D-1F6FE7CA921B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32910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7801FD70-3997-18D2-485F-DF0C5E8E95CF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90516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r Verbinder 78">
              <a:extLst>
                <a:ext uri="{FF2B5EF4-FFF2-40B4-BE49-F238E27FC236}">
                  <a16:creationId xmlns:a16="http://schemas.microsoft.com/office/drawing/2014/main" id="{F8C86943-ECC4-290D-9993-A6D5E149D49F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548123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93467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2" pos="211">
          <p15:clr>
            <a:srgbClr val="FBAE40"/>
          </p15:clr>
        </p15:guide>
        <p15:guide id="3" pos="3477">
          <p15:clr>
            <a:srgbClr val="FBAE40"/>
          </p15:clr>
        </p15:guide>
        <p15:guide id="4" orient="horz" pos="3838">
          <p15:clr>
            <a:srgbClr val="FBAE40"/>
          </p15:clr>
        </p15:guide>
        <p15:guide id="5" pos="3840">
          <p15:clr>
            <a:srgbClr val="FBAE40"/>
          </p15:clr>
        </p15:guide>
        <p15:guide id="6" pos="7469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 Two contents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ED7002-F83A-6B8F-D9E6-17546EE8A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2179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5ED7002-F83A-6B8F-D9E6-17546EE8A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">
            <a:extLst>
              <a:ext uri="{FF2B5EF4-FFF2-40B4-BE49-F238E27FC236}">
                <a16:creationId xmlns:a16="http://schemas.microsoft.com/office/drawing/2014/main" id="{88B08B0E-0F2C-4F39-8C83-40D56780A4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4964" y="260648"/>
            <a:ext cx="8641356" cy="369332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5360" y="2060575"/>
            <a:ext cx="2303463" cy="4032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03689BB-5D3D-4CA0-AB51-B4084500818D}"/>
              </a:ext>
            </a:extLst>
          </p:cNvPr>
          <p:cNvSpPr>
            <a:spLocks noGrp="1"/>
          </p:cNvSpPr>
          <p:nvPr>
            <p:ph idx="21" hasCustomPrompt="1"/>
          </p:nvPr>
        </p:nvSpPr>
        <p:spPr bwMode="gray">
          <a:xfrm>
            <a:off x="3216275" y="2060575"/>
            <a:ext cx="2303463" cy="4032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096000" y="2060575"/>
            <a:ext cx="5761036" cy="4032250"/>
          </a:xfrm>
          <a:prstGeom prst="rect">
            <a:avLst/>
          </a:prstGeom>
          <a:solidFill>
            <a:srgbClr val="D6D9DC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3B1ED0D1-BB92-A209-12CB-5E66868A7162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D6FE0B10-8CE7-A395-6702-FCCB8373E5C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7C71C22B-0CF1-3788-7480-93CAD59FC73D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019412FF-6722-F213-6E11-8C363A76C104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4963" y="659362"/>
            <a:ext cx="8641357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16" name="Source">
            <a:extLst>
              <a:ext uri="{FF2B5EF4-FFF2-40B4-BE49-F238E27FC236}">
                <a16:creationId xmlns:a16="http://schemas.microsoft.com/office/drawing/2014/main" id="{59B05139-1B3B-EED0-0B6D-4FEB458BD6D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487488" y="6525000"/>
            <a:ext cx="9217024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FFFD3AD1-3A5F-86D0-1754-AE23B12DDF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68768" y="-171392"/>
            <a:ext cx="12025408" cy="6264688"/>
            <a:chOff x="-168768" y="-171392"/>
            <a:chExt cx="12025408" cy="6264688"/>
          </a:xfrm>
        </p:grpSpPr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E958BD63-9A78-3F4F-6FB5-CC4AC348FF44}"/>
                </a:ext>
              </a:extLst>
            </p:cNvPr>
            <p:cNvCxnSpPr/>
            <p:nvPr userDrawn="1"/>
          </p:nvCxnSpPr>
          <p:spPr bwMode="gray">
            <a:xfrm>
              <a:off x="33536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E47D2DBE-9F3E-C0F0-7407-06AB52F575B7}"/>
                </a:ext>
              </a:extLst>
            </p:cNvPr>
            <p:cNvCxnSpPr/>
            <p:nvPr userDrawn="1"/>
          </p:nvCxnSpPr>
          <p:spPr bwMode="gray">
            <a:xfrm>
              <a:off x="436780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C9EA1A7E-DC77-8A6F-12B0-851B70C95771}"/>
                </a:ext>
              </a:extLst>
            </p:cNvPr>
            <p:cNvCxnSpPr/>
            <p:nvPr userDrawn="1"/>
          </p:nvCxnSpPr>
          <p:spPr bwMode="gray">
            <a:xfrm>
              <a:off x="494387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30FD1091-5276-7B02-595D-9B373F1EAA3C}"/>
                </a:ext>
              </a:extLst>
            </p:cNvPr>
            <p:cNvCxnSpPr/>
            <p:nvPr userDrawn="1"/>
          </p:nvCxnSpPr>
          <p:spPr bwMode="gray">
            <a:xfrm>
              <a:off x="667206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2482208D-E74E-8946-4520-00D307C63122}"/>
                </a:ext>
              </a:extLst>
            </p:cNvPr>
            <p:cNvCxnSpPr/>
            <p:nvPr userDrawn="1"/>
          </p:nvCxnSpPr>
          <p:spPr bwMode="gray">
            <a:xfrm>
              <a:off x="609600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A4A2E355-2A22-F7A7-32DA-64A0AF08DA97}"/>
                </a:ext>
              </a:extLst>
            </p:cNvPr>
            <p:cNvCxnSpPr/>
            <p:nvPr userDrawn="1"/>
          </p:nvCxnSpPr>
          <p:spPr bwMode="gray">
            <a:xfrm>
              <a:off x="724812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ECC6CC2B-60B7-8EC9-99A3-2393B9FE003E}"/>
                </a:ext>
              </a:extLst>
            </p:cNvPr>
            <p:cNvCxnSpPr/>
            <p:nvPr userDrawn="1"/>
          </p:nvCxnSpPr>
          <p:spPr bwMode="gray">
            <a:xfrm>
              <a:off x="782419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48D1D7C2-27BE-1ED1-3864-D036E86A1749}"/>
                </a:ext>
              </a:extLst>
            </p:cNvPr>
            <p:cNvCxnSpPr/>
            <p:nvPr userDrawn="1"/>
          </p:nvCxnSpPr>
          <p:spPr bwMode="gray">
            <a:xfrm>
              <a:off x="840025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>
              <a:extLst>
                <a:ext uri="{FF2B5EF4-FFF2-40B4-BE49-F238E27FC236}">
                  <a16:creationId xmlns:a16="http://schemas.microsoft.com/office/drawing/2014/main" id="{DF5C382E-129D-4904-CE48-AE3C01BB479B}"/>
                </a:ext>
              </a:extLst>
            </p:cNvPr>
            <p:cNvCxnSpPr/>
            <p:nvPr userDrawn="1"/>
          </p:nvCxnSpPr>
          <p:spPr bwMode="gray">
            <a:xfrm>
              <a:off x="897632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>
              <a:extLst>
                <a:ext uri="{FF2B5EF4-FFF2-40B4-BE49-F238E27FC236}">
                  <a16:creationId xmlns:a16="http://schemas.microsoft.com/office/drawing/2014/main" id="{5363FEF9-7F6A-B222-906C-B5414C1A6B13}"/>
                </a:ext>
              </a:extLst>
            </p:cNvPr>
            <p:cNvCxnSpPr/>
            <p:nvPr userDrawn="1"/>
          </p:nvCxnSpPr>
          <p:spPr bwMode="gray">
            <a:xfrm>
              <a:off x="1128057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24D45F17-8614-0604-A820-2001EA932014}"/>
                </a:ext>
              </a:extLst>
            </p:cNvPr>
            <p:cNvCxnSpPr/>
            <p:nvPr userDrawn="1"/>
          </p:nvCxnSpPr>
          <p:spPr bwMode="gray">
            <a:xfrm>
              <a:off x="1185664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7CE4C2FB-8AF6-437F-6A23-70AA6C188FD1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29665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F06A52B2-391E-E811-2849-E788301CCA32}"/>
                </a:ext>
              </a:extLst>
            </p:cNvPr>
            <p:cNvCxnSpPr/>
            <p:nvPr userDrawn="1"/>
          </p:nvCxnSpPr>
          <p:spPr bwMode="gray">
            <a:xfrm>
              <a:off x="321568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r Verbinder 60">
              <a:extLst>
                <a:ext uri="{FF2B5EF4-FFF2-40B4-BE49-F238E27FC236}">
                  <a16:creationId xmlns:a16="http://schemas.microsoft.com/office/drawing/2014/main" id="{948F11C1-F679-35AF-DD72-E0E6A202FDB7}"/>
                </a:ext>
              </a:extLst>
            </p:cNvPr>
            <p:cNvCxnSpPr/>
            <p:nvPr userDrawn="1"/>
          </p:nvCxnSpPr>
          <p:spPr bwMode="gray">
            <a:xfrm>
              <a:off x="379174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r Verbinder 61">
              <a:extLst>
                <a:ext uri="{FF2B5EF4-FFF2-40B4-BE49-F238E27FC236}">
                  <a16:creationId xmlns:a16="http://schemas.microsoft.com/office/drawing/2014/main" id="{E3512488-CD6F-DAA5-37E5-0A82290ADD76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04" y="87272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>
              <a:extLst>
                <a:ext uri="{FF2B5EF4-FFF2-40B4-BE49-F238E27FC236}">
                  <a16:creationId xmlns:a16="http://schemas.microsoft.com/office/drawing/2014/main" id="{E2CA7F89-4781-CABC-C38D-C8B15AD88B24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12" y="202484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1599C92F-D7D6-11B3-B625-7C47A43DD4BB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68" y="605729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r Verbinder 64">
              <a:extLst>
                <a:ext uri="{FF2B5EF4-FFF2-40B4-BE49-F238E27FC236}">
                  <a16:creationId xmlns:a16="http://schemas.microsoft.com/office/drawing/2014/main" id="{5F7E4E66-F5F0-9DB4-736D-0D5E668372BE}"/>
                </a:ext>
              </a:extLst>
            </p:cNvPr>
            <p:cNvCxnSpPr/>
            <p:nvPr/>
          </p:nvCxnSpPr>
          <p:spPr bwMode="gray">
            <a:xfrm>
              <a:off x="1070451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65">
              <a:extLst>
                <a:ext uri="{FF2B5EF4-FFF2-40B4-BE49-F238E27FC236}">
                  <a16:creationId xmlns:a16="http://schemas.microsoft.com/office/drawing/2014/main" id="{572A89D7-B6CA-3B49-D3E7-F6CF59FAD173}"/>
                </a:ext>
              </a:extLst>
            </p:cNvPr>
            <p:cNvCxnSpPr/>
            <p:nvPr/>
          </p:nvCxnSpPr>
          <p:spPr bwMode="gray">
            <a:xfrm>
              <a:off x="1012844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F1308764-6681-CBBE-E0AC-93761C28F9C8}"/>
                </a:ext>
              </a:extLst>
            </p:cNvPr>
            <p:cNvCxnSpPr/>
            <p:nvPr/>
          </p:nvCxnSpPr>
          <p:spPr bwMode="gray">
            <a:xfrm>
              <a:off x="955059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80B5EC5A-0EB6-2006-DD61-1C1C2144BF87}"/>
                </a:ext>
              </a:extLst>
            </p:cNvPr>
            <p:cNvCxnSpPr/>
            <p:nvPr/>
          </p:nvCxnSpPr>
          <p:spPr bwMode="gray">
            <a:xfrm>
              <a:off x="551973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6B8315B2-0539-B655-05B4-EADEA1153939}"/>
                </a:ext>
              </a:extLst>
            </p:cNvPr>
            <p:cNvCxnSpPr/>
            <p:nvPr/>
          </p:nvCxnSpPr>
          <p:spPr bwMode="gray">
            <a:xfrm>
              <a:off x="263961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398460DC-7AB0-13D8-A248-E12478299181}"/>
                </a:ext>
              </a:extLst>
            </p:cNvPr>
            <p:cNvCxnSpPr/>
            <p:nvPr/>
          </p:nvCxnSpPr>
          <p:spPr bwMode="gray">
            <a:xfrm>
              <a:off x="206355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443564B1-571E-AD09-364F-DD599D5F1484}"/>
                </a:ext>
              </a:extLst>
            </p:cNvPr>
            <p:cNvCxnSpPr/>
            <p:nvPr/>
          </p:nvCxnSpPr>
          <p:spPr bwMode="gray">
            <a:xfrm>
              <a:off x="148748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73AF4833-FF69-99ED-2FFC-86A530ABAC9A}"/>
                </a:ext>
              </a:extLst>
            </p:cNvPr>
            <p:cNvCxnSpPr/>
            <p:nvPr/>
          </p:nvCxnSpPr>
          <p:spPr bwMode="gray">
            <a:xfrm>
              <a:off x="91142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1C256CF4-BA21-6395-C8DE-50D2BFB6A149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04" y="144878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B9E59FAE-5C1F-46AD-A40D-185AE0DBB48C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260091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>
              <a:extLst>
                <a:ext uri="{FF2B5EF4-FFF2-40B4-BE49-F238E27FC236}">
                  <a16:creationId xmlns:a16="http://schemas.microsoft.com/office/drawing/2014/main" id="{391E6170-451E-060F-6E52-BF4DBBAAF63D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17697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33F7CC10-3018-84BE-7FE8-605EB0C450E7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75304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>
              <a:extLst>
                <a:ext uri="{FF2B5EF4-FFF2-40B4-BE49-F238E27FC236}">
                  <a16:creationId xmlns:a16="http://schemas.microsoft.com/office/drawing/2014/main" id="{4FD2CC9B-56CE-F470-3B02-8A464F565935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32910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5EC03F2D-C580-DD19-A206-208DB09700B4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90516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r Verbinder 78">
              <a:extLst>
                <a:ext uri="{FF2B5EF4-FFF2-40B4-BE49-F238E27FC236}">
                  <a16:creationId xmlns:a16="http://schemas.microsoft.com/office/drawing/2014/main" id="{5D1DAFD2-B917-ADF3-6CDD-E750A6CD674D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548123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79230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2" pos="211">
          <p15:clr>
            <a:srgbClr val="FBAE40"/>
          </p15:clr>
        </p15:guide>
        <p15:guide id="3" pos="3840">
          <p15:clr>
            <a:srgbClr val="FBAE40"/>
          </p15:clr>
        </p15:guide>
        <p15:guide id="4" pos="3477">
          <p15:clr>
            <a:srgbClr val="FBAE40"/>
          </p15:clr>
        </p15:guide>
        <p15:guide id="5" pos="7469">
          <p15:clr>
            <a:srgbClr val="FBAE40"/>
          </p15:clr>
        </p15:guide>
        <p15:guide id="6" orient="horz" pos="3838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C35FD4C-3043-1756-DD5D-A13E5033E6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8708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C35FD4C-3043-1756-DD5D-A13E5033E6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hape">
            <a:extLst>
              <a:ext uri="{FF2B5EF4-FFF2-40B4-BE49-F238E27FC236}">
                <a16:creationId xmlns:a16="http://schemas.microsoft.com/office/drawing/2014/main" id="{3F86E13A-084F-ED45-B21A-6735204194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10704512" y="0"/>
            <a:ext cx="360040" cy="13414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1600"/>
          </a:p>
        </p:txBody>
      </p:sp>
      <p:sp>
        <p:nvSpPr>
          <p:cNvPr id="20" name="Picture">
            <a:extLst>
              <a:ext uri="{FF2B5EF4-FFF2-40B4-BE49-F238E27FC236}">
                <a16:creationId xmlns:a16="http://schemas.microsoft.com/office/drawing/2014/main" id="{4A4DB585-6D1E-7B61-ADF1-62BBDEF4151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0" y="0"/>
            <a:ext cx="10704512" cy="6858000"/>
          </a:xfrm>
          <a:custGeom>
            <a:avLst/>
            <a:gdLst>
              <a:gd name="connsiteX0" fmla="*/ 0 w 10632504"/>
              <a:gd name="connsiteY0" fmla="*/ 0 h 6858000"/>
              <a:gd name="connsiteX1" fmla="*/ 10632504 w 10632504"/>
              <a:gd name="connsiteY1" fmla="*/ 0 h 6858000"/>
              <a:gd name="connsiteX2" fmla="*/ 10632504 w 10632504"/>
              <a:gd name="connsiteY2" fmla="*/ 6858000 h 6858000"/>
              <a:gd name="connsiteX3" fmla="*/ 0 w 1063250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632504" h="6858000">
                <a:moveTo>
                  <a:pt x="0" y="0"/>
                </a:moveTo>
                <a:lnTo>
                  <a:pt x="10632504" y="0"/>
                </a:lnTo>
                <a:lnTo>
                  <a:pt x="1063250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6D9DC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22" name="Content">
            <a:extLst>
              <a:ext uri="{FF2B5EF4-FFF2-40B4-BE49-F238E27FC236}">
                <a16:creationId xmlns:a16="http://schemas.microsoft.com/office/drawing/2014/main" id="{93536E9D-E5E2-4B0C-91F6-B80985E0540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11424" y="1484784"/>
            <a:ext cx="3464918" cy="2544488"/>
          </a:xfrm>
          <a:solidFill>
            <a:schemeClr val="bg1"/>
          </a:solidFill>
        </p:spPr>
        <p:txBody>
          <a:bodyPr wrap="square" lIns="216000" tIns="216000" rIns="216000" bIns="216000">
            <a:spAutoFit/>
          </a:bodyPr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861F5B2-6906-1716-D379-D3C5A569D00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7/26/2022</a:t>
            </a:r>
            <a:endParaRPr lang="en-GB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1E75756F-1CDF-EF5B-5988-A7CCF322C072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BCFAECC-FD3D-79EC-CCCF-AFA7311FF2A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Source">
            <a:extLst>
              <a:ext uri="{FF2B5EF4-FFF2-40B4-BE49-F238E27FC236}">
                <a16:creationId xmlns:a16="http://schemas.microsoft.com/office/drawing/2014/main" id="{2C749477-9657-0C6B-A088-A8A71DEF578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487488" y="6525000"/>
            <a:ext cx="9217024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</p:spTree>
    <p:extLst>
      <p:ext uri="{BB962C8B-B14F-4D97-AF65-F5344CB8AC3E}">
        <p14:creationId xmlns:p14="http://schemas.microsoft.com/office/powerpoint/2010/main" val="19310746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pictur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">
            <a:extLst>
              <a:ext uri="{FF2B5EF4-FFF2-40B4-BE49-F238E27FC236}">
                <a16:creationId xmlns:a16="http://schemas.microsoft.com/office/drawing/2014/main" id="{F9147370-4CB5-4DED-AFC1-3924091C14B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0" y="0"/>
            <a:ext cx="8401050" cy="6858000"/>
          </a:xfrm>
          <a:custGeom>
            <a:avLst/>
            <a:gdLst>
              <a:gd name="connsiteX0" fmla="*/ 0 w 8112125"/>
              <a:gd name="connsiteY0" fmla="*/ 0 h 6858000"/>
              <a:gd name="connsiteX1" fmla="*/ 8112125 w 8112125"/>
              <a:gd name="connsiteY1" fmla="*/ 0 h 6858000"/>
              <a:gd name="connsiteX2" fmla="*/ 8112125 w 8112125"/>
              <a:gd name="connsiteY2" fmla="*/ 6858000 h 6858000"/>
              <a:gd name="connsiteX3" fmla="*/ 0 w 811212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12125" h="6858000">
                <a:moveTo>
                  <a:pt x="0" y="0"/>
                </a:moveTo>
                <a:lnTo>
                  <a:pt x="8112125" y="0"/>
                </a:lnTo>
                <a:lnTo>
                  <a:pt x="811212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6D9DC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22" name="Content">
            <a:extLst>
              <a:ext uri="{FF2B5EF4-FFF2-40B4-BE49-F238E27FC236}">
                <a16:creationId xmlns:a16="http://schemas.microsoft.com/office/drawing/2014/main" id="{93536E9D-E5E2-4B0C-91F6-B80985E0540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76320" y="1484313"/>
            <a:ext cx="2880320" cy="4608512"/>
          </a:xfrm>
          <a:solidFill>
            <a:schemeClr val="bg1"/>
          </a:solidFill>
        </p:spPr>
        <p:txBody>
          <a:bodyPr lIns="0" tIns="0" rIns="0" bIns="0"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DD1EB82-0E41-215C-6190-8D0BC4895644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7/26/2022</a:t>
            </a:r>
            <a:endParaRPr lang="en-GB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2393FDA-973F-47E0-E8F5-149BD574CD3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5417EB2-F133-D479-A691-8176FFB9A4B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Source">
            <a:extLst>
              <a:ext uri="{FF2B5EF4-FFF2-40B4-BE49-F238E27FC236}">
                <a16:creationId xmlns:a16="http://schemas.microsoft.com/office/drawing/2014/main" id="{08F68454-D295-CB65-5C51-4ED8F4D957F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487488" y="6525000"/>
            <a:ext cx="9217024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</p:spTree>
    <p:extLst>
      <p:ext uri="{BB962C8B-B14F-4D97-AF65-F5344CB8AC3E}">
        <p14:creationId xmlns:p14="http://schemas.microsoft.com/office/powerpoint/2010/main" val="3827259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7A2906F-27B2-6898-E426-FFE51F1AFB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1188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7A2906F-27B2-6898-E426-FFE51F1AFB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0EA33E6C-B6EA-4396-A2D1-BF412B2609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4964" y="260648"/>
            <a:ext cx="8641356" cy="369332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/>
              <a:t>Insert your headline in Lato Heavy 24 pt here</a:t>
            </a:r>
          </a:p>
        </p:txBody>
      </p:sp>
      <p:sp>
        <p:nvSpPr>
          <p:cNvPr id="5" name="Picture 1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34963" y="1484312"/>
            <a:ext cx="5184775" cy="4608513"/>
          </a:xfrm>
          <a:prstGeom prst="rect">
            <a:avLst/>
          </a:prstGeom>
          <a:solidFill>
            <a:srgbClr val="D6D9DC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9" name="Picture 2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095999" y="1484313"/>
            <a:ext cx="5184775" cy="4608512"/>
          </a:xfrm>
          <a:prstGeom prst="rect">
            <a:avLst/>
          </a:prstGeom>
          <a:solidFill>
            <a:srgbClr val="D6D9DC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011BA18-5B9A-E233-8556-0E941826F1E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F018429F-CBC5-8CC4-93E2-90687B92205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3394B7ED-5ED8-3619-1491-FB0DD16AE4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7A17EE86-603C-E177-1A6E-48ABB8CD7A28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4963" y="659362"/>
            <a:ext cx="8641357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15" name="Source">
            <a:extLst>
              <a:ext uri="{FF2B5EF4-FFF2-40B4-BE49-F238E27FC236}">
                <a16:creationId xmlns:a16="http://schemas.microsoft.com/office/drawing/2014/main" id="{54DA4A41-0823-5AD7-993C-B235F1FB9BC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487488" y="6525000"/>
            <a:ext cx="9217024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A1B4635A-14FA-C524-7ED6-A42B91198D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68768" y="-171392"/>
            <a:ext cx="12025408" cy="6264688"/>
            <a:chOff x="-168768" y="-171392"/>
            <a:chExt cx="12025408" cy="6264688"/>
          </a:xfrm>
        </p:grpSpPr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5532B2F2-7373-C587-AA63-C7B21CC77F2A}"/>
                </a:ext>
              </a:extLst>
            </p:cNvPr>
            <p:cNvCxnSpPr/>
            <p:nvPr userDrawn="1"/>
          </p:nvCxnSpPr>
          <p:spPr bwMode="gray">
            <a:xfrm>
              <a:off x="33536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D3F7A3B3-163F-4CBF-2243-BB2D0446B527}"/>
                </a:ext>
              </a:extLst>
            </p:cNvPr>
            <p:cNvCxnSpPr/>
            <p:nvPr userDrawn="1"/>
          </p:nvCxnSpPr>
          <p:spPr bwMode="gray">
            <a:xfrm>
              <a:off x="436780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D0C6E901-57C6-D501-D4A2-FF56B0FD415A}"/>
                </a:ext>
              </a:extLst>
            </p:cNvPr>
            <p:cNvCxnSpPr/>
            <p:nvPr userDrawn="1"/>
          </p:nvCxnSpPr>
          <p:spPr bwMode="gray">
            <a:xfrm>
              <a:off x="494387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569F18F1-4A5F-E680-90D1-31F1CFAE519D}"/>
                </a:ext>
              </a:extLst>
            </p:cNvPr>
            <p:cNvCxnSpPr/>
            <p:nvPr userDrawn="1"/>
          </p:nvCxnSpPr>
          <p:spPr bwMode="gray">
            <a:xfrm>
              <a:off x="667206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A784A56-235A-D652-02F6-BEC4F2526378}"/>
                </a:ext>
              </a:extLst>
            </p:cNvPr>
            <p:cNvCxnSpPr/>
            <p:nvPr userDrawn="1"/>
          </p:nvCxnSpPr>
          <p:spPr bwMode="gray">
            <a:xfrm>
              <a:off x="609600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9523D5E-AEC2-0A5B-44F4-8031EF99EC17}"/>
                </a:ext>
              </a:extLst>
            </p:cNvPr>
            <p:cNvCxnSpPr/>
            <p:nvPr userDrawn="1"/>
          </p:nvCxnSpPr>
          <p:spPr bwMode="gray">
            <a:xfrm>
              <a:off x="724812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64BAEACD-9243-C3E8-E41F-5179A28C4BB8}"/>
                </a:ext>
              </a:extLst>
            </p:cNvPr>
            <p:cNvCxnSpPr/>
            <p:nvPr userDrawn="1"/>
          </p:nvCxnSpPr>
          <p:spPr bwMode="gray">
            <a:xfrm>
              <a:off x="782419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1D805557-0B8B-63C5-3823-A6053581EB36}"/>
                </a:ext>
              </a:extLst>
            </p:cNvPr>
            <p:cNvCxnSpPr/>
            <p:nvPr userDrawn="1"/>
          </p:nvCxnSpPr>
          <p:spPr bwMode="gray">
            <a:xfrm>
              <a:off x="840025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2BB91C06-57E0-2A5A-59BB-4C75BBFF84A2}"/>
                </a:ext>
              </a:extLst>
            </p:cNvPr>
            <p:cNvCxnSpPr/>
            <p:nvPr userDrawn="1"/>
          </p:nvCxnSpPr>
          <p:spPr bwMode="gray">
            <a:xfrm>
              <a:off x="897632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>
              <a:extLst>
                <a:ext uri="{FF2B5EF4-FFF2-40B4-BE49-F238E27FC236}">
                  <a16:creationId xmlns:a16="http://schemas.microsoft.com/office/drawing/2014/main" id="{E77AA35C-448C-4714-6899-C61E3349E1AB}"/>
                </a:ext>
              </a:extLst>
            </p:cNvPr>
            <p:cNvCxnSpPr/>
            <p:nvPr userDrawn="1"/>
          </p:nvCxnSpPr>
          <p:spPr bwMode="gray">
            <a:xfrm>
              <a:off x="1128057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>
              <a:extLst>
                <a:ext uri="{FF2B5EF4-FFF2-40B4-BE49-F238E27FC236}">
                  <a16:creationId xmlns:a16="http://schemas.microsoft.com/office/drawing/2014/main" id="{793FF167-5E32-6F3E-FE47-AFDA42B7040E}"/>
                </a:ext>
              </a:extLst>
            </p:cNvPr>
            <p:cNvCxnSpPr/>
            <p:nvPr userDrawn="1"/>
          </p:nvCxnSpPr>
          <p:spPr bwMode="gray">
            <a:xfrm>
              <a:off x="1185664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96A7EBEF-B5F9-636C-83BE-9C441DD21B19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29665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r Verbinder 58">
              <a:extLst>
                <a:ext uri="{FF2B5EF4-FFF2-40B4-BE49-F238E27FC236}">
                  <a16:creationId xmlns:a16="http://schemas.microsoft.com/office/drawing/2014/main" id="{766B274E-2712-E1AD-5C39-29DD4BAC0232}"/>
                </a:ext>
              </a:extLst>
            </p:cNvPr>
            <p:cNvCxnSpPr/>
            <p:nvPr userDrawn="1"/>
          </p:nvCxnSpPr>
          <p:spPr bwMode="gray">
            <a:xfrm>
              <a:off x="321568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r Verbinder 59">
              <a:extLst>
                <a:ext uri="{FF2B5EF4-FFF2-40B4-BE49-F238E27FC236}">
                  <a16:creationId xmlns:a16="http://schemas.microsoft.com/office/drawing/2014/main" id="{47F45D18-EBB4-26AE-7281-4E21F532B3A7}"/>
                </a:ext>
              </a:extLst>
            </p:cNvPr>
            <p:cNvCxnSpPr/>
            <p:nvPr userDrawn="1"/>
          </p:nvCxnSpPr>
          <p:spPr bwMode="gray">
            <a:xfrm>
              <a:off x="379174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r Verbinder 60">
              <a:extLst>
                <a:ext uri="{FF2B5EF4-FFF2-40B4-BE49-F238E27FC236}">
                  <a16:creationId xmlns:a16="http://schemas.microsoft.com/office/drawing/2014/main" id="{C1391206-7C0F-231E-AA91-A87C63461E8A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04" y="87272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r Verbinder 61">
              <a:extLst>
                <a:ext uri="{FF2B5EF4-FFF2-40B4-BE49-F238E27FC236}">
                  <a16:creationId xmlns:a16="http://schemas.microsoft.com/office/drawing/2014/main" id="{1A3D583A-5C3B-3F30-92F2-22786CA4D2AF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12" y="202484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>
              <a:extLst>
                <a:ext uri="{FF2B5EF4-FFF2-40B4-BE49-F238E27FC236}">
                  <a16:creationId xmlns:a16="http://schemas.microsoft.com/office/drawing/2014/main" id="{3C61BAF1-0A97-646E-EA86-29876679B465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68" y="605729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DF5C80C0-AD22-B7C5-66ED-5015B9440FE7}"/>
                </a:ext>
              </a:extLst>
            </p:cNvPr>
            <p:cNvCxnSpPr/>
            <p:nvPr/>
          </p:nvCxnSpPr>
          <p:spPr bwMode="gray">
            <a:xfrm>
              <a:off x="1070451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r Verbinder 64">
              <a:extLst>
                <a:ext uri="{FF2B5EF4-FFF2-40B4-BE49-F238E27FC236}">
                  <a16:creationId xmlns:a16="http://schemas.microsoft.com/office/drawing/2014/main" id="{F97B15E7-654A-255B-457D-FADB18076995}"/>
                </a:ext>
              </a:extLst>
            </p:cNvPr>
            <p:cNvCxnSpPr/>
            <p:nvPr/>
          </p:nvCxnSpPr>
          <p:spPr bwMode="gray">
            <a:xfrm>
              <a:off x="1012844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65">
              <a:extLst>
                <a:ext uri="{FF2B5EF4-FFF2-40B4-BE49-F238E27FC236}">
                  <a16:creationId xmlns:a16="http://schemas.microsoft.com/office/drawing/2014/main" id="{B4DBFA9D-2106-D5AF-53EE-E0C4C56063C8}"/>
                </a:ext>
              </a:extLst>
            </p:cNvPr>
            <p:cNvCxnSpPr/>
            <p:nvPr/>
          </p:nvCxnSpPr>
          <p:spPr bwMode="gray">
            <a:xfrm>
              <a:off x="955059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9E349BEC-0112-D12A-4B8C-2FA418AE9C32}"/>
                </a:ext>
              </a:extLst>
            </p:cNvPr>
            <p:cNvCxnSpPr/>
            <p:nvPr/>
          </p:nvCxnSpPr>
          <p:spPr bwMode="gray">
            <a:xfrm>
              <a:off x="551973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EA10A2BB-4337-CAC1-11B3-576CF8DD0A7D}"/>
                </a:ext>
              </a:extLst>
            </p:cNvPr>
            <p:cNvCxnSpPr/>
            <p:nvPr/>
          </p:nvCxnSpPr>
          <p:spPr bwMode="gray">
            <a:xfrm>
              <a:off x="263961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C23F21F7-4368-A63C-813D-DCD4EBAC9820}"/>
                </a:ext>
              </a:extLst>
            </p:cNvPr>
            <p:cNvCxnSpPr/>
            <p:nvPr/>
          </p:nvCxnSpPr>
          <p:spPr bwMode="gray">
            <a:xfrm>
              <a:off x="206355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97928159-D451-8956-FF1D-990080A35F9E}"/>
                </a:ext>
              </a:extLst>
            </p:cNvPr>
            <p:cNvCxnSpPr/>
            <p:nvPr/>
          </p:nvCxnSpPr>
          <p:spPr bwMode="gray">
            <a:xfrm>
              <a:off x="148748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9657E762-DEA0-F1DF-6726-EF9E6400ECF0}"/>
                </a:ext>
              </a:extLst>
            </p:cNvPr>
            <p:cNvCxnSpPr/>
            <p:nvPr/>
          </p:nvCxnSpPr>
          <p:spPr bwMode="gray">
            <a:xfrm>
              <a:off x="91142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C80F5CE6-E562-2445-7573-622B2748DA50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04" y="144878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05D44670-EF20-CAEB-64F0-44EA212FF2CD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260091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6F5A6501-6DF4-82DC-63C6-78692F562D9A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17697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>
              <a:extLst>
                <a:ext uri="{FF2B5EF4-FFF2-40B4-BE49-F238E27FC236}">
                  <a16:creationId xmlns:a16="http://schemas.microsoft.com/office/drawing/2014/main" id="{11532178-8F6B-C260-A8A9-AE7E39ADF535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75304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FFB0556E-3F3E-55FD-AA21-3845378C8B68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32910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>
              <a:extLst>
                <a:ext uri="{FF2B5EF4-FFF2-40B4-BE49-F238E27FC236}">
                  <a16:creationId xmlns:a16="http://schemas.microsoft.com/office/drawing/2014/main" id="{08C66409-7CE9-78FF-5609-1FDD2D045B57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90516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E18769AC-AEFE-F4EE-524B-F56558753FFD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548123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88133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838">
          <p15:clr>
            <a:srgbClr val="FBAE40"/>
          </p15:clr>
        </p15:guide>
        <p15:guide id="3" pos="3840">
          <p15:clr>
            <a:srgbClr val="FBAE40"/>
          </p15:clr>
        </p15:guide>
        <p15:guide id="4" pos="3477">
          <p15:clr>
            <a:srgbClr val="FBAE40"/>
          </p15:clr>
        </p15:guide>
        <p15:guide id="5" pos="211">
          <p15:clr>
            <a:srgbClr val="FBAE40"/>
          </p15:clr>
        </p15:guide>
        <p15:guide id="6" pos="710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|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D0B7EAD1-D403-6006-8638-3B821879AC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8B7C92CF-EA39-582F-C369-FE148172783F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E6F027C0-A2BB-A0CC-1CF3-57934A8CE893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E62F518F-2AD9-099C-EC8A-3B22D3467D45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72FB2EC0-2F3A-2048-6FC6-DC4397442D98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1E3B162B-1D4A-1415-F076-A950A7CCDAA0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D5939C76-D103-3E74-7476-367ED478A48F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72" name="Rechteck 171">
              <a:extLst>
                <a:ext uri="{FF2B5EF4-FFF2-40B4-BE49-F238E27FC236}">
                  <a16:creationId xmlns:a16="http://schemas.microsoft.com/office/drawing/2014/main" id="{7718F72E-7079-D94C-8D3D-782E947F895D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173" name="Rechteck 172">
              <a:extLst>
                <a:ext uri="{FF2B5EF4-FFF2-40B4-BE49-F238E27FC236}">
                  <a16:creationId xmlns:a16="http://schemas.microsoft.com/office/drawing/2014/main" id="{860C586F-B095-7AC1-E4F0-07D38DCE17CD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5536E526-096B-4DEB-2B08-C20AF7862D69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2C02C7AC-0F11-2357-090E-150B2EF10EFF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E9FED89E-41D9-5607-E552-903C27416822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EF024D74-FAFD-D892-77F5-5CF4A28B9D8F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3" name="Rechteck 212">
              <a:extLst>
                <a:ext uri="{FF2B5EF4-FFF2-40B4-BE49-F238E27FC236}">
                  <a16:creationId xmlns:a16="http://schemas.microsoft.com/office/drawing/2014/main" id="{989CEA06-DBE6-279F-E184-79B5CC771588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6DA004B8-A0F1-0F05-9438-ED25C38EB938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5" name="Rechteck 214">
              <a:extLst>
                <a:ext uri="{FF2B5EF4-FFF2-40B4-BE49-F238E27FC236}">
                  <a16:creationId xmlns:a16="http://schemas.microsoft.com/office/drawing/2014/main" id="{E609046D-5092-1D0D-1641-BDCB3A8726E8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6" name="Rechteck 215">
              <a:extLst>
                <a:ext uri="{FF2B5EF4-FFF2-40B4-BE49-F238E27FC236}">
                  <a16:creationId xmlns:a16="http://schemas.microsoft.com/office/drawing/2014/main" id="{622C8FD2-DBB5-3447-1EB8-9FE3FDF0A8D4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7" name="Rechteck 216">
              <a:extLst>
                <a:ext uri="{FF2B5EF4-FFF2-40B4-BE49-F238E27FC236}">
                  <a16:creationId xmlns:a16="http://schemas.microsoft.com/office/drawing/2014/main" id="{1C4E9C6D-5CF8-2B15-B255-15647B2A64FA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8" name="Rechteck 217">
              <a:extLst>
                <a:ext uri="{FF2B5EF4-FFF2-40B4-BE49-F238E27FC236}">
                  <a16:creationId xmlns:a16="http://schemas.microsoft.com/office/drawing/2014/main" id="{0F833EE5-CAE6-5744-6906-50D3F2B0FEE1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19" name="Rechteck 218">
              <a:extLst>
                <a:ext uri="{FF2B5EF4-FFF2-40B4-BE49-F238E27FC236}">
                  <a16:creationId xmlns:a16="http://schemas.microsoft.com/office/drawing/2014/main" id="{454C5197-AED1-149B-ED26-262B2841F50D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0" name="Rechteck 219">
              <a:extLst>
                <a:ext uri="{FF2B5EF4-FFF2-40B4-BE49-F238E27FC236}">
                  <a16:creationId xmlns:a16="http://schemas.microsoft.com/office/drawing/2014/main" id="{5505D093-E6CC-2743-D6F0-5167B1DF11E6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1" name="Rechteck 220">
              <a:extLst>
                <a:ext uri="{FF2B5EF4-FFF2-40B4-BE49-F238E27FC236}">
                  <a16:creationId xmlns:a16="http://schemas.microsoft.com/office/drawing/2014/main" id="{A1CECBF9-8FF4-009E-2C38-FF42B7F6648B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2" name="Rechteck 221">
              <a:extLst>
                <a:ext uri="{FF2B5EF4-FFF2-40B4-BE49-F238E27FC236}">
                  <a16:creationId xmlns:a16="http://schemas.microsoft.com/office/drawing/2014/main" id="{AB3E564B-BE98-E755-FBF3-311F1B592A64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3" name="Rechteck 222">
              <a:extLst>
                <a:ext uri="{FF2B5EF4-FFF2-40B4-BE49-F238E27FC236}">
                  <a16:creationId xmlns:a16="http://schemas.microsoft.com/office/drawing/2014/main" id="{85F4CCA9-5C75-95AF-AF39-09ADF2CA3157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4" name="Rechteck 223">
              <a:extLst>
                <a:ext uri="{FF2B5EF4-FFF2-40B4-BE49-F238E27FC236}">
                  <a16:creationId xmlns:a16="http://schemas.microsoft.com/office/drawing/2014/main" id="{AD04EC9C-A152-96F5-8EFB-917EB42D5D81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B90CA084-0212-16E7-35F3-21520E0D735F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D5FF6BEF-8F32-1CA3-F39D-C68BB959D9CC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7" name="Rechteck 226">
              <a:extLst>
                <a:ext uri="{FF2B5EF4-FFF2-40B4-BE49-F238E27FC236}">
                  <a16:creationId xmlns:a16="http://schemas.microsoft.com/office/drawing/2014/main" id="{0F47FABF-E354-5DE1-E669-D9E3FE443B5F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5411DC85-0684-D24B-C4F0-A233ADBE7657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29" name="Rechteck 228">
              <a:extLst>
                <a:ext uri="{FF2B5EF4-FFF2-40B4-BE49-F238E27FC236}">
                  <a16:creationId xmlns:a16="http://schemas.microsoft.com/office/drawing/2014/main" id="{40FCDB6F-59A2-1ECB-B9EA-D2B293D2E535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0" name="Rechteck 229">
              <a:extLst>
                <a:ext uri="{FF2B5EF4-FFF2-40B4-BE49-F238E27FC236}">
                  <a16:creationId xmlns:a16="http://schemas.microsoft.com/office/drawing/2014/main" id="{EDC1BBBA-34C5-1993-3F40-B5BD08423839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1" name="Rechteck 230">
              <a:extLst>
                <a:ext uri="{FF2B5EF4-FFF2-40B4-BE49-F238E27FC236}">
                  <a16:creationId xmlns:a16="http://schemas.microsoft.com/office/drawing/2014/main" id="{0A7642A7-F6C9-6C53-FFFE-2CBF33A29079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2" name="Rechteck 231">
              <a:extLst>
                <a:ext uri="{FF2B5EF4-FFF2-40B4-BE49-F238E27FC236}">
                  <a16:creationId xmlns:a16="http://schemas.microsoft.com/office/drawing/2014/main" id="{134183F6-066E-7BEC-20BE-8656CA33F940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3" name="Rechteck 232">
              <a:extLst>
                <a:ext uri="{FF2B5EF4-FFF2-40B4-BE49-F238E27FC236}">
                  <a16:creationId xmlns:a16="http://schemas.microsoft.com/office/drawing/2014/main" id="{2C74112C-CF40-11A1-E07A-D5D1E6E5A2E1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4" name="Rechteck 233">
              <a:extLst>
                <a:ext uri="{FF2B5EF4-FFF2-40B4-BE49-F238E27FC236}">
                  <a16:creationId xmlns:a16="http://schemas.microsoft.com/office/drawing/2014/main" id="{4A92AE38-2D76-9897-6BE9-302642AFAE56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5" name="Rechteck 234">
              <a:extLst>
                <a:ext uri="{FF2B5EF4-FFF2-40B4-BE49-F238E27FC236}">
                  <a16:creationId xmlns:a16="http://schemas.microsoft.com/office/drawing/2014/main" id="{2A59BE32-6AD3-AB05-E1D5-5993AAFB1592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6" name="Rechteck 235">
              <a:extLst>
                <a:ext uri="{FF2B5EF4-FFF2-40B4-BE49-F238E27FC236}">
                  <a16:creationId xmlns:a16="http://schemas.microsoft.com/office/drawing/2014/main" id="{57812970-ABA0-1409-C41E-5117C2FB29C9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7" name="Rechteck 236">
              <a:extLst>
                <a:ext uri="{FF2B5EF4-FFF2-40B4-BE49-F238E27FC236}">
                  <a16:creationId xmlns:a16="http://schemas.microsoft.com/office/drawing/2014/main" id="{60911A34-795A-DC38-F998-D942935BE375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8" name="Rechteck 237">
              <a:extLst>
                <a:ext uri="{FF2B5EF4-FFF2-40B4-BE49-F238E27FC236}">
                  <a16:creationId xmlns:a16="http://schemas.microsoft.com/office/drawing/2014/main" id="{32F3BA15-C907-A99D-6ECC-087B3100B834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39" name="Rechteck 238">
              <a:extLst>
                <a:ext uri="{FF2B5EF4-FFF2-40B4-BE49-F238E27FC236}">
                  <a16:creationId xmlns:a16="http://schemas.microsoft.com/office/drawing/2014/main" id="{3E05A9E2-EB93-275D-1878-58432B2326EA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0" name="Rechteck 239">
              <a:extLst>
                <a:ext uri="{FF2B5EF4-FFF2-40B4-BE49-F238E27FC236}">
                  <a16:creationId xmlns:a16="http://schemas.microsoft.com/office/drawing/2014/main" id="{6A5D0DA1-4F2E-6C74-E3D7-727F08630655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1" name="Rechteck 240">
              <a:extLst>
                <a:ext uri="{FF2B5EF4-FFF2-40B4-BE49-F238E27FC236}">
                  <a16:creationId xmlns:a16="http://schemas.microsoft.com/office/drawing/2014/main" id="{8424702E-0D6D-2DE5-AA50-0E0D960ADE7B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2" name="Rechteck 241">
              <a:extLst>
                <a:ext uri="{FF2B5EF4-FFF2-40B4-BE49-F238E27FC236}">
                  <a16:creationId xmlns:a16="http://schemas.microsoft.com/office/drawing/2014/main" id="{41891A94-F223-2C1A-AEA8-98B30DFEA822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3" name="Rechteck 242">
              <a:extLst>
                <a:ext uri="{FF2B5EF4-FFF2-40B4-BE49-F238E27FC236}">
                  <a16:creationId xmlns:a16="http://schemas.microsoft.com/office/drawing/2014/main" id="{5E127752-2FFB-9432-AB82-21110CA13765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4" name="Rechteck 243">
              <a:extLst>
                <a:ext uri="{FF2B5EF4-FFF2-40B4-BE49-F238E27FC236}">
                  <a16:creationId xmlns:a16="http://schemas.microsoft.com/office/drawing/2014/main" id="{07FD6154-47DA-E3BF-1B6B-32A7C8045CFC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5" name="Rechteck 244">
              <a:extLst>
                <a:ext uri="{FF2B5EF4-FFF2-40B4-BE49-F238E27FC236}">
                  <a16:creationId xmlns:a16="http://schemas.microsoft.com/office/drawing/2014/main" id="{14B7037C-6618-375B-C35E-2FA260E2D0A2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6" name="Rechteck 245">
              <a:extLst>
                <a:ext uri="{FF2B5EF4-FFF2-40B4-BE49-F238E27FC236}">
                  <a16:creationId xmlns:a16="http://schemas.microsoft.com/office/drawing/2014/main" id="{0ED46A30-0599-2E80-4CF1-D01FA67CF114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7" name="Rechteck 246">
              <a:extLst>
                <a:ext uri="{FF2B5EF4-FFF2-40B4-BE49-F238E27FC236}">
                  <a16:creationId xmlns:a16="http://schemas.microsoft.com/office/drawing/2014/main" id="{DC788DBE-029C-2F6B-6BE1-95D9ED27C0C9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8" name="Rechteck 247">
              <a:extLst>
                <a:ext uri="{FF2B5EF4-FFF2-40B4-BE49-F238E27FC236}">
                  <a16:creationId xmlns:a16="http://schemas.microsoft.com/office/drawing/2014/main" id="{F9C25BAD-8AF5-77A0-A905-6AF5E69F4C6F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49" name="Rechteck 248">
              <a:extLst>
                <a:ext uri="{FF2B5EF4-FFF2-40B4-BE49-F238E27FC236}">
                  <a16:creationId xmlns:a16="http://schemas.microsoft.com/office/drawing/2014/main" id="{091583D8-5A98-EC02-A8E7-9420B2607D81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0" name="Rechteck 249">
              <a:extLst>
                <a:ext uri="{FF2B5EF4-FFF2-40B4-BE49-F238E27FC236}">
                  <a16:creationId xmlns:a16="http://schemas.microsoft.com/office/drawing/2014/main" id="{9F765DE5-48A5-5DB4-31F7-1C923A981DE4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1" name="Rechteck 250">
              <a:extLst>
                <a:ext uri="{FF2B5EF4-FFF2-40B4-BE49-F238E27FC236}">
                  <a16:creationId xmlns:a16="http://schemas.microsoft.com/office/drawing/2014/main" id="{58D831CA-DAA2-34F7-C06B-8ADFCE54197A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2" name="Rechteck 251">
              <a:extLst>
                <a:ext uri="{FF2B5EF4-FFF2-40B4-BE49-F238E27FC236}">
                  <a16:creationId xmlns:a16="http://schemas.microsoft.com/office/drawing/2014/main" id="{B3109F73-5954-B6A1-4C0E-A394DEE300A1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3" name="Rechteck 252">
              <a:extLst>
                <a:ext uri="{FF2B5EF4-FFF2-40B4-BE49-F238E27FC236}">
                  <a16:creationId xmlns:a16="http://schemas.microsoft.com/office/drawing/2014/main" id="{09630349-B93F-A093-B591-A3AA2489C7D5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4" name="Rechteck 253">
              <a:extLst>
                <a:ext uri="{FF2B5EF4-FFF2-40B4-BE49-F238E27FC236}">
                  <a16:creationId xmlns:a16="http://schemas.microsoft.com/office/drawing/2014/main" id="{90358D0A-EB14-556D-3C85-4DAE5F4230C9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5" name="Rechteck 254">
              <a:extLst>
                <a:ext uri="{FF2B5EF4-FFF2-40B4-BE49-F238E27FC236}">
                  <a16:creationId xmlns:a16="http://schemas.microsoft.com/office/drawing/2014/main" id="{C6DDB27E-22FA-DAAE-41A0-88E64DB43665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6" name="Rechteck 255">
              <a:extLst>
                <a:ext uri="{FF2B5EF4-FFF2-40B4-BE49-F238E27FC236}">
                  <a16:creationId xmlns:a16="http://schemas.microsoft.com/office/drawing/2014/main" id="{E1582447-6864-0519-DD57-DCF6607D1D9F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7" name="Rechteck 256">
              <a:extLst>
                <a:ext uri="{FF2B5EF4-FFF2-40B4-BE49-F238E27FC236}">
                  <a16:creationId xmlns:a16="http://schemas.microsoft.com/office/drawing/2014/main" id="{006C0A17-721F-00D6-596C-6FD9473A982A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FF0CD5CE-CCEF-842E-5934-01871EF41C8F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59" name="Rechteck 258">
              <a:extLst>
                <a:ext uri="{FF2B5EF4-FFF2-40B4-BE49-F238E27FC236}">
                  <a16:creationId xmlns:a16="http://schemas.microsoft.com/office/drawing/2014/main" id="{FB9B51FD-67C1-3A33-FC10-55D5EECDA3AF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91E3CB2E-E243-5E35-555B-C24A7DA60999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212AE44E-E40A-1396-306B-67030EC6D1AB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A60B7763-F800-69F3-9E20-07489CC7D553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1D9D2C50-E11F-B0D2-F251-D077D5AE71B5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4" name="Rechteck 263">
              <a:extLst>
                <a:ext uri="{FF2B5EF4-FFF2-40B4-BE49-F238E27FC236}">
                  <a16:creationId xmlns:a16="http://schemas.microsoft.com/office/drawing/2014/main" id="{EDCD3041-1880-15B3-1DB6-E12265EEBC70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8351321B-22FC-4ADA-12A5-F7803BBFA530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CC42B3A6-4DF6-8B84-8E61-ECD9EC17C590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2C11D9FE-C4C0-AFB2-9422-E5553086247A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8" name="Rechteck 267">
              <a:extLst>
                <a:ext uri="{FF2B5EF4-FFF2-40B4-BE49-F238E27FC236}">
                  <a16:creationId xmlns:a16="http://schemas.microsoft.com/office/drawing/2014/main" id="{FE032BFE-818A-B89A-9AAA-04000FC7AD0E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69" name="Rechteck 268">
              <a:extLst>
                <a:ext uri="{FF2B5EF4-FFF2-40B4-BE49-F238E27FC236}">
                  <a16:creationId xmlns:a16="http://schemas.microsoft.com/office/drawing/2014/main" id="{10D2A200-BC43-7D10-15F9-394C5E0C2474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0" name="Rechteck 269">
              <a:extLst>
                <a:ext uri="{FF2B5EF4-FFF2-40B4-BE49-F238E27FC236}">
                  <a16:creationId xmlns:a16="http://schemas.microsoft.com/office/drawing/2014/main" id="{A3C40986-AB5F-E186-C0A2-770B695D0B06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1" name="Rechteck 270">
              <a:extLst>
                <a:ext uri="{FF2B5EF4-FFF2-40B4-BE49-F238E27FC236}">
                  <a16:creationId xmlns:a16="http://schemas.microsoft.com/office/drawing/2014/main" id="{8232B754-C652-FF67-59A0-05C8789A5508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2" name="Rechteck 271">
              <a:extLst>
                <a:ext uri="{FF2B5EF4-FFF2-40B4-BE49-F238E27FC236}">
                  <a16:creationId xmlns:a16="http://schemas.microsoft.com/office/drawing/2014/main" id="{651F8887-008F-1685-DF04-76155EBA9707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EC83B9C4-2620-CBE8-C414-CF1DD20EABD1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4" name="Rechteck 273">
              <a:extLst>
                <a:ext uri="{FF2B5EF4-FFF2-40B4-BE49-F238E27FC236}">
                  <a16:creationId xmlns:a16="http://schemas.microsoft.com/office/drawing/2014/main" id="{B2F67A20-8B7F-B6BF-2134-49936E06F7CA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5" name="Rechteck 274">
              <a:extLst>
                <a:ext uri="{FF2B5EF4-FFF2-40B4-BE49-F238E27FC236}">
                  <a16:creationId xmlns:a16="http://schemas.microsoft.com/office/drawing/2014/main" id="{223C6353-7F74-1858-A8C4-ABB3DA02307B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62A88E0F-9E6B-9D04-4A87-928F25805D94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7" name="Rechteck 276">
              <a:extLst>
                <a:ext uri="{FF2B5EF4-FFF2-40B4-BE49-F238E27FC236}">
                  <a16:creationId xmlns:a16="http://schemas.microsoft.com/office/drawing/2014/main" id="{27B869E8-67A0-FFDB-1D22-0ADD55EB282E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7F3FE13F-CA7D-ECC3-808D-DC81977743B0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79" name="Rechteck 278">
              <a:extLst>
                <a:ext uri="{FF2B5EF4-FFF2-40B4-BE49-F238E27FC236}">
                  <a16:creationId xmlns:a16="http://schemas.microsoft.com/office/drawing/2014/main" id="{30D055BF-302C-B16C-7F84-CBDAEA291C2C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0" name="Rechteck 279">
              <a:extLst>
                <a:ext uri="{FF2B5EF4-FFF2-40B4-BE49-F238E27FC236}">
                  <a16:creationId xmlns:a16="http://schemas.microsoft.com/office/drawing/2014/main" id="{BC79BF5B-CDDA-E770-A9D2-D02A990CA6FB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5E6C8FE4-10B9-0629-B7E5-89212887A54C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2" name="Rechteck 281">
              <a:extLst>
                <a:ext uri="{FF2B5EF4-FFF2-40B4-BE49-F238E27FC236}">
                  <a16:creationId xmlns:a16="http://schemas.microsoft.com/office/drawing/2014/main" id="{5CA203C2-30D1-F8F6-D00A-9F48A29DDF90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3" name="Rechteck 282">
              <a:extLst>
                <a:ext uri="{FF2B5EF4-FFF2-40B4-BE49-F238E27FC236}">
                  <a16:creationId xmlns:a16="http://schemas.microsoft.com/office/drawing/2014/main" id="{68ED8DE5-3252-EA59-6128-D15942EBD1EB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4" name="Rechteck 283">
              <a:extLst>
                <a:ext uri="{FF2B5EF4-FFF2-40B4-BE49-F238E27FC236}">
                  <a16:creationId xmlns:a16="http://schemas.microsoft.com/office/drawing/2014/main" id="{40BCE36B-B7B7-B0CC-AD94-B858BE10E17C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5" name="Rechteck 284">
              <a:extLst>
                <a:ext uri="{FF2B5EF4-FFF2-40B4-BE49-F238E27FC236}">
                  <a16:creationId xmlns:a16="http://schemas.microsoft.com/office/drawing/2014/main" id="{E23430E9-48A5-62F2-888B-1CA5057A6F71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7D12BDF6-784E-83CF-5C45-FFAC2A87791F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7" name="Rechteck 286">
              <a:extLst>
                <a:ext uri="{FF2B5EF4-FFF2-40B4-BE49-F238E27FC236}">
                  <a16:creationId xmlns:a16="http://schemas.microsoft.com/office/drawing/2014/main" id="{B4F8BF2B-03F7-3664-5747-98FE8369B354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8" name="Rechteck 287">
              <a:extLst>
                <a:ext uri="{FF2B5EF4-FFF2-40B4-BE49-F238E27FC236}">
                  <a16:creationId xmlns:a16="http://schemas.microsoft.com/office/drawing/2014/main" id="{1A1D6489-AC9F-67D1-D9AA-387E5A85CC93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89" name="Rechteck 288">
              <a:extLst>
                <a:ext uri="{FF2B5EF4-FFF2-40B4-BE49-F238E27FC236}">
                  <a16:creationId xmlns:a16="http://schemas.microsoft.com/office/drawing/2014/main" id="{99ADACAE-E4A1-BA88-EF20-C56C9A6FF8A3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0" name="Rechteck 289">
              <a:extLst>
                <a:ext uri="{FF2B5EF4-FFF2-40B4-BE49-F238E27FC236}">
                  <a16:creationId xmlns:a16="http://schemas.microsoft.com/office/drawing/2014/main" id="{428F2B26-C0DE-1D27-3843-EA5B03BCD81B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1" name="Rechteck 290">
              <a:extLst>
                <a:ext uri="{FF2B5EF4-FFF2-40B4-BE49-F238E27FC236}">
                  <a16:creationId xmlns:a16="http://schemas.microsoft.com/office/drawing/2014/main" id="{84928061-64D2-896A-906E-5FD795FB5964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310AAD0F-B6F1-CCAD-F063-7FDD6A670DF3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0C8FC18E-3F7A-B37C-74A6-079BFF3EF06D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4" name="Rechteck 293">
              <a:extLst>
                <a:ext uri="{FF2B5EF4-FFF2-40B4-BE49-F238E27FC236}">
                  <a16:creationId xmlns:a16="http://schemas.microsoft.com/office/drawing/2014/main" id="{8ACC7A2B-796B-7C92-FBBE-54E1F1E533C6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E3578EC2-EFEC-321D-3A2F-769902DD5690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6" name="Rechteck 295">
              <a:extLst>
                <a:ext uri="{FF2B5EF4-FFF2-40B4-BE49-F238E27FC236}">
                  <a16:creationId xmlns:a16="http://schemas.microsoft.com/office/drawing/2014/main" id="{53934412-4E19-858B-37E4-4D303D4933BB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7" name="Rechteck 296">
              <a:extLst>
                <a:ext uri="{FF2B5EF4-FFF2-40B4-BE49-F238E27FC236}">
                  <a16:creationId xmlns:a16="http://schemas.microsoft.com/office/drawing/2014/main" id="{FC10BFA0-E91C-8DFB-0C36-DEEC89645D21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8" name="Rechteck 297">
              <a:extLst>
                <a:ext uri="{FF2B5EF4-FFF2-40B4-BE49-F238E27FC236}">
                  <a16:creationId xmlns:a16="http://schemas.microsoft.com/office/drawing/2014/main" id="{FA9DFD86-DC67-5951-76CA-C2DDAC4F1863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299" name="Rechteck 298">
              <a:extLst>
                <a:ext uri="{FF2B5EF4-FFF2-40B4-BE49-F238E27FC236}">
                  <a16:creationId xmlns:a16="http://schemas.microsoft.com/office/drawing/2014/main" id="{EC01C746-8380-120D-4250-B51A4177D83F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0" name="Rechteck 299">
              <a:extLst>
                <a:ext uri="{FF2B5EF4-FFF2-40B4-BE49-F238E27FC236}">
                  <a16:creationId xmlns:a16="http://schemas.microsoft.com/office/drawing/2014/main" id="{50F07972-9DDD-78B7-559B-2C11467CD2E1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1" name="Rechteck 300">
              <a:extLst>
                <a:ext uri="{FF2B5EF4-FFF2-40B4-BE49-F238E27FC236}">
                  <a16:creationId xmlns:a16="http://schemas.microsoft.com/office/drawing/2014/main" id="{44A5AA82-5B56-999E-99CF-779CF1683C91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2" name="Rechteck 301">
              <a:extLst>
                <a:ext uri="{FF2B5EF4-FFF2-40B4-BE49-F238E27FC236}">
                  <a16:creationId xmlns:a16="http://schemas.microsoft.com/office/drawing/2014/main" id="{DFAC789B-05BF-776F-5277-462BD8747A65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3" name="Rechteck 302">
              <a:extLst>
                <a:ext uri="{FF2B5EF4-FFF2-40B4-BE49-F238E27FC236}">
                  <a16:creationId xmlns:a16="http://schemas.microsoft.com/office/drawing/2014/main" id="{38AE2885-CF13-394D-6055-6FE201938551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4" name="Rechteck 303">
              <a:extLst>
                <a:ext uri="{FF2B5EF4-FFF2-40B4-BE49-F238E27FC236}">
                  <a16:creationId xmlns:a16="http://schemas.microsoft.com/office/drawing/2014/main" id="{BBACC2DB-997B-404C-F3C5-BDE6CD46D2D2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5" name="Rechteck 304">
              <a:extLst>
                <a:ext uri="{FF2B5EF4-FFF2-40B4-BE49-F238E27FC236}">
                  <a16:creationId xmlns:a16="http://schemas.microsoft.com/office/drawing/2014/main" id="{7AA08332-ECA8-8808-559A-C292C836C94D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6" name="Rechteck 305">
              <a:extLst>
                <a:ext uri="{FF2B5EF4-FFF2-40B4-BE49-F238E27FC236}">
                  <a16:creationId xmlns:a16="http://schemas.microsoft.com/office/drawing/2014/main" id="{AA97677D-272D-689C-4DE5-C056750B0983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7" name="Rechteck 306">
              <a:extLst>
                <a:ext uri="{FF2B5EF4-FFF2-40B4-BE49-F238E27FC236}">
                  <a16:creationId xmlns:a16="http://schemas.microsoft.com/office/drawing/2014/main" id="{B240D7A5-45AC-37D5-07C4-BA8AB595EA0D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8" name="Rechteck 307">
              <a:extLst>
                <a:ext uri="{FF2B5EF4-FFF2-40B4-BE49-F238E27FC236}">
                  <a16:creationId xmlns:a16="http://schemas.microsoft.com/office/drawing/2014/main" id="{2F08070C-69A8-7CF7-6671-928F0A0F5276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09" name="Rechteck 308">
              <a:extLst>
                <a:ext uri="{FF2B5EF4-FFF2-40B4-BE49-F238E27FC236}">
                  <a16:creationId xmlns:a16="http://schemas.microsoft.com/office/drawing/2014/main" id="{915BB64D-30EF-2A19-79AB-BE5E29DD6F5B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0" name="Rechteck 309">
              <a:extLst>
                <a:ext uri="{FF2B5EF4-FFF2-40B4-BE49-F238E27FC236}">
                  <a16:creationId xmlns:a16="http://schemas.microsoft.com/office/drawing/2014/main" id="{8FD1C94A-DB0D-FDE2-3638-86B99B1F8376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1" name="Rechteck 310">
              <a:extLst>
                <a:ext uri="{FF2B5EF4-FFF2-40B4-BE49-F238E27FC236}">
                  <a16:creationId xmlns:a16="http://schemas.microsoft.com/office/drawing/2014/main" id="{5AAE3E07-7E81-F4A3-F93C-F2446FD1E3D4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2" name="Rechteck 311">
              <a:extLst>
                <a:ext uri="{FF2B5EF4-FFF2-40B4-BE49-F238E27FC236}">
                  <a16:creationId xmlns:a16="http://schemas.microsoft.com/office/drawing/2014/main" id="{80C20069-DA6F-6B69-D5E6-A9789ABACD5D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3" name="Rechteck 312">
              <a:extLst>
                <a:ext uri="{FF2B5EF4-FFF2-40B4-BE49-F238E27FC236}">
                  <a16:creationId xmlns:a16="http://schemas.microsoft.com/office/drawing/2014/main" id="{20C983B4-3570-DCCE-31E1-96062DBD8D39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4" name="Rechteck 313">
              <a:extLst>
                <a:ext uri="{FF2B5EF4-FFF2-40B4-BE49-F238E27FC236}">
                  <a16:creationId xmlns:a16="http://schemas.microsoft.com/office/drawing/2014/main" id="{43E84DB9-7B83-ADDA-269B-113F555A42DC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5" name="Rechteck 314">
              <a:extLst>
                <a:ext uri="{FF2B5EF4-FFF2-40B4-BE49-F238E27FC236}">
                  <a16:creationId xmlns:a16="http://schemas.microsoft.com/office/drawing/2014/main" id="{32561406-9D94-61B1-262C-2D9CAD9B1177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6" name="Rechteck 315">
              <a:extLst>
                <a:ext uri="{FF2B5EF4-FFF2-40B4-BE49-F238E27FC236}">
                  <a16:creationId xmlns:a16="http://schemas.microsoft.com/office/drawing/2014/main" id="{6E3FD0B6-180B-6821-067B-0E398687E5D2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7" name="Rechteck 316">
              <a:extLst>
                <a:ext uri="{FF2B5EF4-FFF2-40B4-BE49-F238E27FC236}">
                  <a16:creationId xmlns:a16="http://schemas.microsoft.com/office/drawing/2014/main" id="{3B0C3F3F-8364-0766-2A90-E9C70808933E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8" name="Rechteck 317">
              <a:extLst>
                <a:ext uri="{FF2B5EF4-FFF2-40B4-BE49-F238E27FC236}">
                  <a16:creationId xmlns:a16="http://schemas.microsoft.com/office/drawing/2014/main" id="{C6EE40DA-61B0-C72F-CFD5-506F3A3818F7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19" name="Rechteck 318">
              <a:extLst>
                <a:ext uri="{FF2B5EF4-FFF2-40B4-BE49-F238E27FC236}">
                  <a16:creationId xmlns:a16="http://schemas.microsoft.com/office/drawing/2014/main" id="{6704919F-C0DC-FAF1-6B07-6E2F7D979087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0" name="Rechteck 319">
              <a:extLst>
                <a:ext uri="{FF2B5EF4-FFF2-40B4-BE49-F238E27FC236}">
                  <a16:creationId xmlns:a16="http://schemas.microsoft.com/office/drawing/2014/main" id="{84F7FF9B-9E84-1779-4691-6C5868BA282F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1" name="Rechteck 320">
              <a:extLst>
                <a:ext uri="{FF2B5EF4-FFF2-40B4-BE49-F238E27FC236}">
                  <a16:creationId xmlns:a16="http://schemas.microsoft.com/office/drawing/2014/main" id="{E5FA257C-8057-2E81-3693-BAC3D0D92894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2" name="Rechteck 321">
              <a:extLst>
                <a:ext uri="{FF2B5EF4-FFF2-40B4-BE49-F238E27FC236}">
                  <a16:creationId xmlns:a16="http://schemas.microsoft.com/office/drawing/2014/main" id="{63B74D79-03A0-4D84-6A0D-BFF43F778008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3" name="Rechteck 322">
              <a:extLst>
                <a:ext uri="{FF2B5EF4-FFF2-40B4-BE49-F238E27FC236}">
                  <a16:creationId xmlns:a16="http://schemas.microsoft.com/office/drawing/2014/main" id="{80C45A54-E9E8-8833-8738-3DA56022342C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4" name="Rechteck 323">
              <a:extLst>
                <a:ext uri="{FF2B5EF4-FFF2-40B4-BE49-F238E27FC236}">
                  <a16:creationId xmlns:a16="http://schemas.microsoft.com/office/drawing/2014/main" id="{B417FB20-695F-81D4-5E78-E351F1A69B3B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5" name="Rechteck 324">
              <a:extLst>
                <a:ext uri="{FF2B5EF4-FFF2-40B4-BE49-F238E27FC236}">
                  <a16:creationId xmlns:a16="http://schemas.microsoft.com/office/drawing/2014/main" id="{0AE0B98A-58A7-006F-A931-F23D39E12F7A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6" name="Rechteck 325">
              <a:extLst>
                <a:ext uri="{FF2B5EF4-FFF2-40B4-BE49-F238E27FC236}">
                  <a16:creationId xmlns:a16="http://schemas.microsoft.com/office/drawing/2014/main" id="{957F01F1-9004-BEDF-CBC7-9100131098EE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7" name="Rechteck 326">
              <a:extLst>
                <a:ext uri="{FF2B5EF4-FFF2-40B4-BE49-F238E27FC236}">
                  <a16:creationId xmlns:a16="http://schemas.microsoft.com/office/drawing/2014/main" id="{851BB049-309C-B6B9-5A38-91489499DC71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8" name="Rechteck 327">
              <a:extLst>
                <a:ext uri="{FF2B5EF4-FFF2-40B4-BE49-F238E27FC236}">
                  <a16:creationId xmlns:a16="http://schemas.microsoft.com/office/drawing/2014/main" id="{4B6DE0B5-EB30-F32C-0726-37D0C108BE7A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29" name="Rechteck 328">
              <a:extLst>
                <a:ext uri="{FF2B5EF4-FFF2-40B4-BE49-F238E27FC236}">
                  <a16:creationId xmlns:a16="http://schemas.microsoft.com/office/drawing/2014/main" id="{25A31F02-55E9-F9F8-43A9-BD7C501C54C2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0" name="Rechteck 329">
              <a:extLst>
                <a:ext uri="{FF2B5EF4-FFF2-40B4-BE49-F238E27FC236}">
                  <a16:creationId xmlns:a16="http://schemas.microsoft.com/office/drawing/2014/main" id="{BE254222-E5D6-7769-FCDF-E09CAF38FE3E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1" name="Rechteck 330">
              <a:extLst>
                <a:ext uri="{FF2B5EF4-FFF2-40B4-BE49-F238E27FC236}">
                  <a16:creationId xmlns:a16="http://schemas.microsoft.com/office/drawing/2014/main" id="{99AFA52A-340D-E229-F4A5-70EC6FCDF3DC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2" name="Rechteck 331">
              <a:extLst>
                <a:ext uri="{FF2B5EF4-FFF2-40B4-BE49-F238E27FC236}">
                  <a16:creationId xmlns:a16="http://schemas.microsoft.com/office/drawing/2014/main" id="{3BE35DE5-EA7C-D630-22C0-DDD9568F967A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403851DE-1D64-2C8B-0D34-DDAE03C75A0D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4" name="Rechteck 333">
              <a:extLst>
                <a:ext uri="{FF2B5EF4-FFF2-40B4-BE49-F238E27FC236}">
                  <a16:creationId xmlns:a16="http://schemas.microsoft.com/office/drawing/2014/main" id="{A8DBCA75-B9C3-35F0-1615-FFA310B936E7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E2CE0505-B1EB-23F4-19C2-BAF966A3552C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8645E52A-83C9-B173-ED3C-7C98B453838A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5DD4F53E-3168-F6FD-B6C0-4425F262610A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54350890-E211-13FC-67B8-21F57B849529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4E5E9DD5-9B62-471C-1EBF-11D5684AD075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5984D6AD-11B0-0C65-8A44-A0717419255C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057838B9-00EC-6C01-836F-0111D2A1121C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2748F153-CD21-7316-29BE-CD7E0D86FCFE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3" name="Rechteck 342">
              <a:extLst>
                <a:ext uri="{FF2B5EF4-FFF2-40B4-BE49-F238E27FC236}">
                  <a16:creationId xmlns:a16="http://schemas.microsoft.com/office/drawing/2014/main" id="{20A56734-CE41-4078-11E0-D1D8BD9A8FBF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3D427AAA-14DF-6315-60A3-520D28C5F366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7B4F843A-811A-81A9-50B1-511FF8F42C97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B6296AC4-F068-DA85-9212-3D6482ECDDC4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4EC56454-FA18-2BA5-4034-0AE451F8C654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531A28E7-5A0B-AE1B-795C-CC66F14567B0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D8213420-EBD0-7E34-2963-995BA09AF8C4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8D92521C-D37C-23A6-FBC1-53B4E18180BC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692DB327-17EF-B959-62D1-33E17838C916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4A80F828-9C99-626A-9602-EB6FDDE69103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3" name="Rechteck 352">
              <a:extLst>
                <a:ext uri="{FF2B5EF4-FFF2-40B4-BE49-F238E27FC236}">
                  <a16:creationId xmlns:a16="http://schemas.microsoft.com/office/drawing/2014/main" id="{691DD7AB-D56F-D993-BDB2-89F89DFF70BC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AEA624D0-8297-AB24-72B7-F21D62419DA1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B3E1279C-685E-77C2-336D-CCD19C67F92D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43ED1D1F-82DB-4EDD-4FCD-63A4D1377AAF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160E2D9A-3B69-56B6-353F-0B24CA5F1692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8" name="Rechteck 357">
              <a:extLst>
                <a:ext uri="{FF2B5EF4-FFF2-40B4-BE49-F238E27FC236}">
                  <a16:creationId xmlns:a16="http://schemas.microsoft.com/office/drawing/2014/main" id="{7CB1A176-2A4E-F51A-50DF-5E4FD5A4ACEE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9CDF43FF-9094-C05F-22B6-6C6E1CCCBE46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0" name="Rechteck 359">
              <a:extLst>
                <a:ext uri="{FF2B5EF4-FFF2-40B4-BE49-F238E27FC236}">
                  <a16:creationId xmlns:a16="http://schemas.microsoft.com/office/drawing/2014/main" id="{2859005D-AD1F-15BD-1A2E-551AD1AC06ED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1" name="Rechteck 360">
              <a:extLst>
                <a:ext uri="{FF2B5EF4-FFF2-40B4-BE49-F238E27FC236}">
                  <a16:creationId xmlns:a16="http://schemas.microsoft.com/office/drawing/2014/main" id="{1D9A0E22-888E-05BD-D7EC-CA3AD8BB138F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2" name="Rechteck 361">
              <a:extLst>
                <a:ext uri="{FF2B5EF4-FFF2-40B4-BE49-F238E27FC236}">
                  <a16:creationId xmlns:a16="http://schemas.microsoft.com/office/drawing/2014/main" id="{C9765E93-6A65-C40D-70CC-7502AF5A56CB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305AEA0D-B67D-A870-5021-DFE6B69178E8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4" name="Rechteck 363">
              <a:extLst>
                <a:ext uri="{FF2B5EF4-FFF2-40B4-BE49-F238E27FC236}">
                  <a16:creationId xmlns:a16="http://schemas.microsoft.com/office/drawing/2014/main" id="{B9C742C5-26E6-F17C-5BE5-0E68C28E4C02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5" name="Rechteck 364">
              <a:extLst>
                <a:ext uri="{FF2B5EF4-FFF2-40B4-BE49-F238E27FC236}">
                  <a16:creationId xmlns:a16="http://schemas.microsoft.com/office/drawing/2014/main" id="{987B3872-F081-BD47-4CC5-E5906B90793F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6" name="Rechteck 365">
              <a:extLst>
                <a:ext uri="{FF2B5EF4-FFF2-40B4-BE49-F238E27FC236}">
                  <a16:creationId xmlns:a16="http://schemas.microsoft.com/office/drawing/2014/main" id="{D5ADB594-5A53-DAC3-8DF7-6FE9ACAF2600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7" name="Rechteck 366">
              <a:extLst>
                <a:ext uri="{FF2B5EF4-FFF2-40B4-BE49-F238E27FC236}">
                  <a16:creationId xmlns:a16="http://schemas.microsoft.com/office/drawing/2014/main" id="{54FAA1F8-465D-4C65-94AC-96E4721D3039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8" name="Rechteck 367">
              <a:extLst>
                <a:ext uri="{FF2B5EF4-FFF2-40B4-BE49-F238E27FC236}">
                  <a16:creationId xmlns:a16="http://schemas.microsoft.com/office/drawing/2014/main" id="{F3BA2099-45E9-6BAC-9E80-E0AA4C00DF8F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69" name="Rechteck 368">
              <a:extLst>
                <a:ext uri="{FF2B5EF4-FFF2-40B4-BE49-F238E27FC236}">
                  <a16:creationId xmlns:a16="http://schemas.microsoft.com/office/drawing/2014/main" id="{C89CD14E-5CCA-0392-3B52-D8D09D28CCDA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594F2001-87DF-3231-C564-21B33EED8191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1" name="Rechteck 370">
              <a:extLst>
                <a:ext uri="{FF2B5EF4-FFF2-40B4-BE49-F238E27FC236}">
                  <a16:creationId xmlns:a16="http://schemas.microsoft.com/office/drawing/2014/main" id="{39B490BA-67E5-7896-5B6C-9C4192D12353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C86D55C9-590F-17D1-A93D-7724BB3C8786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3" name="Rechteck 372">
              <a:extLst>
                <a:ext uri="{FF2B5EF4-FFF2-40B4-BE49-F238E27FC236}">
                  <a16:creationId xmlns:a16="http://schemas.microsoft.com/office/drawing/2014/main" id="{DD18BEBE-C39C-215D-08C1-16CA14DC9A0B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4" name="Rechteck 373">
              <a:extLst>
                <a:ext uri="{FF2B5EF4-FFF2-40B4-BE49-F238E27FC236}">
                  <a16:creationId xmlns:a16="http://schemas.microsoft.com/office/drawing/2014/main" id="{2A9274BE-75CB-50D6-ED97-BDDF647076D3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5" name="Rechteck 374">
              <a:extLst>
                <a:ext uri="{FF2B5EF4-FFF2-40B4-BE49-F238E27FC236}">
                  <a16:creationId xmlns:a16="http://schemas.microsoft.com/office/drawing/2014/main" id="{B2F57AEC-1468-4E9A-2A3A-252F016035DF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E7C6F021-CC83-1425-2BE2-26EE411920E0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40645E0C-9F0A-CF1A-75B6-B69F2D6BBD39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5E789FFB-8FAA-7C0F-327D-F9AECB76D024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98785188-8E49-FFB3-8EB1-85A80C1F0B20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E7296F80-6D6D-96B6-FBC8-690D59A615F6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71B971D6-0D6D-2337-3755-7956ED1E27AD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A3588D1A-5AE0-2C42-D18F-339521E382DA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387B6B08-8E78-0607-2B42-0F6BB272A351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7080A25F-BA47-2185-5C99-38D938B877B3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4EBA54C3-45A4-0D1E-CB32-55AF924D9706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B80A2D11-08CD-7047-EA68-AD4324489C33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7" name="Rechteck 386">
              <a:extLst>
                <a:ext uri="{FF2B5EF4-FFF2-40B4-BE49-F238E27FC236}">
                  <a16:creationId xmlns:a16="http://schemas.microsoft.com/office/drawing/2014/main" id="{704EB6CC-28C4-4F1B-4A14-747452C89921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8" name="Rechteck 387">
              <a:extLst>
                <a:ext uri="{FF2B5EF4-FFF2-40B4-BE49-F238E27FC236}">
                  <a16:creationId xmlns:a16="http://schemas.microsoft.com/office/drawing/2014/main" id="{49AD51F4-67F4-63FA-57B0-FC919813BCB8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  <p:sp>
          <p:nvSpPr>
            <p:cNvPr id="389" name="Rechteck 388">
              <a:extLst>
                <a:ext uri="{FF2B5EF4-FFF2-40B4-BE49-F238E27FC236}">
                  <a16:creationId xmlns:a16="http://schemas.microsoft.com/office/drawing/2014/main" id="{6A618C66-DDAB-DAA6-EF13-028F5F418CF2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/>
            </a:p>
          </p:txBody>
        </p:sp>
      </p:grpSp>
      <p:grpSp>
        <p:nvGrpSpPr>
          <p:cNvPr id="395" name="Gruppieren 394">
            <a:extLst>
              <a:ext uri="{FF2B5EF4-FFF2-40B4-BE49-F238E27FC236}">
                <a16:creationId xmlns:a16="http://schemas.microsoft.com/office/drawing/2014/main" id="{86733395-689B-B1DC-3DA2-BDA86CB2D0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38831" y="2082829"/>
            <a:ext cx="2448000" cy="0"/>
            <a:chOff x="983432" y="2082829"/>
            <a:chExt cx="2448000" cy="0"/>
          </a:xfrm>
        </p:grpSpPr>
        <p:cxnSp>
          <p:nvCxnSpPr>
            <p:cNvPr id="396" name="Line">
              <a:extLst>
                <a:ext uri="{FF2B5EF4-FFF2-40B4-BE49-F238E27FC236}">
                  <a16:creationId xmlns:a16="http://schemas.microsoft.com/office/drawing/2014/main" id="{6359EF94-3185-D196-FD29-AEA5CBBC9FD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83432" y="2082829"/>
              <a:ext cx="2448000" cy="0"/>
            </a:xfrm>
            <a:prstGeom prst="line">
              <a:avLst/>
            </a:prstGeom>
            <a:ln w="1047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7" name="Line">
              <a:extLst>
                <a:ext uri="{FF2B5EF4-FFF2-40B4-BE49-F238E27FC236}">
                  <a16:creationId xmlns:a16="http://schemas.microsoft.com/office/drawing/2014/main" id="{DDD5C039-ED42-74AB-0FD5-84E3A555340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0" y="2082829"/>
              <a:ext cx="2303696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8" name="Shape">
            <a:extLst>
              <a:ext uri="{FF2B5EF4-FFF2-40B4-BE49-F238E27FC236}">
                <a16:creationId xmlns:a16="http://schemas.microsoft.com/office/drawing/2014/main" id="{477750BE-BB1D-4D56-EC7F-426D9A6570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4367808" y="2060848"/>
            <a:ext cx="5775177" cy="3463099"/>
          </a:xfrm>
          <a:custGeom>
            <a:avLst/>
            <a:gdLst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170039 w 8604027"/>
              <a:gd name="connsiteY2" fmla="*/ 4301966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02506 w 8604029"/>
              <a:gd name="connsiteY2" fmla="*/ 3984076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7"/>
              <a:gd name="connsiteY0" fmla="*/ 857 h 5734812"/>
              <a:gd name="connsiteX1" fmla="*/ 8604028 w 8604027"/>
              <a:gd name="connsiteY1" fmla="*/ 0 h 5734812"/>
              <a:gd name="connsiteX2" fmla="*/ 7046854 w 8604027"/>
              <a:gd name="connsiteY2" fmla="*/ 4091749 h 5734812"/>
              <a:gd name="connsiteX3" fmla="*/ 0 w 8604027"/>
              <a:gd name="connsiteY3" fmla="*/ 5734812 h 5734812"/>
              <a:gd name="connsiteX4" fmla="*/ 0 w 8604027"/>
              <a:gd name="connsiteY4" fmla="*/ 857 h 5734812"/>
              <a:gd name="connsiteX0" fmla="*/ 0 w 8604029"/>
              <a:gd name="connsiteY0" fmla="*/ 857 h 5734812"/>
              <a:gd name="connsiteX1" fmla="*/ 8604028 w 8604029"/>
              <a:gd name="connsiteY1" fmla="*/ 0 h 5734812"/>
              <a:gd name="connsiteX2" fmla="*/ 7050550 w 8604029"/>
              <a:gd name="connsiteY2" fmla="*/ 4107130 h 5734812"/>
              <a:gd name="connsiteX3" fmla="*/ 0 w 8604029"/>
              <a:gd name="connsiteY3" fmla="*/ 5734812 h 5734812"/>
              <a:gd name="connsiteX4" fmla="*/ 0 w 8604029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576335 w 8604028"/>
              <a:gd name="connsiteY2" fmla="*/ 3411651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98802 w 8604028"/>
              <a:gd name="connsiteY2" fmla="*/ 3812078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905914 w 8604028"/>
              <a:gd name="connsiteY2" fmla="*/ 3827884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70437 w 8604028"/>
              <a:gd name="connsiteY2" fmla="*/ 3745075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  <a:gd name="connsiteX0" fmla="*/ 0 w 8604028"/>
              <a:gd name="connsiteY0" fmla="*/ 857 h 5734812"/>
              <a:gd name="connsiteX1" fmla="*/ 8604028 w 8604028"/>
              <a:gd name="connsiteY1" fmla="*/ 0 h 5734812"/>
              <a:gd name="connsiteX2" fmla="*/ 6884628 w 8604028"/>
              <a:gd name="connsiteY2" fmla="*/ 3827883 h 5734812"/>
              <a:gd name="connsiteX3" fmla="*/ 0 w 8604028"/>
              <a:gd name="connsiteY3" fmla="*/ 5734812 h 5734812"/>
              <a:gd name="connsiteX4" fmla="*/ 0 w 8604028"/>
              <a:gd name="connsiteY4" fmla="*/ 857 h 5734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04028" h="5734812">
                <a:moveTo>
                  <a:pt x="0" y="857"/>
                </a:moveTo>
                <a:lnTo>
                  <a:pt x="8604028" y="0"/>
                </a:lnTo>
                <a:lnTo>
                  <a:pt x="6884628" y="3827883"/>
                </a:lnTo>
                <a:lnTo>
                  <a:pt x="0" y="5734812"/>
                </a:lnTo>
                <a:lnTo>
                  <a:pt x="0" y="857"/>
                </a:lnTo>
                <a:close/>
              </a:path>
            </a:pathLst>
          </a:custGeom>
          <a:solidFill>
            <a:schemeClr val="bg1"/>
          </a:solidFill>
          <a:ln w="762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99" name="Bildplatzhalter 398">
            <a:extLst>
              <a:ext uri="{FF2B5EF4-FFF2-40B4-BE49-F238E27FC236}">
                <a16:creationId xmlns:a16="http://schemas.microsoft.com/office/drawing/2014/main" id="{31543CDB-C044-44F8-7750-4F8FFD210E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367809" y="2061400"/>
            <a:ext cx="5760640" cy="3463099"/>
          </a:xfrm>
          <a:custGeom>
            <a:avLst/>
            <a:gdLst>
              <a:gd name="connsiteX0" fmla="*/ 5760640 w 5760640"/>
              <a:gd name="connsiteY0" fmla="*/ 0 h 3463099"/>
              <a:gd name="connsiteX1" fmla="*/ 4609453 w 5760640"/>
              <a:gd name="connsiteY1" fmla="*/ 2311556 h 3463099"/>
              <a:gd name="connsiteX2" fmla="*/ 0 w 5760640"/>
              <a:gd name="connsiteY2" fmla="*/ 3463099 h 3463099"/>
              <a:gd name="connsiteX3" fmla="*/ 0 w 5760640"/>
              <a:gd name="connsiteY3" fmla="*/ 518 h 3463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60640" h="3463099">
                <a:moveTo>
                  <a:pt x="5760640" y="0"/>
                </a:moveTo>
                <a:lnTo>
                  <a:pt x="4609453" y="2311556"/>
                </a:lnTo>
                <a:lnTo>
                  <a:pt x="0" y="3463099"/>
                </a:lnTo>
                <a:lnTo>
                  <a:pt x="0" y="518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391" name="Title">
            <a:extLst>
              <a:ext uri="{FF2B5EF4-FFF2-40B4-BE49-F238E27FC236}">
                <a16:creationId xmlns:a16="http://schemas.microsoft.com/office/drawing/2014/main" id="{77CF7618-62C1-59D8-3F1E-39D5FFD18F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695400" y="2564904"/>
            <a:ext cx="2952000" cy="1152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tIns="36000" rIns="216000" anchor="t">
            <a:noAutofit/>
          </a:bodyPr>
          <a:lstStyle>
            <a:lvl1pPr algn="l">
              <a:lnSpc>
                <a:spcPct val="90000"/>
              </a:lnSpc>
              <a:defRPr sz="2400"/>
            </a:lvl1pPr>
          </a:lstStyle>
          <a:p>
            <a:r>
              <a:rPr lang="en-GB"/>
              <a:t>Insert your long title here in max. three lines</a:t>
            </a:r>
          </a:p>
        </p:txBody>
      </p:sp>
      <p:sp>
        <p:nvSpPr>
          <p:cNvPr id="392" name="Subtitle 2">
            <a:extLst>
              <a:ext uri="{FF2B5EF4-FFF2-40B4-BE49-F238E27FC236}">
                <a16:creationId xmlns:a16="http://schemas.microsoft.com/office/drawing/2014/main" id="{F31B0785-48A2-10D1-559E-CD4E7BF103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400" y="3717032"/>
            <a:ext cx="2952000" cy="1202385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n-lt"/>
              </a:defRPr>
            </a:lvl9pPr>
          </a:lstStyle>
          <a:p>
            <a:r>
              <a:rPr lang="en-GB"/>
              <a:t>Insert here your subtitle</a:t>
            </a:r>
          </a:p>
        </p:txBody>
      </p:sp>
      <p:sp>
        <p:nvSpPr>
          <p:cNvPr id="393" name="Author">
            <a:extLst>
              <a:ext uri="{FF2B5EF4-FFF2-40B4-BE49-F238E27FC236}">
                <a16:creationId xmlns:a16="http://schemas.microsoft.com/office/drawing/2014/main" id="{32E862E9-C1BE-11CB-4DD2-17F6C7EF54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400" y="4869160"/>
            <a:ext cx="2952000" cy="216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latin typeface="+mj-lt"/>
              </a:defRPr>
            </a:lvl9pPr>
          </a:lstStyle>
          <a:p>
            <a:pPr lvl="0"/>
            <a:r>
              <a:rPr lang="en-GB"/>
              <a:t>First name Last name</a:t>
            </a:r>
          </a:p>
        </p:txBody>
      </p:sp>
      <p:sp>
        <p:nvSpPr>
          <p:cNvPr id="394" name="Department, Date">
            <a:extLst>
              <a:ext uri="{FF2B5EF4-FFF2-40B4-BE49-F238E27FC236}">
                <a16:creationId xmlns:a16="http://schemas.microsoft.com/office/drawing/2014/main" id="{A46B147F-22E8-D942-D908-E04960ACCE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5085160"/>
            <a:ext cx="2952000" cy="720104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wrap="square" lIns="216000" rIns="21600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200" i="1">
                <a:latin typeface="+mn-lt"/>
              </a:defRPr>
            </a:lvl9pPr>
          </a:lstStyle>
          <a:p>
            <a:pPr lvl="0"/>
            <a:r>
              <a:rPr lang="en-GB"/>
              <a:t>Department</a:t>
            </a:r>
            <a:br>
              <a:rPr lang="en-GB"/>
            </a:br>
            <a:r>
              <a:rPr lang="en-GB"/>
              <a:t>DD/MM/YYYY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4D50CE81-1624-1947-AB7F-0E36185E0A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28448" y="335757"/>
            <a:ext cx="1365736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1905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pictures &amp;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1EA08B2-A595-65DC-1F32-A3076258B0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1694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1EA08B2-A595-65DC-1F32-A3076258B0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0EA33E6C-B6EA-4396-A2D1-BF412B2609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4964" y="260648"/>
            <a:ext cx="8641356" cy="369332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5" name="Picture 1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35360" y="1484314"/>
            <a:ext cx="3457178" cy="1728786"/>
          </a:xfrm>
          <a:prstGeom prst="rect">
            <a:avLst/>
          </a:prstGeom>
          <a:solidFill>
            <a:srgbClr val="D6D9DC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7" name="Content 1">
            <a:extLst>
              <a:ext uri="{FF2B5EF4-FFF2-40B4-BE49-F238E27FC236}">
                <a16:creationId xmlns:a16="http://schemas.microsoft.com/office/drawing/2014/main" id="{06A67EB1-7EE7-45D3-A94D-6EA201E90CF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35360" y="3789363"/>
            <a:ext cx="3457177" cy="2303461"/>
          </a:xfrm>
        </p:spPr>
        <p:txBody>
          <a:bodyPr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9" name="Picture 2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367807" y="1484313"/>
            <a:ext cx="2880321" cy="1728787"/>
          </a:xfrm>
          <a:prstGeom prst="rect">
            <a:avLst/>
          </a:prstGeom>
          <a:solidFill>
            <a:srgbClr val="D6D9DC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2" name="Content 2">
            <a:extLst>
              <a:ext uri="{FF2B5EF4-FFF2-40B4-BE49-F238E27FC236}">
                <a16:creationId xmlns:a16="http://schemas.microsoft.com/office/drawing/2014/main" id="{C35DD715-4BC4-4F30-A849-B8E23CA41DB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367808" y="3789364"/>
            <a:ext cx="2880320" cy="2303461"/>
          </a:xfrm>
        </p:spPr>
        <p:txBody>
          <a:bodyPr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Picture 3">
            <a:extLst>
              <a:ext uri="{FF2B5EF4-FFF2-40B4-BE49-F238E27FC236}">
                <a16:creationId xmlns:a16="http://schemas.microsoft.com/office/drawing/2014/main" id="{13F83B90-1053-4BAE-A04B-E97DF0BCFAD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7824787" y="1484313"/>
            <a:ext cx="3455789" cy="1728787"/>
          </a:xfrm>
          <a:prstGeom prst="rect">
            <a:avLst/>
          </a:prstGeom>
          <a:solidFill>
            <a:srgbClr val="D6D9DC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3" name="Content 3">
            <a:extLst>
              <a:ext uri="{FF2B5EF4-FFF2-40B4-BE49-F238E27FC236}">
                <a16:creationId xmlns:a16="http://schemas.microsoft.com/office/drawing/2014/main" id="{312C35B1-615F-427F-BBA3-DA904C08CA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7824788" y="3789363"/>
            <a:ext cx="3455789" cy="2303461"/>
          </a:xfrm>
        </p:spPr>
        <p:txBody>
          <a:bodyPr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1E8859D9-949C-2985-C0EC-609FF76F89DD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B9F701DF-6767-1882-385D-8951C6E07945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02CFE2DF-5A7D-C386-0FE8-90E7AE225057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AAAFDC5C-75DB-C84D-BF35-D58428B52E4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4963" y="659362"/>
            <a:ext cx="8641357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19" name="Source">
            <a:extLst>
              <a:ext uri="{FF2B5EF4-FFF2-40B4-BE49-F238E27FC236}">
                <a16:creationId xmlns:a16="http://schemas.microsoft.com/office/drawing/2014/main" id="{37C5EFD7-BC01-EC71-2576-1CCB097F278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487488" y="6525000"/>
            <a:ext cx="9217024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42BC663F-8C21-BD57-5CEA-BE6E59EF49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68768" y="-171392"/>
            <a:ext cx="12025408" cy="6264688"/>
            <a:chOff x="-168768" y="-171392"/>
            <a:chExt cx="12025408" cy="6264688"/>
          </a:xfrm>
        </p:grpSpPr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8A2AE056-8446-4515-8574-F2981A1F2386}"/>
                </a:ext>
              </a:extLst>
            </p:cNvPr>
            <p:cNvCxnSpPr/>
            <p:nvPr userDrawn="1"/>
          </p:nvCxnSpPr>
          <p:spPr bwMode="gray">
            <a:xfrm>
              <a:off x="33536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01E844E-B6EE-CE2B-8FE8-C10784368BF3}"/>
                </a:ext>
              </a:extLst>
            </p:cNvPr>
            <p:cNvCxnSpPr/>
            <p:nvPr userDrawn="1"/>
          </p:nvCxnSpPr>
          <p:spPr bwMode="gray">
            <a:xfrm>
              <a:off x="436780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CBF2EC89-E9A6-6F5F-D10D-565DF6CB6349}"/>
                </a:ext>
              </a:extLst>
            </p:cNvPr>
            <p:cNvCxnSpPr/>
            <p:nvPr userDrawn="1"/>
          </p:nvCxnSpPr>
          <p:spPr bwMode="gray">
            <a:xfrm>
              <a:off x="494387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2C65234A-04E1-6B27-8386-4F0DC299E870}"/>
                </a:ext>
              </a:extLst>
            </p:cNvPr>
            <p:cNvCxnSpPr/>
            <p:nvPr userDrawn="1"/>
          </p:nvCxnSpPr>
          <p:spPr bwMode="gray">
            <a:xfrm>
              <a:off x="667206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E4EEE841-63B0-283C-EA14-3E53D5AAD530}"/>
                </a:ext>
              </a:extLst>
            </p:cNvPr>
            <p:cNvCxnSpPr/>
            <p:nvPr userDrawn="1"/>
          </p:nvCxnSpPr>
          <p:spPr bwMode="gray">
            <a:xfrm>
              <a:off x="609600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>
              <a:extLst>
                <a:ext uri="{FF2B5EF4-FFF2-40B4-BE49-F238E27FC236}">
                  <a16:creationId xmlns:a16="http://schemas.microsoft.com/office/drawing/2014/main" id="{33201E14-1735-00DC-6CC3-C46B828FCC52}"/>
                </a:ext>
              </a:extLst>
            </p:cNvPr>
            <p:cNvCxnSpPr/>
            <p:nvPr userDrawn="1"/>
          </p:nvCxnSpPr>
          <p:spPr bwMode="gray">
            <a:xfrm>
              <a:off x="724812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>
              <a:extLst>
                <a:ext uri="{FF2B5EF4-FFF2-40B4-BE49-F238E27FC236}">
                  <a16:creationId xmlns:a16="http://schemas.microsoft.com/office/drawing/2014/main" id="{FDF1ACB0-E048-1D50-7883-14F8C95808E8}"/>
                </a:ext>
              </a:extLst>
            </p:cNvPr>
            <p:cNvCxnSpPr/>
            <p:nvPr userDrawn="1"/>
          </p:nvCxnSpPr>
          <p:spPr bwMode="gray">
            <a:xfrm>
              <a:off x="782419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92A871C-8A4F-31F2-A92B-4FAC1DBA961A}"/>
                </a:ext>
              </a:extLst>
            </p:cNvPr>
            <p:cNvCxnSpPr/>
            <p:nvPr userDrawn="1"/>
          </p:nvCxnSpPr>
          <p:spPr bwMode="gray">
            <a:xfrm>
              <a:off x="840025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99787850-0E12-004F-BEDE-A8B231B42427}"/>
                </a:ext>
              </a:extLst>
            </p:cNvPr>
            <p:cNvCxnSpPr/>
            <p:nvPr userDrawn="1"/>
          </p:nvCxnSpPr>
          <p:spPr bwMode="gray">
            <a:xfrm>
              <a:off x="897632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632969E4-8E5D-7FBB-63C5-BE0FD1CE98D4}"/>
                </a:ext>
              </a:extLst>
            </p:cNvPr>
            <p:cNvCxnSpPr/>
            <p:nvPr userDrawn="1"/>
          </p:nvCxnSpPr>
          <p:spPr bwMode="gray">
            <a:xfrm>
              <a:off x="1128057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9078B487-169D-1D51-C274-8B92B6E5189D}"/>
                </a:ext>
              </a:extLst>
            </p:cNvPr>
            <p:cNvCxnSpPr/>
            <p:nvPr userDrawn="1"/>
          </p:nvCxnSpPr>
          <p:spPr bwMode="gray">
            <a:xfrm>
              <a:off x="1185664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FF41A62B-2D3E-5222-6B76-289694A8B4E7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29665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r Verbinder 44">
              <a:extLst>
                <a:ext uri="{FF2B5EF4-FFF2-40B4-BE49-F238E27FC236}">
                  <a16:creationId xmlns:a16="http://schemas.microsoft.com/office/drawing/2014/main" id="{80093F83-DED1-A000-41E5-7E6D4DC39DF3}"/>
                </a:ext>
              </a:extLst>
            </p:cNvPr>
            <p:cNvCxnSpPr/>
            <p:nvPr userDrawn="1"/>
          </p:nvCxnSpPr>
          <p:spPr bwMode="gray">
            <a:xfrm>
              <a:off x="321568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036F193C-1390-3B14-F106-8F2E72C17D5C}"/>
                </a:ext>
              </a:extLst>
            </p:cNvPr>
            <p:cNvCxnSpPr/>
            <p:nvPr userDrawn="1"/>
          </p:nvCxnSpPr>
          <p:spPr bwMode="gray">
            <a:xfrm>
              <a:off x="379174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r Verbinder 64">
              <a:extLst>
                <a:ext uri="{FF2B5EF4-FFF2-40B4-BE49-F238E27FC236}">
                  <a16:creationId xmlns:a16="http://schemas.microsoft.com/office/drawing/2014/main" id="{2B119975-4AB6-BE7F-BA5A-0650B994223A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04" y="87272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65">
              <a:extLst>
                <a:ext uri="{FF2B5EF4-FFF2-40B4-BE49-F238E27FC236}">
                  <a16:creationId xmlns:a16="http://schemas.microsoft.com/office/drawing/2014/main" id="{BF3E168B-3997-D33D-E3B3-72137C60D7E5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12" y="202484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C41A1A31-BAB9-41D0-D42F-486DA8A9449A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68" y="605729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EB5774C8-E1D6-368B-D467-CF98686351C0}"/>
                </a:ext>
              </a:extLst>
            </p:cNvPr>
            <p:cNvCxnSpPr/>
            <p:nvPr/>
          </p:nvCxnSpPr>
          <p:spPr bwMode="gray">
            <a:xfrm>
              <a:off x="1070451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927C5125-6CC1-BC0F-B37D-0C92F55DE873}"/>
                </a:ext>
              </a:extLst>
            </p:cNvPr>
            <p:cNvCxnSpPr/>
            <p:nvPr/>
          </p:nvCxnSpPr>
          <p:spPr bwMode="gray">
            <a:xfrm>
              <a:off x="1012844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BF15B1DD-C282-00AD-A6C7-2AA20FACE1B8}"/>
                </a:ext>
              </a:extLst>
            </p:cNvPr>
            <p:cNvCxnSpPr/>
            <p:nvPr/>
          </p:nvCxnSpPr>
          <p:spPr bwMode="gray">
            <a:xfrm>
              <a:off x="955059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7B8DF9BA-52D7-82A5-CE7B-9ED97ADAA85A}"/>
                </a:ext>
              </a:extLst>
            </p:cNvPr>
            <p:cNvCxnSpPr/>
            <p:nvPr/>
          </p:nvCxnSpPr>
          <p:spPr bwMode="gray">
            <a:xfrm>
              <a:off x="551973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C59BD975-6473-CD46-3722-B03F76D7811F}"/>
                </a:ext>
              </a:extLst>
            </p:cNvPr>
            <p:cNvCxnSpPr/>
            <p:nvPr/>
          </p:nvCxnSpPr>
          <p:spPr bwMode="gray">
            <a:xfrm>
              <a:off x="263961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3F68FCAA-D1E3-90E8-5252-4956683ECE72}"/>
                </a:ext>
              </a:extLst>
            </p:cNvPr>
            <p:cNvCxnSpPr/>
            <p:nvPr/>
          </p:nvCxnSpPr>
          <p:spPr bwMode="gray">
            <a:xfrm>
              <a:off x="206355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D7E634F4-493B-2813-EC0C-88C69865CE91}"/>
                </a:ext>
              </a:extLst>
            </p:cNvPr>
            <p:cNvCxnSpPr/>
            <p:nvPr/>
          </p:nvCxnSpPr>
          <p:spPr bwMode="gray">
            <a:xfrm>
              <a:off x="148748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>
              <a:extLst>
                <a:ext uri="{FF2B5EF4-FFF2-40B4-BE49-F238E27FC236}">
                  <a16:creationId xmlns:a16="http://schemas.microsoft.com/office/drawing/2014/main" id="{BFF6FC8F-38C8-8734-FB88-0C19515A7F99}"/>
                </a:ext>
              </a:extLst>
            </p:cNvPr>
            <p:cNvCxnSpPr/>
            <p:nvPr/>
          </p:nvCxnSpPr>
          <p:spPr bwMode="gray">
            <a:xfrm>
              <a:off x="91142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E9B7DA41-7A55-47D2-C9C4-42F031B83823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04" y="144878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>
              <a:extLst>
                <a:ext uri="{FF2B5EF4-FFF2-40B4-BE49-F238E27FC236}">
                  <a16:creationId xmlns:a16="http://schemas.microsoft.com/office/drawing/2014/main" id="{1E79568A-5C9D-B48B-EA5C-F5C02147E17E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260091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EECB22AC-DE8B-8FFD-7321-8CA59432C148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17697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r Verbinder 78">
              <a:extLst>
                <a:ext uri="{FF2B5EF4-FFF2-40B4-BE49-F238E27FC236}">
                  <a16:creationId xmlns:a16="http://schemas.microsoft.com/office/drawing/2014/main" id="{9BD021A5-2907-69A7-55D4-247A092F4C75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75304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r Verbinder 79">
              <a:extLst>
                <a:ext uri="{FF2B5EF4-FFF2-40B4-BE49-F238E27FC236}">
                  <a16:creationId xmlns:a16="http://schemas.microsoft.com/office/drawing/2014/main" id="{EB4B6F25-3CF1-8042-534B-F5DFF2818D1A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32910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r Verbinder 80">
              <a:extLst>
                <a:ext uri="{FF2B5EF4-FFF2-40B4-BE49-F238E27FC236}">
                  <a16:creationId xmlns:a16="http://schemas.microsoft.com/office/drawing/2014/main" id="{BF9F8267-05A9-5A7A-0B56-FBAF3C1DC8DE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90516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r Verbinder 81">
              <a:extLst>
                <a:ext uri="{FF2B5EF4-FFF2-40B4-BE49-F238E27FC236}">
                  <a16:creationId xmlns:a16="http://schemas.microsoft.com/office/drawing/2014/main" id="{A7DB18FA-43A7-38AF-40E8-7041D2AA49E6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548123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595941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211">
          <p15:clr>
            <a:srgbClr val="FBAE40"/>
          </p15:clr>
        </p15:guide>
        <p15:guide id="5" pos="4566">
          <p15:clr>
            <a:srgbClr val="FBAE40"/>
          </p15:clr>
        </p15:guide>
        <p15:guide id="6" pos="4929">
          <p15:clr>
            <a:srgbClr val="FBAE40"/>
          </p15:clr>
        </p15:guide>
        <p15:guide id="7" pos="7106">
          <p15:clr>
            <a:srgbClr val="FBAE40"/>
          </p15:clr>
        </p15:guide>
        <p15:guide id="8" orient="horz" pos="2024">
          <p15:clr>
            <a:srgbClr val="FBAE40"/>
          </p15:clr>
        </p15:guide>
        <p15:guide id="9" orient="horz" pos="2387">
          <p15:clr>
            <a:srgbClr val="FBAE40"/>
          </p15:clr>
        </p15:guide>
        <p15:guide id="10" orient="horz" pos="3838">
          <p15:clr>
            <a:srgbClr val="FBAE40"/>
          </p15:clr>
        </p15:guide>
        <p15:guide id="11" pos="2389">
          <p15:clr>
            <a:srgbClr val="FBAE40"/>
          </p15:clr>
        </p15:guide>
        <p15:guide id="12" pos="2751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pictures &amp;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6F253CE-7670-FB91-004E-F8885F7037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9670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6F253CE-7670-FB91-004E-F8885F7037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0EA33E6C-B6EA-4396-A2D1-BF412B2609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4964" y="260648"/>
            <a:ext cx="8640762" cy="369332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/>
              <a:t>Insert your headline in Lato Heavy 24 pt here</a:t>
            </a:r>
          </a:p>
        </p:txBody>
      </p:sp>
      <p:sp>
        <p:nvSpPr>
          <p:cNvPr id="5" name="Picture 1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35360" y="1484313"/>
            <a:ext cx="2304654" cy="1728787"/>
          </a:xfrm>
          <a:prstGeom prst="rect">
            <a:avLst/>
          </a:prstGeom>
          <a:solidFill>
            <a:srgbClr val="D6D9DC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7" name="Content 1">
            <a:extLst>
              <a:ext uri="{FF2B5EF4-FFF2-40B4-BE49-F238E27FC236}">
                <a16:creationId xmlns:a16="http://schemas.microsoft.com/office/drawing/2014/main" id="{06A67EB1-7EE7-45D3-A94D-6EA201E90CF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35361" y="3789363"/>
            <a:ext cx="2304652" cy="2303462"/>
          </a:xfrm>
        </p:spPr>
        <p:txBody>
          <a:bodyPr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  <a:endParaRPr lang="en-GB"/>
          </a:p>
        </p:txBody>
      </p:sp>
      <p:sp>
        <p:nvSpPr>
          <p:cNvPr id="9" name="Picture 2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216275" y="1484313"/>
            <a:ext cx="2303463" cy="1728787"/>
          </a:xfrm>
          <a:prstGeom prst="rect">
            <a:avLst/>
          </a:prstGeom>
          <a:solidFill>
            <a:srgbClr val="D6D9DC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2" name="Content 2">
            <a:extLst>
              <a:ext uri="{FF2B5EF4-FFF2-40B4-BE49-F238E27FC236}">
                <a16:creationId xmlns:a16="http://schemas.microsoft.com/office/drawing/2014/main" id="{C35DD715-4BC4-4F30-A849-B8E23CA41DB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216275" y="3789363"/>
            <a:ext cx="2303463" cy="2303462"/>
          </a:xfrm>
        </p:spPr>
        <p:txBody>
          <a:bodyPr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  <a:endParaRPr lang="en-GB"/>
          </a:p>
        </p:txBody>
      </p:sp>
      <p:sp>
        <p:nvSpPr>
          <p:cNvPr id="10" name="Picture 3">
            <a:extLst>
              <a:ext uri="{FF2B5EF4-FFF2-40B4-BE49-F238E27FC236}">
                <a16:creationId xmlns:a16="http://schemas.microsoft.com/office/drawing/2014/main" id="{13F83B90-1053-4BAE-A04B-E97DF0BCFAD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096000" y="1484313"/>
            <a:ext cx="2305050" cy="1728787"/>
          </a:xfrm>
          <a:prstGeom prst="rect">
            <a:avLst/>
          </a:prstGeom>
          <a:solidFill>
            <a:srgbClr val="D6D9DC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3" name="Content 3">
            <a:extLst>
              <a:ext uri="{FF2B5EF4-FFF2-40B4-BE49-F238E27FC236}">
                <a16:creationId xmlns:a16="http://schemas.microsoft.com/office/drawing/2014/main" id="{312C35B1-615F-427F-BBA3-DA904C08CA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096000" y="3789363"/>
            <a:ext cx="2305050" cy="2303462"/>
          </a:xfrm>
        </p:spPr>
        <p:txBody>
          <a:bodyPr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</p:txBody>
      </p:sp>
      <p:sp>
        <p:nvSpPr>
          <p:cNvPr id="15" name="Picture 4">
            <a:extLst>
              <a:ext uri="{FF2B5EF4-FFF2-40B4-BE49-F238E27FC236}">
                <a16:creationId xmlns:a16="http://schemas.microsoft.com/office/drawing/2014/main" id="{66D73E2B-B33B-41C2-A349-344B52ABB4F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8975725" y="1484313"/>
            <a:ext cx="2305050" cy="1728787"/>
          </a:xfrm>
          <a:prstGeom prst="rect">
            <a:avLst/>
          </a:prstGeom>
          <a:solidFill>
            <a:srgbClr val="D6D9DC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6" name="Content 4">
            <a:extLst>
              <a:ext uri="{FF2B5EF4-FFF2-40B4-BE49-F238E27FC236}">
                <a16:creationId xmlns:a16="http://schemas.microsoft.com/office/drawing/2014/main" id="{6CA8DE4A-220D-4F9A-90B4-B0BB300CB3D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8975725" y="3789363"/>
            <a:ext cx="2305050" cy="2303462"/>
          </a:xfrm>
        </p:spPr>
        <p:txBody>
          <a:bodyPr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  <a:endParaRPr lang="en-GB"/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6D05A9F1-0CAC-A094-BFB5-21CB5918B68E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4A5B53CE-998C-392D-BDC1-DD214CD886C6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C4736F99-7633-22C2-5815-763ADED8F6A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CF2D047A-DCCA-3B45-7D83-BF1E61724D4A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4963" y="659362"/>
            <a:ext cx="8640762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21" name="Source">
            <a:extLst>
              <a:ext uri="{FF2B5EF4-FFF2-40B4-BE49-F238E27FC236}">
                <a16:creationId xmlns:a16="http://schemas.microsoft.com/office/drawing/2014/main" id="{D43BB731-88EB-7FF1-D77E-3BB52DB7B29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487488" y="6525000"/>
            <a:ext cx="9217024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031CCC2A-964B-5153-DD64-319C54C4A2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68768" y="-171392"/>
            <a:ext cx="12025408" cy="6264688"/>
            <a:chOff x="-168768" y="-171392"/>
            <a:chExt cx="12025408" cy="6264688"/>
          </a:xfrm>
        </p:grpSpPr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3B089A9A-CF4E-68E1-E483-197884547902}"/>
                </a:ext>
              </a:extLst>
            </p:cNvPr>
            <p:cNvCxnSpPr/>
            <p:nvPr userDrawn="1"/>
          </p:nvCxnSpPr>
          <p:spPr bwMode="gray">
            <a:xfrm>
              <a:off x="33536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8B706905-E4BE-D0BE-40AD-E2C38DE7CB84}"/>
                </a:ext>
              </a:extLst>
            </p:cNvPr>
            <p:cNvCxnSpPr/>
            <p:nvPr userDrawn="1"/>
          </p:nvCxnSpPr>
          <p:spPr bwMode="gray">
            <a:xfrm>
              <a:off x="436780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D09E033F-D408-D237-6330-DDF635CD2668}"/>
                </a:ext>
              </a:extLst>
            </p:cNvPr>
            <p:cNvCxnSpPr/>
            <p:nvPr userDrawn="1"/>
          </p:nvCxnSpPr>
          <p:spPr bwMode="gray">
            <a:xfrm>
              <a:off x="494387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>
              <a:extLst>
                <a:ext uri="{FF2B5EF4-FFF2-40B4-BE49-F238E27FC236}">
                  <a16:creationId xmlns:a16="http://schemas.microsoft.com/office/drawing/2014/main" id="{B104BB51-3E26-D506-4165-E90B73C6C955}"/>
                </a:ext>
              </a:extLst>
            </p:cNvPr>
            <p:cNvCxnSpPr/>
            <p:nvPr userDrawn="1"/>
          </p:nvCxnSpPr>
          <p:spPr bwMode="gray">
            <a:xfrm>
              <a:off x="667206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>
              <a:extLst>
                <a:ext uri="{FF2B5EF4-FFF2-40B4-BE49-F238E27FC236}">
                  <a16:creationId xmlns:a16="http://schemas.microsoft.com/office/drawing/2014/main" id="{ED246B65-E32C-71B8-6281-A1F7D676CD2F}"/>
                </a:ext>
              </a:extLst>
            </p:cNvPr>
            <p:cNvCxnSpPr/>
            <p:nvPr userDrawn="1"/>
          </p:nvCxnSpPr>
          <p:spPr bwMode="gray">
            <a:xfrm>
              <a:off x="609600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2B4C5CC0-9C0E-6E0D-0F98-26B5780E5B57}"/>
                </a:ext>
              </a:extLst>
            </p:cNvPr>
            <p:cNvCxnSpPr/>
            <p:nvPr userDrawn="1"/>
          </p:nvCxnSpPr>
          <p:spPr bwMode="gray">
            <a:xfrm>
              <a:off x="724812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49C8BE6A-D3E3-30EE-1642-0746D59E2406}"/>
                </a:ext>
              </a:extLst>
            </p:cNvPr>
            <p:cNvCxnSpPr/>
            <p:nvPr userDrawn="1"/>
          </p:nvCxnSpPr>
          <p:spPr bwMode="gray">
            <a:xfrm>
              <a:off x="782419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7CFB75E4-7299-C9F3-8197-C6D104561568}"/>
                </a:ext>
              </a:extLst>
            </p:cNvPr>
            <p:cNvCxnSpPr/>
            <p:nvPr userDrawn="1"/>
          </p:nvCxnSpPr>
          <p:spPr bwMode="gray">
            <a:xfrm>
              <a:off x="840025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480437F6-2DCA-709E-F9F8-A316744B815F}"/>
                </a:ext>
              </a:extLst>
            </p:cNvPr>
            <p:cNvCxnSpPr/>
            <p:nvPr userDrawn="1"/>
          </p:nvCxnSpPr>
          <p:spPr bwMode="gray">
            <a:xfrm>
              <a:off x="897632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F136B464-9040-FB62-6C03-7277DFFDE263}"/>
                </a:ext>
              </a:extLst>
            </p:cNvPr>
            <p:cNvCxnSpPr/>
            <p:nvPr userDrawn="1"/>
          </p:nvCxnSpPr>
          <p:spPr bwMode="gray">
            <a:xfrm>
              <a:off x="1128057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r Verbinder 44">
              <a:extLst>
                <a:ext uri="{FF2B5EF4-FFF2-40B4-BE49-F238E27FC236}">
                  <a16:creationId xmlns:a16="http://schemas.microsoft.com/office/drawing/2014/main" id="{66FFB4FC-2D63-2D57-E029-C506D0FEF49B}"/>
                </a:ext>
              </a:extLst>
            </p:cNvPr>
            <p:cNvCxnSpPr/>
            <p:nvPr userDrawn="1"/>
          </p:nvCxnSpPr>
          <p:spPr bwMode="gray">
            <a:xfrm>
              <a:off x="1185664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r Verbinder 45">
              <a:extLst>
                <a:ext uri="{FF2B5EF4-FFF2-40B4-BE49-F238E27FC236}">
                  <a16:creationId xmlns:a16="http://schemas.microsoft.com/office/drawing/2014/main" id="{EC537B26-8960-6612-1EC4-7F1DB5BBC1BB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29665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6B371C3E-A8FC-CEEA-1385-2B566C9C0186}"/>
                </a:ext>
              </a:extLst>
            </p:cNvPr>
            <p:cNvCxnSpPr/>
            <p:nvPr userDrawn="1"/>
          </p:nvCxnSpPr>
          <p:spPr bwMode="gray">
            <a:xfrm>
              <a:off x="321568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65">
              <a:extLst>
                <a:ext uri="{FF2B5EF4-FFF2-40B4-BE49-F238E27FC236}">
                  <a16:creationId xmlns:a16="http://schemas.microsoft.com/office/drawing/2014/main" id="{E5E4032B-A68B-F5DC-CCF8-4C9078C67E03}"/>
                </a:ext>
              </a:extLst>
            </p:cNvPr>
            <p:cNvCxnSpPr/>
            <p:nvPr userDrawn="1"/>
          </p:nvCxnSpPr>
          <p:spPr bwMode="gray">
            <a:xfrm>
              <a:off x="379174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D1DA89E1-C7D5-C9E7-DD43-893B75C0FA6E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04" y="87272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F5873125-63B2-51B8-984B-6F8DF0292AA1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12" y="202484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4C84798E-1E4F-C956-AB99-4C012EAB4E5C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68" y="605729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F8B2C390-3EE3-DCC1-C890-64532F82E0D5}"/>
                </a:ext>
              </a:extLst>
            </p:cNvPr>
            <p:cNvCxnSpPr/>
            <p:nvPr/>
          </p:nvCxnSpPr>
          <p:spPr bwMode="gray">
            <a:xfrm>
              <a:off x="1070451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74272E14-8532-32EB-BD53-C67E6FE7C6A0}"/>
                </a:ext>
              </a:extLst>
            </p:cNvPr>
            <p:cNvCxnSpPr/>
            <p:nvPr/>
          </p:nvCxnSpPr>
          <p:spPr bwMode="gray">
            <a:xfrm>
              <a:off x="1012844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142C3403-42A5-6F6B-7F2C-3CCCD23B46E7}"/>
                </a:ext>
              </a:extLst>
            </p:cNvPr>
            <p:cNvCxnSpPr/>
            <p:nvPr/>
          </p:nvCxnSpPr>
          <p:spPr bwMode="gray">
            <a:xfrm>
              <a:off x="955059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C0157B41-4DB7-7829-E88A-435704A1BAB6}"/>
                </a:ext>
              </a:extLst>
            </p:cNvPr>
            <p:cNvCxnSpPr/>
            <p:nvPr/>
          </p:nvCxnSpPr>
          <p:spPr bwMode="gray">
            <a:xfrm>
              <a:off x="551973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37C28530-D6FB-8B2F-047C-8B6A06F632CC}"/>
                </a:ext>
              </a:extLst>
            </p:cNvPr>
            <p:cNvCxnSpPr/>
            <p:nvPr/>
          </p:nvCxnSpPr>
          <p:spPr bwMode="gray">
            <a:xfrm>
              <a:off x="263961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>
              <a:extLst>
                <a:ext uri="{FF2B5EF4-FFF2-40B4-BE49-F238E27FC236}">
                  <a16:creationId xmlns:a16="http://schemas.microsoft.com/office/drawing/2014/main" id="{860F510E-D361-854B-DCDB-C25F0AF8EB92}"/>
                </a:ext>
              </a:extLst>
            </p:cNvPr>
            <p:cNvCxnSpPr/>
            <p:nvPr/>
          </p:nvCxnSpPr>
          <p:spPr bwMode="gray">
            <a:xfrm>
              <a:off x="206355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8510EF8A-4142-1958-B3B4-6ADFF5D0B6A5}"/>
                </a:ext>
              </a:extLst>
            </p:cNvPr>
            <p:cNvCxnSpPr/>
            <p:nvPr/>
          </p:nvCxnSpPr>
          <p:spPr bwMode="gray">
            <a:xfrm>
              <a:off x="148748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>
              <a:extLst>
                <a:ext uri="{FF2B5EF4-FFF2-40B4-BE49-F238E27FC236}">
                  <a16:creationId xmlns:a16="http://schemas.microsoft.com/office/drawing/2014/main" id="{5B06CC5B-5DB4-E7AA-24C2-272A5674A1EE}"/>
                </a:ext>
              </a:extLst>
            </p:cNvPr>
            <p:cNvCxnSpPr/>
            <p:nvPr/>
          </p:nvCxnSpPr>
          <p:spPr bwMode="gray">
            <a:xfrm>
              <a:off x="91142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A8DDFC90-B350-C31F-E1BC-4A3EDB41BF0F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04" y="144878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r Verbinder 78">
              <a:extLst>
                <a:ext uri="{FF2B5EF4-FFF2-40B4-BE49-F238E27FC236}">
                  <a16:creationId xmlns:a16="http://schemas.microsoft.com/office/drawing/2014/main" id="{DCA7F4B5-9148-EFB7-F2C4-3754BF7DDD7D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260091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r Verbinder 79">
              <a:extLst>
                <a:ext uri="{FF2B5EF4-FFF2-40B4-BE49-F238E27FC236}">
                  <a16:creationId xmlns:a16="http://schemas.microsoft.com/office/drawing/2014/main" id="{57E5CABE-1A88-A615-FB42-19A128C93C16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17697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r Verbinder 80">
              <a:extLst>
                <a:ext uri="{FF2B5EF4-FFF2-40B4-BE49-F238E27FC236}">
                  <a16:creationId xmlns:a16="http://schemas.microsoft.com/office/drawing/2014/main" id="{6E88675E-D0AE-573C-3796-CD9544FED06F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75304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r Verbinder 81">
              <a:extLst>
                <a:ext uri="{FF2B5EF4-FFF2-40B4-BE49-F238E27FC236}">
                  <a16:creationId xmlns:a16="http://schemas.microsoft.com/office/drawing/2014/main" id="{DDA1CBCC-4DC4-5633-E81F-8652051502AF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32910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r Verbinder 82">
              <a:extLst>
                <a:ext uri="{FF2B5EF4-FFF2-40B4-BE49-F238E27FC236}">
                  <a16:creationId xmlns:a16="http://schemas.microsoft.com/office/drawing/2014/main" id="{A32BD8EA-11FC-D558-5C27-FAB9856A3434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90516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r Verbinder 83">
              <a:extLst>
                <a:ext uri="{FF2B5EF4-FFF2-40B4-BE49-F238E27FC236}">
                  <a16:creationId xmlns:a16="http://schemas.microsoft.com/office/drawing/2014/main" id="{9110D522-63D5-BCB9-5942-C19BF40A14F2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548123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159965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4" orient="horz" pos="2387">
          <p15:clr>
            <a:srgbClr val="FBAE40"/>
          </p15:clr>
        </p15:guide>
        <p15:guide id="5" orient="horz" pos="3838">
          <p15:clr>
            <a:srgbClr val="FBAE40"/>
          </p15:clr>
        </p15:guide>
        <p15:guide id="6" pos="211">
          <p15:clr>
            <a:srgbClr val="FBAE40"/>
          </p15:clr>
        </p15:guide>
        <p15:guide id="7" pos="7106">
          <p15:clr>
            <a:srgbClr val="FBAE40"/>
          </p15:clr>
        </p15:guide>
        <p15:guide id="8" pos="1663">
          <p15:clr>
            <a:srgbClr val="FBAE40"/>
          </p15:clr>
        </p15:guide>
        <p15:guide id="9" pos="2026">
          <p15:clr>
            <a:srgbClr val="FBAE40"/>
          </p15:clr>
        </p15:guide>
        <p15:guide id="10" pos="3477">
          <p15:clr>
            <a:srgbClr val="FBAE40"/>
          </p15:clr>
        </p15:guide>
        <p15:guide id="11" pos="3840">
          <p15:clr>
            <a:srgbClr val="FBAE40"/>
          </p15:clr>
        </p15:guide>
        <p15:guide id="12" pos="5292">
          <p15:clr>
            <a:srgbClr val="FBAE40"/>
          </p15:clr>
        </p15:guide>
        <p15:guide id="13" pos="5654">
          <p15:clr>
            <a:srgbClr val="FBAE40"/>
          </p15:clr>
        </p15:guide>
        <p15:guide id="14" orient="horz" pos="2024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pictures &amp; contents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EFA939F-D24C-1557-F68C-204A02A49B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7845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EFA939F-D24C-1557-F68C-204A02A49B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0EA33E6C-B6EA-4396-A2D1-BF412B2609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4964" y="260648"/>
            <a:ext cx="8641356" cy="369332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5" name="Picture 1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35360" y="1484784"/>
            <a:ext cx="2304256" cy="2016125"/>
          </a:xfrm>
          <a:prstGeom prst="rect">
            <a:avLst/>
          </a:prstGeom>
          <a:solidFill>
            <a:srgbClr val="D6D9DC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7" name="Content 1">
            <a:extLst>
              <a:ext uri="{FF2B5EF4-FFF2-40B4-BE49-F238E27FC236}">
                <a16:creationId xmlns:a16="http://schemas.microsoft.com/office/drawing/2014/main" id="{06A67EB1-7EE7-45D3-A94D-6EA201E90CF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216274" y="1484312"/>
            <a:ext cx="2303662" cy="2016125"/>
          </a:xfrm>
        </p:spPr>
        <p:txBody>
          <a:bodyPr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9" name="Picture 2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35360" y="4077072"/>
            <a:ext cx="2304256" cy="2016124"/>
          </a:xfrm>
          <a:prstGeom prst="rect">
            <a:avLst/>
          </a:prstGeom>
          <a:solidFill>
            <a:srgbClr val="D6D9DC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2" name="Content 2">
            <a:extLst>
              <a:ext uri="{FF2B5EF4-FFF2-40B4-BE49-F238E27FC236}">
                <a16:creationId xmlns:a16="http://schemas.microsoft.com/office/drawing/2014/main" id="{C35DD715-4BC4-4F30-A849-B8E23CA41DB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216274" y="4076699"/>
            <a:ext cx="2303662" cy="2016125"/>
          </a:xfrm>
        </p:spPr>
        <p:txBody>
          <a:bodyPr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0" name="Picture3">
            <a:extLst>
              <a:ext uri="{FF2B5EF4-FFF2-40B4-BE49-F238E27FC236}">
                <a16:creationId xmlns:a16="http://schemas.microsoft.com/office/drawing/2014/main" id="{13F83B90-1053-4BAE-A04B-E97DF0BCFAD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096000" y="1484312"/>
            <a:ext cx="2305750" cy="2016125"/>
          </a:xfrm>
          <a:prstGeom prst="rect">
            <a:avLst/>
          </a:prstGeom>
          <a:solidFill>
            <a:srgbClr val="D6D9DC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3" name="Content 3">
            <a:extLst>
              <a:ext uri="{FF2B5EF4-FFF2-40B4-BE49-F238E27FC236}">
                <a16:creationId xmlns:a16="http://schemas.microsoft.com/office/drawing/2014/main" id="{312C35B1-615F-427F-BBA3-DA904C08CA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976320" y="1484312"/>
            <a:ext cx="2303448" cy="2016126"/>
          </a:xfrm>
        </p:spPr>
        <p:txBody>
          <a:bodyPr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5" name="Picture 4">
            <a:extLst>
              <a:ext uri="{FF2B5EF4-FFF2-40B4-BE49-F238E27FC236}">
                <a16:creationId xmlns:a16="http://schemas.microsoft.com/office/drawing/2014/main" id="{66D73E2B-B33B-41C2-A349-344B52ABB4F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094506" y="4077072"/>
            <a:ext cx="2305750" cy="2016125"/>
          </a:xfrm>
          <a:prstGeom prst="rect">
            <a:avLst/>
          </a:prstGeom>
          <a:solidFill>
            <a:srgbClr val="D6D9DC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6" name="Content 4">
            <a:extLst>
              <a:ext uri="{FF2B5EF4-FFF2-40B4-BE49-F238E27FC236}">
                <a16:creationId xmlns:a16="http://schemas.microsoft.com/office/drawing/2014/main" id="{6CA8DE4A-220D-4F9A-90B4-B0BB300CB3D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8976410" y="4076699"/>
            <a:ext cx="2304166" cy="2016126"/>
          </a:xfrm>
        </p:spPr>
        <p:txBody>
          <a:bodyPr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F0BE709E-DE0C-B8B9-CD2B-FB0D91F9AE5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3B5764C9-258A-58A9-9E7E-43B27B2ED7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D8BAB493-26C6-B103-6D66-35B98997A44E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611FBA8A-3155-C6FA-CBC4-E125342DC9C2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4964" y="659362"/>
            <a:ext cx="8641356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21" name="Source">
            <a:extLst>
              <a:ext uri="{FF2B5EF4-FFF2-40B4-BE49-F238E27FC236}">
                <a16:creationId xmlns:a16="http://schemas.microsoft.com/office/drawing/2014/main" id="{C4A02CCA-8EC5-6719-EADA-1078F106F07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487488" y="6525000"/>
            <a:ext cx="9217024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50A2CA95-8D90-7B1D-ACF1-5A14D9F2C1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68768" y="-171392"/>
            <a:ext cx="12025408" cy="6264688"/>
            <a:chOff x="-168768" y="-171392"/>
            <a:chExt cx="12025408" cy="6264688"/>
          </a:xfrm>
        </p:grpSpPr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14F27ADD-55CF-0C10-49B2-6C309A4CFD8E}"/>
                </a:ext>
              </a:extLst>
            </p:cNvPr>
            <p:cNvCxnSpPr/>
            <p:nvPr userDrawn="1"/>
          </p:nvCxnSpPr>
          <p:spPr bwMode="gray">
            <a:xfrm>
              <a:off x="33536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D7BE1856-A367-A74E-97F7-216E832BADE3}"/>
                </a:ext>
              </a:extLst>
            </p:cNvPr>
            <p:cNvCxnSpPr/>
            <p:nvPr userDrawn="1"/>
          </p:nvCxnSpPr>
          <p:spPr bwMode="gray">
            <a:xfrm>
              <a:off x="436780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C8B9ABA7-46AD-D624-300F-E53D24EA3ED4}"/>
                </a:ext>
              </a:extLst>
            </p:cNvPr>
            <p:cNvCxnSpPr/>
            <p:nvPr userDrawn="1"/>
          </p:nvCxnSpPr>
          <p:spPr bwMode="gray">
            <a:xfrm>
              <a:off x="494387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>
              <a:extLst>
                <a:ext uri="{FF2B5EF4-FFF2-40B4-BE49-F238E27FC236}">
                  <a16:creationId xmlns:a16="http://schemas.microsoft.com/office/drawing/2014/main" id="{81B66C26-011A-8B97-B344-6CEAC7529EF7}"/>
                </a:ext>
              </a:extLst>
            </p:cNvPr>
            <p:cNvCxnSpPr/>
            <p:nvPr userDrawn="1"/>
          </p:nvCxnSpPr>
          <p:spPr bwMode="gray">
            <a:xfrm>
              <a:off x="667206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>
              <a:extLst>
                <a:ext uri="{FF2B5EF4-FFF2-40B4-BE49-F238E27FC236}">
                  <a16:creationId xmlns:a16="http://schemas.microsoft.com/office/drawing/2014/main" id="{02359A0D-868A-B4B3-A9F1-F297A81EB8D6}"/>
                </a:ext>
              </a:extLst>
            </p:cNvPr>
            <p:cNvCxnSpPr/>
            <p:nvPr userDrawn="1"/>
          </p:nvCxnSpPr>
          <p:spPr bwMode="gray">
            <a:xfrm>
              <a:off x="609600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0A82E2F5-1CC6-8E95-DA6B-3C7E12C157AF}"/>
                </a:ext>
              </a:extLst>
            </p:cNvPr>
            <p:cNvCxnSpPr/>
            <p:nvPr userDrawn="1"/>
          </p:nvCxnSpPr>
          <p:spPr bwMode="gray">
            <a:xfrm>
              <a:off x="724812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56E6AB67-B7FC-5D83-1709-44ABD143D869}"/>
                </a:ext>
              </a:extLst>
            </p:cNvPr>
            <p:cNvCxnSpPr/>
            <p:nvPr userDrawn="1"/>
          </p:nvCxnSpPr>
          <p:spPr bwMode="gray">
            <a:xfrm>
              <a:off x="782419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7DBEFDA5-CC6B-8293-669D-9EC1E7E1B37F}"/>
                </a:ext>
              </a:extLst>
            </p:cNvPr>
            <p:cNvCxnSpPr/>
            <p:nvPr userDrawn="1"/>
          </p:nvCxnSpPr>
          <p:spPr bwMode="gray">
            <a:xfrm>
              <a:off x="840025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13AF6781-B046-F72A-B578-1723E549C774}"/>
                </a:ext>
              </a:extLst>
            </p:cNvPr>
            <p:cNvCxnSpPr/>
            <p:nvPr userDrawn="1"/>
          </p:nvCxnSpPr>
          <p:spPr bwMode="gray">
            <a:xfrm>
              <a:off x="897632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D52FC2B3-1323-1BE3-0BD0-254B72D76B4F}"/>
                </a:ext>
              </a:extLst>
            </p:cNvPr>
            <p:cNvCxnSpPr/>
            <p:nvPr userDrawn="1"/>
          </p:nvCxnSpPr>
          <p:spPr bwMode="gray">
            <a:xfrm>
              <a:off x="1128057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r Verbinder 44">
              <a:extLst>
                <a:ext uri="{FF2B5EF4-FFF2-40B4-BE49-F238E27FC236}">
                  <a16:creationId xmlns:a16="http://schemas.microsoft.com/office/drawing/2014/main" id="{C7F770F4-D5F6-14F9-B152-BC8B473B781B}"/>
                </a:ext>
              </a:extLst>
            </p:cNvPr>
            <p:cNvCxnSpPr/>
            <p:nvPr userDrawn="1"/>
          </p:nvCxnSpPr>
          <p:spPr bwMode="gray">
            <a:xfrm>
              <a:off x="1185664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r Verbinder 45">
              <a:extLst>
                <a:ext uri="{FF2B5EF4-FFF2-40B4-BE49-F238E27FC236}">
                  <a16:creationId xmlns:a16="http://schemas.microsoft.com/office/drawing/2014/main" id="{915D999A-822E-605F-7641-60B11F5CEA4F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29665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86E998F9-9D49-C2F0-DB33-1E951A88A218}"/>
                </a:ext>
              </a:extLst>
            </p:cNvPr>
            <p:cNvCxnSpPr/>
            <p:nvPr userDrawn="1"/>
          </p:nvCxnSpPr>
          <p:spPr bwMode="gray">
            <a:xfrm>
              <a:off x="321568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65">
              <a:extLst>
                <a:ext uri="{FF2B5EF4-FFF2-40B4-BE49-F238E27FC236}">
                  <a16:creationId xmlns:a16="http://schemas.microsoft.com/office/drawing/2014/main" id="{E0EAC9FC-673A-8D38-500C-E7B3AA7F0A7E}"/>
                </a:ext>
              </a:extLst>
            </p:cNvPr>
            <p:cNvCxnSpPr/>
            <p:nvPr userDrawn="1"/>
          </p:nvCxnSpPr>
          <p:spPr bwMode="gray">
            <a:xfrm>
              <a:off x="379174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DAD81303-87D7-F49A-0C69-4231253CFF67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04" y="87272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8556D824-D8D2-C88E-216B-6B97E96B65CA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12" y="202484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C7EA807E-84F3-818E-091F-E390F81EA9E5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68" y="605729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705FB1ED-0BDD-5027-FCAB-FA39165A79F5}"/>
                </a:ext>
              </a:extLst>
            </p:cNvPr>
            <p:cNvCxnSpPr/>
            <p:nvPr/>
          </p:nvCxnSpPr>
          <p:spPr bwMode="gray">
            <a:xfrm>
              <a:off x="1070451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8664D55D-4C7C-08D5-D4D4-7B358473A8ED}"/>
                </a:ext>
              </a:extLst>
            </p:cNvPr>
            <p:cNvCxnSpPr/>
            <p:nvPr/>
          </p:nvCxnSpPr>
          <p:spPr bwMode="gray">
            <a:xfrm>
              <a:off x="1012844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6C86EA77-4740-634B-2CF9-778F7CBD3A1A}"/>
                </a:ext>
              </a:extLst>
            </p:cNvPr>
            <p:cNvCxnSpPr/>
            <p:nvPr/>
          </p:nvCxnSpPr>
          <p:spPr bwMode="gray">
            <a:xfrm>
              <a:off x="955059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E95AB088-CF89-CECC-57A7-F2D6B62C4AB0}"/>
                </a:ext>
              </a:extLst>
            </p:cNvPr>
            <p:cNvCxnSpPr/>
            <p:nvPr/>
          </p:nvCxnSpPr>
          <p:spPr bwMode="gray">
            <a:xfrm>
              <a:off x="551973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B5DCA70A-C11A-7E3C-8599-F67AAC9CC7B2}"/>
                </a:ext>
              </a:extLst>
            </p:cNvPr>
            <p:cNvCxnSpPr/>
            <p:nvPr/>
          </p:nvCxnSpPr>
          <p:spPr bwMode="gray">
            <a:xfrm>
              <a:off x="263961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>
              <a:extLst>
                <a:ext uri="{FF2B5EF4-FFF2-40B4-BE49-F238E27FC236}">
                  <a16:creationId xmlns:a16="http://schemas.microsoft.com/office/drawing/2014/main" id="{B6E367C9-ABED-D06B-1FA5-A28A2DA1C61C}"/>
                </a:ext>
              </a:extLst>
            </p:cNvPr>
            <p:cNvCxnSpPr/>
            <p:nvPr/>
          </p:nvCxnSpPr>
          <p:spPr bwMode="gray">
            <a:xfrm>
              <a:off x="206355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AF0CAD9F-DA82-0C97-68A2-7D6E9531FC17}"/>
                </a:ext>
              </a:extLst>
            </p:cNvPr>
            <p:cNvCxnSpPr/>
            <p:nvPr/>
          </p:nvCxnSpPr>
          <p:spPr bwMode="gray">
            <a:xfrm>
              <a:off x="148748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>
              <a:extLst>
                <a:ext uri="{FF2B5EF4-FFF2-40B4-BE49-F238E27FC236}">
                  <a16:creationId xmlns:a16="http://schemas.microsoft.com/office/drawing/2014/main" id="{D9E5A025-B111-EE14-D3D6-8FAA8C2BDA9F}"/>
                </a:ext>
              </a:extLst>
            </p:cNvPr>
            <p:cNvCxnSpPr/>
            <p:nvPr/>
          </p:nvCxnSpPr>
          <p:spPr bwMode="gray">
            <a:xfrm>
              <a:off x="91142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D773125F-E534-E926-76DC-7375F5B36A58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04" y="144878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r Verbinder 78">
              <a:extLst>
                <a:ext uri="{FF2B5EF4-FFF2-40B4-BE49-F238E27FC236}">
                  <a16:creationId xmlns:a16="http://schemas.microsoft.com/office/drawing/2014/main" id="{4F117D7B-A960-58DE-924D-6EB9958CCCE7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260091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r Verbinder 79">
              <a:extLst>
                <a:ext uri="{FF2B5EF4-FFF2-40B4-BE49-F238E27FC236}">
                  <a16:creationId xmlns:a16="http://schemas.microsoft.com/office/drawing/2014/main" id="{74EF057D-7D7A-2B7D-376E-AAAF20455D5E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17697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r Verbinder 80">
              <a:extLst>
                <a:ext uri="{FF2B5EF4-FFF2-40B4-BE49-F238E27FC236}">
                  <a16:creationId xmlns:a16="http://schemas.microsoft.com/office/drawing/2014/main" id="{D0179124-D2E2-1078-9E1C-2E86BD6B7B9E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75304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r Verbinder 81">
              <a:extLst>
                <a:ext uri="{FF2B5EF4-FFF2-40B4-BE49-F238E27FC236}">
                  <a16:creationId xmlns:a16="http://schemas.microsoft.com/office/drawing/2014/main" id="{6B230E94-548F-899A-FE55-08C5DB936E1C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32910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r Verbinder 82">
              <a:extLst>
                <a:ext uri="{FF2B5EF4-FFF2-40B4-BE49-F238E27FC236}">
                  <a16:creationId xmlns:a16="http://schemas.microsoft.com/office/drawing/2014/main" id="{A06502C3-D19F-13B3-6408-18223D4C4A9F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90516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r Verbinder 83">
              <a:extLst>
                <a:ext uri="{FF2B5EF4-FFF2-40B4-BE49-F238E27FC236}">
                  <a16:creationId xmlns:a16="http://schemas.microsoft.com/office/drawing/2014/main" id="{A7933521-C6C8-115B-45C6-C57E1CC5316C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548123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8358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211">
          <p15:clr>
            <a:srgbClr val="FBAE40"/>
          </p15:clr>
        </p15:guide>
        <p15:guide id="5" pos="7106">
          <p15:clr>
            <a:srgbClr val="FBAE40"/>
          </p15:clr>
        </p15:guide>
        <p15:guide id="6" orient="horz" pos="2205">
          <p15:clr>
            <a:srgbClr val="FBAE40"/>
          </p15:clr>
        </p15:guide>
        <p15:guide id="7" orient="horz" pos="2568">
          <p15:clr>
            <a:srgbClr val="FBAE40"/>
          </p15:clr>
        </p15:guide>
        <p15:guide id="8" orient="horz" pos="3838">
          <p15:clr>
            <a:srgbClr val="FBAE40"/>
          </p15:clr>
        </p15:guide>
        <p15:guide id="9" pos="3477">
          <p15:clr>
            <a:srgbClr val="FBAE40"/>
          </p15:clr>
        </p15:guide>
        <p15:guide id="10" pos="384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Diagrams &amp;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C4B9DF7-5928-397A-9864-CD8A2581B0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5736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C4B9DF7-5928-397A-9864-CD8A2581B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0EA33E6C-B6EA-4396-A2D1-BF412B2609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4964" y="260648"/>
            <a:ext cx="8641356" cy="369332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8" name="Diagram 1">
            <a:extLst>
              <a:ext uri="{FF2B5EF4-FFF2-40B4-BE49-F238E27FC236}">
                <a16:creationId xmlns:a16="http://schemas.microsoft.com/office/drawing/2014/main" id="{3C03ED19-FCCA-4F93-A27B-CE2D505869A8}"/>
              </a:ext>
            </a:extLst>
          </p:cNvPr>
          <p:cNvSpPr>
            <a:spLocks noGrp="1"/>
          </p:cNvSpPr>
          <p:nvPr>
            <p:ph type="chart" sz="quarter" idx="28" hasCustomPrompt="1"/>
          </p:nvPr>
        </p:nvSpPr>
        <p:spPr bwMode="gray">
          <a:xfrm>
            <a:off x="335360" y="1484313"/>
            <a:ext cx="2304653" cy="17287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7" name="Content 1">
            <a:extLst>
              <a:ext uri="{FF2B5EF4-FFF2-40B4-BE49-F238E27FC236}">
                <a16:creationId xmlns:a16="http://schemas.microsoft.com/office/drawing/2014/main" id="{06A67EB1-7EE7-45D3-A94D-6EA201E90CF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35361" y="3789363"/>
            <a:ext cx="2304653" cy="2303461"/>
          </a:xfrm>
        </p:spPr>
        <p:txBody>
          <a:bodyPr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7" name="Diagram 2">
            <a:extLst>
              <a:ext uri="{FF2B5EF4-FFF2-40B4-BE49-F238E27FC236}">
                <a16:creationId xmlns:a16="http://schemas.microsoft.com/office/drawing/2014/main" id="{D1A80D6A-DCC1-4500-888C-4F1A24AABF4F}"/>
              </a:ext>
            </a:extLst>
          </p:cNvPr>
          <p:cNvSpPr>
            <a:spLocks noGrp="1"/>
          </p:cNvSpPr>
          <p:nvPr>
            <p:ph type="chart" sz="quarter" idx="29" hasCustomPrompt="1"/>
          </p:nvPr>
        </p:nvSpPr>
        <p:spPr bwMode="gray">
          <a:xfrm>
            <a:off x="3216275" y="1484313"/>
            <a:ext cx="2303463" cy="17287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2" name="Content 2">
            <a:extLst>
              <a:ext uri="{FF2B5EF4-FFF2-40B4-BE49-F238E27FC236}">
                <a16:creationId xmlns:a16="http://schemas.microsoft.com/office/drawing/2014/main" id="{C35DD715-4BC4-4F30-A849-B8E23CA41DB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216275" y="3789363"/>
            <a:ext cx="2303463" cy="2303462"/>
          </a:xfrm>
        </p:spPr>
        <p:txBody>
          <a:bodyPr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8" name="Diagram 3">
            <a:extLst>
              <a:ext uri="{FF2B5EF4-FFF2-40B4-BE49-F238E27FC236}">
                <a16:creationId xmlns:a16="http://schemas.microsoft.com/office/drawing/2014/main" id="{021B7AD0-D310-4069-ACD1-90BD901B155A}"/>
              </a:ext>
            </a:extLst>
          </p:cNvPr>
          <p:cNvSpPr>
            <a:spLocks noGrp="1"/>
          </p:cNvSpPr>
          <p:nvPr>
            <p:ph type="chart" sz="quarter" idx="30" hasCustomPrompt="1"/>
          </p:nvPr>
        </p:nvSpPr>
        <p:spPr bwMode="gray">
          <a:xfrm>
            <a:off x="6096000" y="1484313"/>
            <a:ext cx="2305050" cy="17287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3" name="Content 3">
            <a:extLst>
              <a:ext uri="{FF2B5EF4-FFF2-40B4-BE49-F238E27FC236}">
                <a16:creationId xmlns:a16="http://schemas.microsoft.com/office/drawing/2014/main" id="{312C35B1-615F-427F-BBA3-DA904C08CA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096000" y="3789363"/>
            <a:ext cx="2305050" cy="2303462"/>
          </a:xfrm>
        </p:spPr>
        <p:txBody>
          <a:bodyPr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9" name="Diagram 5">
            <a:extLst>
              <a:ext uri="{FF2B5EF4-FFF2-40B4-BE49-F238E27FC236}">
                <a16:creationId xmlns:a16="http://schemas.microsoft.com/office/drawing/2014/main" id="{2857BF4C-3473-4E27-93FF-E487BE286E40}"/>
              </a:ext>
            </a:extLst>
          </p:cNvPr>
          <p:cNvSpPr>
            <a:spLocks noGrp="1"/>
          </p:cNvSpPr>
          <p:nvPr>
            <p:ph type="chart" sz="quarter" idx="31" hasCustomPrompt="1"/>
          </p:nvPr>
        </p:nvSpPr>
        <p:spPr bwMode="gray">
          <a:xfrm>
            <a:off x="8976320" y="1484313"/>
            <a:ext cx="2304455" cy="17287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6" name="Content 4">
            <a:extLst>
              <a:ext uri="{FF2B5EF4-FFF2-40B4-BE49-F238E27FC236}">
                <a16:creationId xmlns:a16="http://schemas.microsoft.com/office/drawing/2014/main" id="{6CA8DE4A-220D-4F9A-90B4-B0BB300CB3D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8976348" y="3789363"/>
            <a:ext cx="2304688" cy="2303462"/>
          </a:xfrm>
        </p:spPr>
        <p:txBody>
          <a:bodyPr/>
          <a:lstStyle/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3FA262F-A846-1A79-3999-F2D0A18AD479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A402DD41-46CD-125B-9B15-E27A468DA4C9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639E429-752E-29FF-FAC3-9FA7E8209563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1D0332CB-0566-9498-DC27-173D4A0169B4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4964" y="659362"/>
            <a:ext cx="8640762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21" name="Source">
            <a:extLst>
              <a:ext uri="{FF2B5EF4-FFF2-40B4-BE49-F238E27FC236}">
                <a16:creationId xmlns:a16="http://schemas.microsoft.com/office/drawing/2014/main" id="{215A5566-E701-8CE8-2DA8-3CB6E9634BD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487488" y="6525000"/>
            <a:ext cx="9217024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89FA4A75-3343-7323-D8A4-5B0C1A85DC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68768" y="-171392"/>
            <a:ext cx="12025408" cy="6264688"/>
            <a:chOff x="-168768" y="-171392"/>
            <a:chExt cx="12025408" cy="6264688"/>
          </a:xfrm>
        </p:grpSpPr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862C2964-9755-81FE-4F54-45C73EAFA843}"/>
                </a:ext>
              </a:extLst>
            </p:cNvPr>
            <p:cNvCxnSpPr/>
            <p:nvPr userDrawn="1"/>
          </p:nvCxnSpPr>
          <p:spPr bwMode="gray">
            <a:xfrm>
              <a:off x="33536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00FA98EE-CDF4-E367-589D-DBDC7FF9F301}"/>
                </a:ext>
              </a:extLst>
            </p:cNvPr>
            <p:cNvCxnSpPr/>
            <p:nvPr userDrawn="1"/>
          </p:nvCxnSpPr>
          <p:spPr bwMode="gray">
            <a:xfrm>
              <a:off x="436780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87CE53E1-2CD6-E7EA-B0B6-01E15B7C74DA}"/>
                </a:ext>
              </a:extLst>
            </p:cNvPr>
            <p:cNvCxnSpPr/>
            <p:nvPr userDrawn="1"/>
          </p:nvCxnSpPr>
          <p:spPr bwMode="gray">
            <a:xfrm>
              <a:off x="494387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>
              <a:extLst>
                <a:ext uri="{FF2B5EF4-FFF2-40B4-BE49-F238E27FC236}">
                  <a16:creationId xmlns:a16="http://schemas.microsoft.com/office/drawing/2014/main" id="{976CC231-19C3-174A-D2AC-AF641B7FF526}"/>
                </a:ext>
              </a:extLst>
            </p:cNvPr>
            <p:cNvCxnSpPr/>
            <p:nvPr userDrawn="1"/>
          </p:nvCxnSpPr>
          <p:spPr bwMode="gray">
            <a:xfrm>
              <a:off x="667206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>
              <a:extLst>
                <a:ext uri="{FF2B5EF4-FFF2-40B4-BE49-F238E27FC236}">
                  <a16:creationId xmlns:a16="http://schemas.microsoft.com/office/drawing/2014/main" id="{86204850-9429-5160-C85C-83A63DDD7EC8}"/>
                </a:ext>
              </a:extLst>
            </p:cNvPr>
            <p:cNvCxnSpPr/>
            <p:nvPr userDrawn="1"/>
          </p:nvCxnSpPr>
          <p:spPr bwMode="gray">
            <a:xfrm>
              <a:off x="609600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3F36E7A6-B507-2EDE-30AD-DC5C9CF99EB2}"/>
                </a:ext>
              </a:extLst>
            </p:cNvPr>
            <p:cNvCxnSpPr/>
            <p:nvPr userDrawn="1"/>
          </p:nvCxnSpPr>
          <p:spPr bwMode="gray">
            <a:xfrm>
              <a:off x="724812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311105AD-AB33-C3F3-D177-A0B18FFD2C46}"/>
                </a:ext>
              </a:extLst>
            </p:cNvPr>
            <p:cNvCxnSpPr/>
            <p:nvPr userDrawn="1"/>
          </p:nvCxnSpPr>
          <p:spPr bwMode="gray">
            <a:xfrm>
              <a:off x="782419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66F64A0-C2C7-6E16-7D65-898A5B4840A0}"/>
                </a:ext>
              </a:extLst>
            </p:cNvPr>
            <p:cNvCxnSpPr/>
            <p:nvPr userDrawn="1"/>
          </p:nvCxnSpPr>
          <p:spPr bwMode="gray">
            <a:xfrm>
              <a:off x="840025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83611535-3B52-516B-0A42-1F8B460B7D1D}"/>
                </a:ext>
              </a:extLst>
            </p:cNvPr>
            <p:cNvCxnSpPr/>
            <p:nvPr userDrawn="1"/>
          </p:nvCxnSpPr>
          <p:spPr bwMode="gray">
            <a:xfrm>
              <a:off x="897632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BC6AB79C-F34F-0F96-4822-0AB2607BB8CB}"/>
                </a:ext>
              </a:extLst>
            </p:cNvPr>
            <p:cNvCxnSpPr/>
            <p:nvPr userDrawn="1"/>
          </p:nvCxnSpPr>
          <p:spPr bwMode="gray">
            <a:xfrm>
              <a:off x="1128057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r Verbinder 44">
              <a:extLst>
                <a:ext uri="{FF2B5EF4-FFF2-40B4-BE49-F238E27FC236}">
                  <a16:creationId xmlns:a16="http://schemas.microsoft.com/office/drawing/2014/main" id="{5B425608-1379-03A5-83A9-511C86154EC9}"/>
                </a:ext>
              </a:extLst>
            </p:cNvPr>
            <p:cNvCxnSpPr/>
            <p:nvPr userDrawn="1"/>
          </p:nvCxnSpPr>
          <p:spPr bwMode="gray">
            <a:xfrm>
              <a:off x="1185664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r Verbinder 45">
              <a:extLst>
                <a:ext uri="{FF2B5EF4-FFF2-40B4-BE49-F238E27FC236}">
                  <a16:creationId xmlns:a16="http://schemas.microsoft.com/office/drawing/2014/main" id="{9B92D205-40AC-550A-A0F6-7D1B5DE735B9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29665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3D4E0959-2AE6-8D42-E806-8FA9E4B25247}"/>
                </a:ext>
              </a:extLst>
            </p:cNvPr>
            <p:cNvCxnSpPr/>
            <p:nvPr userDrawn="1"/>
          </p:nvCxnSpPr>
          <p:spPr bwMode="gray">
            <a:xfrm>
              <a:off x="321568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r Verbinder 47">
              <a:extLst>
                <a:ext uri="{FF2B5EF4-FFF2-40B4-BE49-F238E27FC236}">
                  <a16:creationId xmlns:a16="http://schemas.microsoft.com/office/drawing/2014/main" id="{948D3A5A-B37E-9435-B553-F96A0406ADA6}"/>
                </a:ext>
              </a:extLst>
            </p:cNvPr>
            <p:cNvCxnSpPr/>
            <p:nvPr userDrawn="1"/>
          </p:nvCxnSpPr>
          <p:spPr bwMode="gray">
            <a:xfrm>
              <a:off x="379174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30E1D582-010C-AD18-5395-5747756A6D4E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04" y="87272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49657B8F-2547-1C1A-6776-61DB68D6B823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12" y="202484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C0D6215C-A02A-0B41-ECB8-5F6071BB4F71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68" y="605729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B04B8FF8-AC7A-3E38-8DD2-468035A6A8A3}"/>
                </a:ext>
              </a:extLst>
            </p:cNvPr>
            <p:cNvCxnSpPr/>
            <p:nvPr/>
          </p:nvCxnSpPr>
          <p:spPr bwMode="gray">
            <a:xfrm>
              <a:off x="1070451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E566E296-E015-8262-0718-333753653511}"/>
                </a:ext>
              </a:extLst>
            </p:cNvPr>
            <p:cNvCxnSpPr/>
            <p:nvPr/>
          </p:nvCxnSpPr>
          <p:spPr bwMode="gray">
            <a:xfrm>
              <a:off x="1012844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12758CC5-4CC1-55DA-117D-EAC646CE9403}"/>
                </a:ext>
              </a:extLst>
            </p:cNvPr>
            <p:cNvCxnSpPr/>
            <p:nvPr/>
          </p:nvCxnSpPr>
          <p:spPr bwMode="gray">
            <a:xfrm>
              <a:off x="955059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79C57716-6E30-7744-166B-1C41B9B57351}"/>
                </a:ext>
              </a:extLst>
            </p:cNvPr>
            <p:cNvCxnSpPr/>
            <p:nvPr/>
          </p:nvCxnSpPr>
          <p:spPr bwMode="gray">
            <a:xfrm>
              <a:off x="551973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74FBD4D9-5612-ABC6-09FB-5111010403EC}"/>
                </a:ext>
              </a:extLst>
            </p:cNvPr>
            <p:cNvCxnSpPr/>
            <p:nvPr/>
          </p:nvCxnSpPr>
          <p:spPr bwMode="gray">
            <a:xfrm>
              <a:off x="263961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>
              <a:extLst>
                <a:ext uri="{FF2B5EF4-FFF2-40B4-BE49-F238E27FC236}">
                  <a16:creationId xmlns:a16="http://schemas.microsoft.com/office/drawing/2014/main" id="{B46ADD30-F579-B7B5-C47A-E1999E454AB2}"/>
                </a:ext>
              </a:extLst>
            </p:cNvPr>
            <p:cNvCxnSpPr/>
            <p:nvPr/>
          </p:nvCxnSpPr>
          <p:spPr bwMode="gray">
            <a:xfrm>
              <a:off x="206355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CE641FD1-84FA-3AB2-56FE-4C17FC7CEB5D}"/>
                </a:ext>
              </a:extLst>
            </p:cNvPr>
            <p:cNvCxnSpPr/>
            <p:nvPr/>
          </p:nvCxnSpPr>
          <p:spPr bwMode="gray">
            <a:xfrm>
              <a:off x="148748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>
              <a:extLst>
                <a:ext uri="{FF2B5EF4-FFF2-40B4-BE49-F238E27FC236}">
                  <a16:creationId xmlns:a16="http://schemas.microsoft.com/office/drawing/2014/main" id="{6649EC7A-E823-16F5-29A3-7A2ECE80A4CB}"/>
                </a:ext>
              </a:extLst>
            </p:cNvPr>
            <p:cNvCxnSpPr/>
            <p:nvPr/>
          </p:nvCxnSpPr>
          <p:spPr bwMode="gray">
            <a:xfrm>
              <a:off x="91142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293674CD-0DB4-AAF1-2D2E-377E51E1A87B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04" y="144878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r Verbinder 78">
              <a:extLst>
                <a:ext uri="{FF2B5EF4-FFF2-40B4-BE49-F238E27FC236}">
                  <a16:creationId xmlns:a16="http://schemas.microsoft.com/office/drawing/2014/main" id="{E4B9A240-5F5B-DA48-7367-8B3763D395B0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260091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r Verbinder 79">
              <a:extLst>
                <a:ext uri="{FF2B5EF4-FFF2-40B4-BE49-F238E27FC236}">
                  <a16:creationId xmlns:a16="http://schemas.microsoft.com/office/drawing/2014/main" id="{3D82582A-15FA-D4F0-38B4-8A69E63FB7BA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17697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r Verbinder 80">
              <a:extLst>
                <a:ext uri="{FF2B5EF4-FFF2-40B4-BE49-F238E27FC236}">
                  <a16:creationId xmlns:a16="http://schemas.microsoft.com/office/drawing/2014/main" id="{FE010D7B-9ED9-8318-B8BE-B4DF83E9B575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75304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r Verbinder 81">
              <a:extLst>
                <a:ext uri="{FF2B5EF4-FFF2-40B4-BE49-F238E27FC236}">
                  <a16:creationId xmlns:a16="http://schemas.microsoft.com/office/drawing/2014/main" id="{E1E5DE1A-9FDD-2E0D-FBCD-4A6C442ECA1B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32910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r Verbinder 82">
              <a:extLst>
                <a:ext uri="{FF2B5EF4-FFF2-40B4-BE49-F238E27FC236}">
                  <a16:creationId xmlns:a16="http://schemas.microsoft.com/office/drawing/2014/main" id="{AD040A17-4627-B007-E632-96A2A6ACF3A1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90516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r Verbinder 83">
              <a:extLst>
                <a:ext uri="{FF2B5EF4-FFF2-40B4-BE49-F238E27FC236}">
                  <a16:creationId xmlns:a16="http://schemas.microsoft.com/office/drawing/2014/main" id="{BB8BAA33-7946-0603-7660-053FE940EB21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548123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337393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3" orient="horz" pos="2024">
          <p15:clr>
            <a:srgbClr val="FBAE40"/>
          </p15:clr>
        </p15:guide>
        <p15:guide id="4" orient="horz" pos="2387">
          <p15:clr>
            <a:srgbClr val="FBAE40"/>
          </p15:clr>
        </p15:guide>
        <p15:guide id="5" orient="horz" pos="3838">
          <p15:clr>
            <a:srgbClr val="FBAE40"/>
          </p15:clr>
        </p15:guide>
        <p15:guide id="6" pos="211">
          <p15:clr>
            <a:srgbClr val="FBAE40"/>
          </p15:clr>
        </p15:guide>
        <p15:guide id="7" pos="7106">
          <p15:clr>
            <a:srgbClr val="FBAE40"/>
          </p15:clr>
        </p15:guide>
        <p15:guide id="8" pos="5654">
          <p15:clr>
            <a:srgbClr val="FBAE40"/>
          </p15:clr>
        </p15:guide>
        <p15:guide id="9" pos="5292">
          <p15:clr>
            <a:srgbClr val="FBAE40"/>
          </p15:clr>
        </p15:guide>
        <p15:guide id="10" pos="3840">
          <p15:clr>
            <a:srgbClr val="FBAE40"/>
          </p15:clr>
        </p15:guide>
        <p15:guide id="11" pos="3477">
          <p15:clr>
            <a:srgbClr val="FBAE40"/>
          </p15:clr>
        </p15:guide>
        <p15:guide id="12" pos="2026">
          <p15:clr>
            <a:srgbClr val="FBAE40"/>
          </p15:clr>
        </p15:guide>
        <p15:guide id="13" pos="1663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486EC8D-2A69-E4B0-945F-A5365E7DA0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484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486EC8D-2A69-E4B0-945F-A5365E7DA0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B323AA85-A1CF-4FE7-8932-7304C7420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4963" y="260648"/>
            <a:ext cx="8641356" cy="369332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/>
              <a:t>Insert your headline in Lato Heavy 24 pt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5361" y="2060575"/>
            <a:ext cx="5184377" cy="4032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 hasCustomPrompt="1"/>
          </p:nvPr>
        </p:nvSpPr>
        <p:spPr bwMode="gray">
          <a:xfrm>
            <a:off x="6096000" y="2060575"/>
            <a:ext cx="5184576" cy="4032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91B92600-CCD8-6C0F-E245-455894C86AF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CCE6B127-12BD-3F8A-E35E-27A37EF0079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3624A6AF-4B88-9117-A53C-037A328005E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73EB645-B6DD-53A4-DD88-87498A2645E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4963" y="659362"/>
            <a:ext cx="8641357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15" name="Source">
            <a:extLst>
              <a:ext uri="{FF2B5EF4-FFF2-40B4-BE49-F238E27FC236}">
                <a16:creationId xmlns:a16="http://schemas.microsoft.com/office/drawing/2014/main" id="{ED5EB746-4CB2-38AB-52A7-F1E146355B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487488" y="6525000"/>
            <a:ext cx="9217024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3EA30AF8-76C0-619D-AF54-F34DD5FEBF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68768" y="-171392"/>
            <a:ext cx="12025408" cy="6264688"/>
            <a:chOff x="-168768" y="-171392"/>
            <a:chExt cx="12025408" cy="6264688"/>
          </a:xfrm>
        </p:grpSpPr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6F1CC2C7-E87B-A874-7DC2-5FE495ADE247}"/>
                </a:ext>
              </a:extLst>
            </p:cNvPr>
            <p:cNvCxnSpPr/>
            <p:nvPr userDrawn="1"/>
          </p:nvCxnSpPr>
          <p:spPr bwMode="gray">
            <a:xfrm>
              <a:off x="33536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7EDD5F24-C054-C6B8-AA14-2E318CAC82B1}"/>
                </a:ext>
              </a:extLst>
            </p:cNvPr>
            <p:cNvCxnSpPr/>
            <p:nvPr userDrawn="1"/>
          </p:nvCxnSpPr>
          <p:spPr bwMode="gray">
            <a:xfrm>
              <a:off x="436780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9F8C9611-7CB4-15E8-1854-EB95DD678B93}"/>
                </a:ext>
              </a:extLst>
            </p:cNvPr>
            <p:cNvCxnSpPr/>
            <p:nvPr userDrawn="1"/>
          </p:nvCxnSpPr>
          <p:spPr bwMode="gray">
            <a:xfrm>
              <a:off x="494387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25A4EEA-5593-3902-5A64-40F08F28CF7E}"/>
                </a:ext>
              </a:extLst>
            </p:cNvPr>
            <p:cNvCxnSpPr/>
            <p:nvPr userDrawn="1"/>
          </p:nvCxnSpPr>
          <p:spPr bwMode="gray">
            <a:xfrm>
              <a:off x="667206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638524ED-14FA-F0C4-1F1A-6867194EFC5D}"/>
                </a:ext>
              </a:extLst>
            </p:cNvPr>
            <p:cNvCxnSpPr/>
            <p:nvPr userDrawn="1"/>
          </p:nvCxnSpPr>
          <p:spPr bwMode="gray">
            <a:xfrm>
              <a:off x="609600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A64E366C-0CE7-23B6-7277-327EE0C930A3}"/>
                </a:ext>
              </a:extLst>
            </p:cNvPr>
            <p:cNvCxnSpPr/>
            <p:nvPr userDrawn="1"/>
          </p:nvCxnSpPr>
          <p:spPr bwMode="gray">
            <a:xfrm>
              <a:off x="724812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1A220DFC-AA2F-FD0A-3FD6-0435549BEC94}"/>
                </a:ext>
              </a:extLst>
            </p:cNvPr>
            <p:cNvCxnSpPr/>
            <p:nvPr userDrawn="1"/>
          </p:nvCxnSpPr>
          <p:spPr bwMode="gray">
            <a:xfrm>
              <a:off x="782419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7929152A-10F9-2D98-B945-BB8D8549A470}"/>
                </a:ext>
              </a:extLst>
            </p:cNvPr>
            <p:cNvCxnSpPr/>
            <p:nvPr userDrawn="1"/>
          </p:nvCxnSpPr>
          <p:spPr bwMode="gray">
            <a:xfrm>
              <a:off x="840025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EA3D4F8A-C531-7D21-4850-A1C2BCD99E08}"/>
                </a:ext>
              </a:extLst>
            </p:cNvPr>
            <p:cNvCxnSpPr/>
            <p:nvPr userDrawn="1"/>
          </p:nvCxnSpPr>
          <p:spPr bwMode="gray">
            <a:xfrm>
              <a:off x="897632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>
              <a:extLst>
                <a:ext uri="{FF2B5EF4-FFF2-40B4-BE49-F238E27FC236}">
                  <a16:creationId xmlns:a16="http://schemas.microsoft.com/office/drawing/2014/main" id="{A6BAAC40-A8BC-8D6A-A5F0-13B71878B791}"/>
                </a:ext>
              </a:extLst>
            </p:cNvPr>
            <p:cNvCxnSpPr/>
            <p:nvPr userDrawn="1"/>
          </p:nvCxnSpPr>
          <p:spPr bwMode="gray">
            <a:xfrm>
              <a:off x="1128057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>
              <a:extLst>
                <a:ext uri="{FF2B5EF4-FFF2-40B4-BE49-F238E27FC236}">
                  <a16:creationId xmlns:a16="http://schemas.microsoft.com/office/drawing/2014/main" id="{B3BF4E46-5AE9-64BB-CA3A-F51F9AE311F6}"/>
                </a:ext>
              </a:extLst>
            </p:cNvPr>
            <p:cNvCxnSpPr/>
            <p:nvPr userDrawn="1"/>
          </p:nvCxnSpPr>
          <p:spPr bwMode="gray">
            <a:xfrm>
              <a:off x="1185664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5FB3DE9-5A4E-3F8F-A800-3C691F928402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29665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r Verbinder 58">
              <a:extLst>
                <a:ext uri="{FF2B5EF4-FFF2-40B4-BE49-F238E27FC236}">
                  <a16:creationId xmlns:a16="http://schemas.microsoft.com/office/drawing/2014/main" id="{C0318B30-B0FC-A2B1-B5CC-2840B600ABF3}"/>
                </a:ext>
              </a:extLst>
            </p:cNvPr>
            <p:cNvCxnSpPr/>
            <p:nvPr userDrawn="1"/>
          </p:nvCxnSpPr>
          <p:spPr bwMode="gray">
            <a:xfrm>
              <a:off x="321568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r Verbinder 59">
              <a:extLst>
                <a:ext uri="{FF2B5EF4-FFF2-40B4-BE49-F238E27FC236}">
                  <a16:creationId xmlns:a16="http://schemas.microsoft.com/office/drawing/2014/main" id="{CAA6A961-0EE3-76C6-4438-5283CB4F6162}"/>
                </a:ext>
              </a:extLst>
            </p:cNvPr>
            <p:cNvCxnSpPr/>
            <p:nvPr userDrawn="1"/>
          </p:nvCxnSpPr>
          <p:spPr bwMode="gray">
            <a:xfrm>
              <a:off x="379174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r Verbinder 60">
              <a:extLst>
                <a:ext uri="{FF2B5EF4-FFF2-40B4-BE49-F238E27FC236}">
                  <a16:creationId xmlns:a16="http://schemas.microsoft.com/office/drawing/2014/main" id="{49853041-B649-26A2-1F83-0AE4C69A34A7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04" y="87272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r Verbinder 61">
              <a:extLst>
                <a:ext uri="{FF2B5EF4-FFF2-40B4-BE49-F238E27FC236}">
                  <a16:creationId xmlns:a16="http://schemas.microsoft.com/office/drawing/2014/main" id="{CDFD7C9B-C973-56FD-9C86-6E06D670E298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12" y="202484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>
              <a:extLst>
                <a:ext uri="{FF2B5EF4-FFF2-40B4-BE49-F238E27FC236}">
                  <a16:creationId xmlns:a16="http://schemas.microsoft.com/office/drawing/2014/main" id="{CE0D4CA9-AC5E-3E6C-075D-0B87DE1CA166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68" y="605729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AEA5552C-9752-6AA8-A743-714ADE7C83CD}"/>
                </a:ext>
              </a:extLst>
            </p:cNvPr>
            <p:cNvCxnSpPr/>
            <p:nvPr/>
          </p:nvCxnSpPr>
          <p:spPr bwMode="gray">
            <a:xfrm>
              <a:off x="1070451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r Verbinder 64">
              <a:extLst>
                <a:ext uri="{FF2B5EF4-FFF2-40B4-BE49-F238E27FC236}">
                  <a16:creationId xmlns:a16="http://schemas.microsoft.com/office/drawing/2014/main" id="{3ECC5DDE-E003-5987-69F7-DE137F9F739B}"/>
                </a:ext>
              </a:extLst>
            </p:cNvPr>
            <p:cNvCxnSpPr/>
            <p:nvPr/>
          </p:nvCxnSpPr>
          <p:spPr bwMode="gray">
            <a:xfrm>
              <a:off x="1012844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65">
              <a:extLst>
                <a:ext uri="{FF2B5EF4-FFF2-40B4-BE49-F238E27FC236}">
                  <a16:creationId xmlns:a16="http://schemas.microsoft.com/office/drawing/2014/main" id="{2E36477E-87F8-E248-0C43-8CD95FF75262}"/>
                </a:ext>
              </a:extLst>
            </p:cNvPr>
            <p:cNvCxnSpPr/>
            <p:nvPr/>
          </p:nvCxnSpPr>
          <p:spPr bwMode="gray">
            <a:xfrm>
              <a:off x="955059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0F79262A-8087-C293-2B74-CFA18873FCAC}"/>
                </a:ext>
              </a:extLst>
            </p:cNvPr>
            <p:cNvCxnSpPr/>
            <p:nvPr/>
          </p:nvCxnSpPr>
          <p:spPr bwMode="gray">
            <a:xfrm>
              <a:off x="551973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96F5CEAF-6AA1-B2B9-3DEA-F23C70BBE6E7}"/>
                </a:ext>
              </a:extLst>
            </p:cNvPr>
            <p:cNvCxnSpPr/>
            <p:nvPr/>
          </p:nvCxnSpPr>
          <p:spPr bwMode="gray">
            <a:xfrm>
              <a:off x="263961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D665249E-F311-2C16-6864-9F3F298647D7}"/>
                </a:ext>
              </a:extLst>
            </p:cNvPr>
            <p:cNvCxnSpPr/>
            <p:nvPr/>
          </p:nvCxnSpPr>
          <p:spPr bwMode="gray">
            <a:xfrm>
              <a:off x="206355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7EDE270E-CF62-F619-033E-EC0FE37AA31B}"/>
                </a:ext>
              </a:extLst>
            </p:cNvPr>
            <p:cNvCxnSpPr/>
            <p:nvPr/>
          </p:nvCxnSpPr>
          <p:spPr bwMode="gray">
            <a:xfrm>
              <a:off x="148748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567C2B6C-7504-C3E7-19B3-E30C7BACF93D}"/>
                </a:ext>
              </a:extLst>
            </p:cNvPr>
            <p:cNvCxnSpPr/>
            <p:nvPr/>
          </p:nvCxnSpPr>
          <p:spPr bwMode="gray">
            <a:xfrm>
              <a:off x="91142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C2AE4FF9-68E7-DC9E-518A-D10365AF7ABA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04" y="144878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1ABC8124-5B20-433D-5253-A5D36EACC0A0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260091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082F7B41-E11E-840E-D278-26083FEE2D30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17697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>
              <a:extLst>
                <a:ext uri="{FF2B5EF4-FFF2-40B4-BE49-F238E27FC236}">
                  <a16:creationId xmlns:a16="http://schemas.microsoft.com/office/drawing/2014/main" id="{2D5B425E-2C51-897A-B05B-3ED7AC1CFE82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75304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6C1B69BD-D1F4-B636-3032-7A7CD6BA1E70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32910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>
              <a:extLst>
                <a:ext uri="{FF2B5EF4-FFF2-40B4-BE49-F238E27FC236}">
                  <a16:creationId xmlns:a16="http://schemas.microsoft.com/office/drawing/2014/main" id="{8CC7D0E8-CCB8-A319-3472-20BDDC76F129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90516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C5DB956E-7AA7-C2FA-DF8C-E4664C0AE6DE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548123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22359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2" pos="3840">
          <p15:clr>
            <a:srgbClr val="FBAE40"/>
          </p15:clr>
        </p15:guide>
        <p15:guide id="3" pos="3477">
          <p15:clr>
            <a:srgbClr val="FBAE40"/>
          </p15:clr>
        </p15:guide>
        <p15:guide id="4" pos="7106">
          <p15:clr>
            <a:srgbClr val="FBAE40"/>
          </p15:clr>
        </p15:guide>
        <p15:guide id="5" pos="211">
          <p15:clr>
            <a:srgbClr val="FBAE40"/>
          </p15:clr>
        </p15:guide>
        <p15:guide id="6" orient="horz" pos="3838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07D111E-23B7-541C-9D65-C8D089A08B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2815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07D111E-23B7-541C-9D65-C8D089A08B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FCA3E486-0EBD-4776-BA1F-112C5185C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4964" y="260648"/>
            <a:ext cx="8641356" cy="369332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/>
              <a:t>Insert your headline in Lato Heavy 24 pt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5360" y="2060575"/>
            <a:ext cx="3457178" cy="4032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 hasCustomPrompt="1"/>
          </p:nvPr>
        </p:nvSpPr>
        <p:spPr bwMode="gray">
          <a:xfrm>
            <a:off x="4367808" y="2060575"/>
            <a:ext cx="2880718" cy="4032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824788" y="2060575"/>
            <a:ext cx="3455788" cy="4032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6C65ABD8-F666-3999-4C21-FD0A3049BA5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C53C75CD-95C2-2EC4-EC09-F012A05E739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889EDFFE-E0F6-2D3F-85A8-0FA232405D9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71AD5ED9-90D9-10DF-D233-D788A0166231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4964" y="659362"/>
            <a:ext cx="8641356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16" name="Source">
            <a:extLst>
              <a:ext uri="{FF2B5EF4-FFF2-40B4-BE49-F238E27FC236}">
                <a16:creationId xmlns:a16="http://schemas.microsoft.com/office/drawing/2014/main" id="{367AEFE2-233C-21C0-1B62-85303634B08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487488" y="6525000"/>
            <a:ext cx="9217024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400F2B7E-3D87-28A0-8FFE-1F67F80FBA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68768" y="-171392"/>
            <a:ext cx="12025408" cy="6264688"/>
            <a:chOff x="-168768" y="-171392"/>
            <a:chExt cx="12025408" cy="6264688"/>
          </a:xfrm>
        </p:grpSpPr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2FAFA71-8D3C-C386-C959-8E5415A1465E}"/>
                </a:ext>
              </a:extLst>
            </p:cNvPr>
            <p:cNvCxnSpPr/>
            <p:nvPr userDrawn="1"/>
          </p:nvCxnSpPr>
          <p:spPr bwMode="gray">
            <a:xfrm>
              <a:off x="33536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B7AF13A1-B934-7E0A-FB22-6F0CCBBE23C5}"/>
                </a:ext>
              </a:extLst>
            </p:cNvPr>
            <p:cNvCxnSpPr/>
            <p:nvPr userDrawn="1"/>
          </p:nvCxnSpPr>
          <p:spPr bwMode="gray">
            <a:xfrm>
              <a:off x="436780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C2B9BBCD-F58D-29C0-3CCB-BEB161B15264}"/>
                </a:ext>
              </a:extLst>
            </p:cNvPr>
            <p:cNvCxnSpPr/>
            <p:nvPr userDrawn="1"/>
          </p:nvCxnSpPr>
          <p:spPr bwMode="gray">
            <a:xfrm>
              <a:off x="494387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3B6088BA-FFD6-6450-98CA-C3A0C027D36B}"/>
                </a:ext>
              </a:extLst>
            </p:cNvPr>
            <p:cNvCxnSpPr/>
            <p:nvPr userDrawn="1"/>
          </p:nvCxnSpPr>
          <p:spPr bwMode="gray">
            <a:xfrm>
              <a:off x="667206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B1EE70BD-45D0-8AA5-0703-7D91AA0F6461}"/>
                </a:ext>
              </a:extLst>
            </p:cNvPr>
            <p:cNvCxnSpPr/>
            <p:nvPr userDrawn="1"/>
          </p:nvCxnSpPr>
          <p:spPr bwMode="gray">
            <a:xfrm>
              <a:off x="609600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F24876B0-50CD-65F6-DB94-744AF9984068}"/>
                </a:ext>
              </a:extLst>
            </p:cNvPr>
            <p:cNvCxnSpPr/>
            <p:nvPr userDrawn="1"/>
          </p:nvCxnSpPr>
          <p:spPr bwMode="gray">
            <a:xfrm>
              <a:off x="724812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D1796033-1FEA-0FD7-7BEC-9F31FD8AE8D7}"/>
                </a:ext>
              </a:extLst>
            </p:cNvPr>
            <p:cNvCxnSpPr/>
            <p:nvPr userDrawn="1"/>
          </p:nvCxnSpPr>
          <p:spPr bwMode="gray">
            <a:xfrm>
              <a:off x="782419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A2856F5B-08F7-EF47-E65C-DE99FFF8C8DB}"/>
                </a:ext>
              </a:extLst>
            </p:cNvPr>
            <p:cNvCxnSpPr/>
            <p:nvPr userDrawn="1"/>
          </p:nvCxnSpPr>
          <p:spPr bwMode="gray">
            <a:xfrm>
              <a:off x="840025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>
              <a:extLst>
                <a:ext uri="{FF2B5EF4-FFF2-40B4-BE49-F238E27FC236}">
                  <a16:creationId xmlns:a16="http://schemas.microsoft.com/office/drawing/2014/main" id="{E112B942-B6F8-3896-35F0-BA832BF78F57}"/>
                </a:ext>
              </a:extLst>
            </p:cNvPr>
            <p:cNvCxnSpPr/>
            <p:nvPr userDrawn="1"/>
          </p:nvCxnSpPr>
          <p:spPr bwMode="gray">
            <a:xfrm>
              <a:off x="897632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>
              <a:extLst>
                <a:ext uri="{FF2B5EF4-FFF2-40B4-BE49-F238E27FC236}">
                  <a16:creationId xmlns:a16="http://schemas.microsoft.com/office/drawing/2014/main" id="{55102377-8FC3-FD4D-6BBA-959CA0A67F99}"/>
                </a:ext>
              </a:extLst>
            </p:cNvPr>
            <p:cNvCxnSpPr/>
            <p:nvPr userDrawn="1"/>
          </p:nvCxnSpPr>
          <p:spPr bwMode="gray">
            <a:xfrm>
              <a:off x="1128057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6BEB9048-7165-5141-9269-3605571B104F}"/>
                </a:ext>
              </a:extLst>
            </p:cNvPr>
            <p:cNvCxnSpPr/>
            <p:nvPr userDrawn="1"/>
          </p:nvCxnSpPr>
          <p:spPr bwMode="gray">
            <a:xfrm>
              <a:off x="1185664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D2EB1DF1-6737-3886-8C4D-7A0975DC83AC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29665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r Verbinder 59">
              <a:extLst>
                <a:ext uri="{FF2B5EF4-FFF2-40B4-BE49-F238E27FC236}">
                  <a16:creationId xmlns:a16="http://schemas.microsoft.com/office/drawing/2014/main" id="{6F528441-A94E-6CA5-4448-D5DF5BD11ED2}"/>
                </a:ext>
              </a:extLst>
            </p:cNvPr>
            <p:cNvCxnSpPr/>
            <p:nvPr userDrawn="1"/>
          </p:nvCxnSpPr>
          <p:spPr bwMode="gray">
            <a:xfrm>
              <a:off x="321568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r Verbinder 60">
              <a:extLst>
                <a:ext uri="{FF2B5EF4-FFF2-40B4-BE49-F238E27FC236}">
                  <a16:creationId xmlns:a16="http://schemas.microsoft.com/office/drawing/2014/main" id="{591C62AB-C43A-6535-9A5F-DFA61F4C4FF0}"/>
                </a:ext>
              </a:extLst>
            </p:cNvPr>
            <p:cNvCxnSpPr/>
            <p:nvPr userDrawn="1"/>
          </p:nvCxnSpPr>
          <p:spPr bwMode="gray">
            <a:xfrm>
              <a:off x="379174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r Verbinder 61">
              <a:extLst>
                <a:ext uri="{FF2B5EF4-FFF2-40B4-BE49-F238E27FC236}">
                  <a16:creationId xmlns:a16="http://schemas.microsoft.com/office/drawing/2014/main" id="{019BA989-2B7C-28A6-B146-86BE4A252440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04" y="87272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>
              <a:extLst>
                <a:ext uri="{FF2B5EF4-FFF2-40B4-BE49-F238E27FC236}">
                  <a16:creationId xmlns:a16="http://schemas.microsoft.com/office/drawing/2014/main" id="{B47F8628-D01B-D44B-F49B-EC1A54D4F538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12" y="202484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0E7DCE4C-E526-10AC-4550-5698C799A1FF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68" y="605729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r Verbinder 64">
              <a:extLst>
                <a:ext uri="{FF2B5EF4-FFF2-40B4-BE49-F238E27FC236}">
                  <a16:creationId xmlns:a16="http://schemas.microsoft.com/office/drawing/2014/main" id="{005D1716-7523-A211-3A86-52BC412B03BC}"/>
                </a:ext>
              </a:extLst>
            </p:cNvPr>
            <p:cNvCxnSpPr/>
            <p:nvPr/>
          </p:nvCxnSpPr>
          <p:spPr bwMode="gray">
            <a:xfrm>
              <a:off x="1070451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65">
              <a:extLst>
                <a:ext uri="{FF2B5EF4-FFF2-40B4-BE49-F238E27FC236}">
                  <a16:creationId xmlns:a16="http://schemas.microsoft.com/office/drawing/2014/main" id="{A090F883-284A-A1FA-A371-A3B0CFDF02DF}"/>
                </a:ext>
              </a:extLst>
            </p:cNvPr>
            <p:cNvCxnSpPr/>
            <p:nvPr/>
          </p:nvCxnSpPr>
          <p:spPr bwMode="gray">
            <a:xfrm>
              <a:off x="1012844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D10080B8-FB72-5CFE-59C7-E818537AD588}"/>
                </a:ext>
              </a:extLst>
            </p:cNvPr>
            <p:cNvCxnSpPr/>
            <p:nvPr/>
          </p:nvCxnSpPr>
          <p:spPr bwMode="gray">
            <a:xfrm>
              <a:off x="955059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A688F6E2-9505-8E15-6112-734A39E38382}"/>
                </a:ext>
              </a:extLst>
            </p:cNvPr>
            <p:cNvCxnSpPr/>
            <p:nvPr/>
          </p:nvCxnSpPr>
          <p:spPr bwMode="gray">
            <a:xfrm>
              <a:off x="551973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FEAB76A1-A836-FD47-BE6A-81E9D2E223EA}"/>
                </a:ext>
              </a:extLst>
            </p:cNvPr>
            <p:cNvCxnSpPr/>
            <p:nvPr/>
          </p:nvCxnSpPr>
          <p:spPr bwMode="gray">
            <a:xfrm>
              <a:off x="263961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6A572E40-4385-864F-846F-E63AA108CABB}"/>
                </a:ext>
              </a:extLst>
            </p:cNvPr>
            <p:cNvCxnSpPr/>
            <p:nvPr/>
          </p:nvCxnSpPr>
          <p:spPr bwMode="gray">
            <a:xfrm>
              <a:off x="206355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AD7A9D94-F381-A3A0-5DB7-76529EDDEF94}"/>
                </a:ext>
              </a:extLst>
            </p:cNvPr>
            <p:cNvCxnSpPr/>
            <p:nvPr/>
          </p:nvCxnSpPr>
          <p:spPr bwMode="gray">
            <a:xfrm>
              <a:off x="148748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0EFAABAA-A7C5-BA99-37FA-419F7B190BB8}"/>
                </a:ext>
              </a:extLst>
            </p:cNvPr>
            <p:cNvCxnSpPr/>
            <p:nvPr/>
          </p:nvCxnSpPr>
          <p:spPr bwMode="gray">
            <a:xfrm>
              <a:off x="91142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0D9A44D8-D0D4-8645-0E50-C99E3C71E77F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04" y="144878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A7B68266-0922-DECC-402C-27028C6ACB7A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260091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>
              <a:extLst>
                <a:ext uri="{FF2B5EF4-FFF2-40B4-BE49-F238E27FC236}">
                  <a16:creationId xmlns:a16="http://schemas.microsoft.com/office/drawing/2014/main" id="{191BD6F6-CCAB-2DD8-ABFB-FFF62359B192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17697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8550DCC7-EB68-84EF-258E-9F7A644C2188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75304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>
              <a:extLst>
                <a:ext uri="{FF2B5EF4-FFF2-40B4-BE49-F238E27FC236}">
                  <a16:creationId xmlns:a16="http://schemas.microsoft.com/office/drawing/2014/main" id="{091A51C9-73F1-A3B5-F344-7B339BB63628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32910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C72D2CDB-908E-AAFD-5068-27AEC183716D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90516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r Verbinder 78">
              <a:extLst>
                <a:ext uri="{FF2B5EF4-FFF2-40B4-BE49-F238E27FC236}">
                  <a16:creationId xmlns:a16="http://schemas.microsoft.com/office/drawing/2014/main" id="{FC87338C-0FDD-C736-9E5A-A9D18947A1C7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548123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0366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2" pos="211">
          <p15:clr>
            <a:srgbClr val="FBAE40"/>
          </p15:clr>
        </p15:guide>
        <p15:guide id="3" pos="2751">
          <p15:clr>
            <a:srgbClr val="FBAE40"/>
          </p15:clr>
        </p15:guide>
        <p15:guide id="4" pos="2389">
          <p15:clr>
            <a:srgbClr val="FBAE40"/>
          </p15:clr>
        </p15:guide>
        <p15:guide id="5" pos="4929">
          <p15:clr>
            <a:srgbClr val="FBAE40"/>
          </p15:clr>
        </p15:guide>
        <p15:guide id="6" pos="4566">
          <p15:clr>
            <a:srgbClr val="FBAE40"/>
          </p15:clr>
        </p15:guide>
        <p15:guide id="7" pos="7106">
          <p15:clr>
            <a:srgbClr val="FBAE40"/>
          </p15:clr>
        </p15:guide>
        <p15:guide id="8" orient="horz" pos="3838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EDBD237-BF26-B35D-B02F-34D297AD12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51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EDBD237-BF26-B35D-B02F-34D297AD12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9C3F806D-AD62-4FAF-ACF7-4E654593A0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4963" y="260648"/>
            <a:ext cx="8641356" cy="369332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5361" y="2060575"/>
            <a:ext cx="2304256" cy="4032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 hasCustomPrompt="1"/>
          </p:nvPr>
        </p:nvSpPr>
        <p:spPr bwMode="gray">
          <a:xfrm>
            <a:off x="3216275" y="2060574"/>
            <a:ext cx="2303661" cy="40322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096000" y="2060575"/>
            <a:ext cx="2305050" cy="4032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76320" y="2060574"/>
            <a:ext cx="2304256" cy="40322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71F9881-B4F2-B919-75EC-B222CF2711B7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2608C76-DD0A-7C21-5866-98DC6AF24C6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DD338933-1468-589D-BB08-93CCF0A68962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59260706-81E2-8B4C-B7CD-AE82FD78AA8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4963" y="659362"/>
            <a:ext cx="8641356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16" name="Source">
            <a:extLst>
              <a:ext uri="{FF2B5EF4-FFF2-40B4-BE49-F238E27FC236}">
                <a16:creationId xmlns:a16="http://schemas.microsoft.com/office/drawing/2014/main" id="{FF968B1A-5C81-1360-BAAA-92B0227CD89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487488" y="6525000"/>
            <a:ext cx="9217024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22D08356-0189-9700-81C6-B76DC94250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68768" y="-171392"/>
            <a:ext cx="12025408" cy="6264688"/>
            <a:chOff x="-168768" y="-171392"/>
            <a:chExt cx="12025408" cy="6264688"/>
          </a:xfrm>
        </p:grpSpPr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06111D5B-FDEC-6711-CF72-B83787F6F9FF}"/>
                </a:ext>
              </a:extLst>
            </p:cNvPr>
            <p:cNvCxnSpPr/>
            <p:nvPr userDrawn="1"/>
          </p:nvCxnSpPr>
          <p:spPr bwMode="gray">
            <a:xfrm>
              <a:off x="33536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5B4A3BBC-9CB8-1DB6-7C62-D69F21507C34}"/>
                </a:ext>
              </a:extLst>
            </p:cNvPr>
            <p:cNvCxnSpPr/>
            <p:nvPr userDrawn="1"/>
          </p:nvCxnSpPr>
          <p:spPr bwMode="gray">
            <a:xfrm>
              <a:off x="436780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5C4D8F32-7F45-42FC-CCB5-9B8D87607A92}"/>
                </a:ext>
              </a:extLst>
            </p:cNvPr>
            <p:cNvCxnSpPr/>
            <p:nvPr userDrawn="1"/>
          </p:nvCxnSpPr>
          <p:spPr bwMode="gray">
            <a:xfrm>
              <a:off x="494387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B6EEEA9B-9BA2-2A72-4D17-83289DE406C9}"/>
                </a:ext>
              </a:extLst>
            </p:cNvPr>
            <p:cNvCxnSpPr/>
            <p:nvPr userDrawn="1"/>
          </p:nvCxnSpPr>
          <p:spPr bwMode="gray">
            <a:xfrm>
              <a:off x="667206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AA776B47-3D2F-E43F-CFAD-B07E230D659E}"/>
                </a:ext>
              </a:extLst>
            </p:cNvPr>
            <p:cNvCxnSpPr/>
            <p:nvPr userDrawn="1"/>
          </p:nvCxnSpPr>
          <p:spPr bwMode="gray">
            <a:xfrm>
              <a:off x="609600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088179A1-274F-0E47-5592-DD3A2337AC1D}"/>
                </a:ext>
              </a:extLst>
            </p:cNvPr>
            <p:cNvCxnSpPr/>
            <p:nvPr userDrawn="1"/>
          </p:nvCxnSpPr>
          <p:spPr bwMode="gray">
            <a:xfrm>
              <a:off x="724812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ADFCE44C-3246-39BF-2520-F2DF8EBA5E1F}"/>
                </a:ext>
              </a:extLst>
            </p:cNvPr>
            <p:cNvCxnSpPr/>
            <p:nvPr userDrawn="1"/>
          </p:nvCxnSpPr>
          <p:spPr bwMode="gray">
            <a:xfrm>
              <a:off x="782419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>
              <a:extLst>
                <a:ext uri="{FF2B5EF4-FFF2-40B4-BE49-F238E27FC236}">
                  <a16:creationId xmlns:a16="http://schemas.microsoft.com/office/drawing/2014/main" id="{7EDD431C-B429-7554-4747-A974EA5BE6D6}"/>
                </a:ext>
              </a:extLst>
            </p:cNvPr>
            <p:cNvCxnSpPr/>
            <p:nvPr userDrawn="1"/>
          </p:nvCxnSpPr>
          <p:spPr bwMode="gray">
            <a:xfrm>
              <a:off x="840025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>
              <a:extLst>
                <a:ext uri="{FF2B5EF4-FFF2-40B4-BE49-F238E27FC236}">
                  <a16:creationId xmlns:a16="http://schemas.microsoft.com/office/drawing/2014/main" id="{698D05BC-6E2D-0975-FDE5-DC500A90649C}"/>
                </a:ext>
              </a:extLst>
            </p:cNvPr>
            <p:cNvCxnSpPr/>
            <p:nvPr userDrawn="1"/>
          </p:nvCxnSpPr>
          <p:spPr bwMode="gray">
            <a:xfrm>
              <a:off x="897632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6147E9BD-D4C2-A27F-0484-FE2A82957E75}"/>
                </a:ext>
              </a:extLst>
            </p:cNvPr>
            <p:cNvCxnSpPr/>
            <p:nvPr userDrawn="1"/>
          </p:nvCxnSpPr>
          <p:spPr bwMode="gray">
            <a:xfrm>
              <a:off x="1128057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B2B03DE4-AA76-71C6-3BE7-D2B9BA8198D8}"/>
                </a:ext>
              </a:extLst>
            </p:cNvPr>
            <p:cNvCxnSpPr/>
            <p:nvPr userDrawn="1"/>
          </p:nvCxnSpPr>
          <p:spPr bwMode="gray">
            <a:xfrm>
              <a:off x="1185664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5AE8E7A3-B11D-8559-B96E-04FF4DF23207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29665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r Verbinder 60">
              <a:extLst>
                <a:ext uri="{FF2B5EF4-FFF2-40B4-BE49-F238E27FC236}">
                  <a16:creationId xmlns:a16="http://schemas.microsoft.com/office/drawing/2014/main" id="{8FABDBCB-8EE3-75C9-E2E3-09F7A4CB1944}"/>
                </a:ext>
              </a:extLst>
            </p:cNvPr>
            <p:cNvCxnSpPr/>
            <p:nvPr userDrawn="1"/>
          </p:nvCxnSpPr>
          <p:spPr bwMode="gray">
            <a:xfrm>
              <a:off x="321568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r Verbinder 61">
              <a:extLst>
                <a:ext uri="{FF2B5EF4-FFF2-40B4-BE49-F238E27FC236}">
                  <a16:creationId xmlns:a16="http://schemas.microsoft.com/office/drawing/2014/main" id="{A63185A0-E688-353A-C5B1-EC199D2E1A5B}"/>
                </a:ext>
              </a:extLst>
            </p:cNvPr>
            <p:cNvCxnSpPr/>
            <p:nvPr userDrawn="1"/>
          </p:nvCxnSpPr>
          <p:spPr bwMode="gray">
            <a:xfrm>
              <a:off x="379174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>
              <a:extLst>
                <a:ext uri="{FF2B5EF4-FFF2-40B4-BE49-F238E27FC236}">
                  <a16:creationId xmlns:a16="http://schemas.microsoft.com/office/drawing/2014/main" id="{EC124EE3-B0EA-097E-279A-A8A6658FBEF7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04" y="87272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A1EB4E19-6D26-0D72-7B19-A16682E79DFD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12" y="202484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r Verbinder 64">
              <a:extLst>
                <a:ext uri="{FF2B5EF4-FFF2-40B4-BE49-F238E27FC236}">
                  <a16:creationId xmlns:a16="http://schemas.microsoft.com/office/drawing/2014/main" id="{F5DD5920-CDFD-D2A9-42BD-A902E1A58ED8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68" y="605729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65">
              <a:extLst>
                <a:ext uri="{FF2B5EF4-FFF2-40B4-BE49-F238E27FC236}">
                  <a16:creationId xmlns:a16="http://schemas.microsoft.com/office/drawing/2014/main" id="{87497A16-B255-0CC9-8B45-ED7B59DD4C16}"/>
                </a:ext>
              </a:extLst>
            </p:cNvPr>
            <p:cNvCxnSpPr/>
            <p:nvPr/>
          </p:nvCxnSpPr>
          <p:spPr bwMode="gray">
            <a:xfrm>
              <a:off x="1070451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0C46F5D5-DC5A-9804-A88A-8A8A007E6A2D}"/>
                </a:ext>
              </a:extLst>
            </p:cNvPr>
            <p:cNvCxnSpPr/>
            <p:nvPr/>
          </p:nvCxnSpPr>
          <p:spPr bwMode="gray">
            <a:xfrm>
              <a:off x="1012844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8954746E-A111-54A4-2542-450AA2D29CD1}"/>
                </a:ext>
              </a:extLst>
            </p:cNvPr>
            <p:cNvCxnSpPr/>
            <p:nvPr/>
          </p:nvCxnSpPr>
          <p:spPr bwMode="gray">
            <a:xfrm>
              <a:off x="955059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69895237-3656-1587-BDA9-B5078EE3E1C9}"/>
                </a:ext>
              </a:extLst>
            </p:cNvPr>
            <p:cNvCxnSpPr/>
            <p:nvPr/>
          </p:nvCxnSpPr>
          <p:spPr bwMode="gray">
            <a:xfrm>
              <a:off x="551973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2BF7F29B-17EF-B570-F4BD-8D7BE4BD6B7C}"/>
                </a:ext>
              </a:extLst>
            </p:cNvPr>
            <p:cNvCxnSpPr/>
            <p:nvPr/>
          </p:nvCxnSpPr>
          <p:spPr bwMode="gray">
            <a:xfrm>
              <a:off x="263961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A1C2385A-AA97-C958-8D83-C096610DF182}"/>
                </a:ext>
              </a:extLst>
            </p:cNvPr>
            <p:cNvCxnSpPr/>
            <p:nvPr/>
          </p:nvCxnSpPr>
          <p:spPr bwMode="gray">
            <a:xfrm>
              <a:off x="206355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5B09DED9-BBBA-14B4-8996-B1E001CBCDBF}"/>
                </a:ext>
              </a:extLst>
            </p:cNvPr>
            <p:cNvCxnSpPr/>
            <p:nvPr/>
          </p:nvCxnSpPr>
          <p:spPr bwMode="gray">
            <a:xfrm>
              <a:off x="148748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4A305B1D-11D4-7097-D274-BD3443DD0881}"/>
                </a:ext>
              </a:extLst>
            </p:cNvPr>
            <p:cNvCxnSpPr/>
            <p:nvPr/>
          </p:nvCxnSpPr>
          <p:spPr bwMode="gray">
            <a:xfrm>
              <a:off x="91142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0D67F132-7241-C056-4E19-81832A53CCB9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04" y="144878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>
              <a:extLst>
                <a:ext uri="{FF2B5EF4-FFF2-40B4-BE49-F238E27FC236}">
                  <a16:creationId xmlns:a16="http://schemas.microsoft.com/office/drawing/2014/main" id="{74444075-2A1B-6F2D-9999-3CD728FD8344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260091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38AF0493-F360-E973-DE4C-7032DB9E7DA3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17697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>
              <a:extLst>
                <a:ext uri="{FF2B5EF4-FFF2-40B4-BE49-F238E27FC236}">
                  <a16:creationId xmlns:a16="http://schemas.microsoft.com/office/drawing/2014/main" id="{12ABCCAF-2E5D-F062-5398-1FED7D229303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75304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9C4900D2-9EAE-3562-03D0-BF62A1A23438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32910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r Verbinder 78">
              <a:extLst>
                <a:ext uri="{FF2B5EF4-FFF2-40B4-BE49-F238E27FC236}">
                  <a16:creationId xmlns:a16="http://schemas.microsoft.com/office/drawing/2014/main" id="{D8999707-5A98-CB22-436A-E26841ADC731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90516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r Verbinder 79">
              <a:extLst>
                <a:ext uri="{FF2B5EF4-FFF2-40B4-BE49-F238E27FC236}">
                  <a16:creationId xmlns:a16="http://schemas.microsoft.com/office/drawing/2014/main" id="{5CA9856D-1B55-F200-153C-F13BC99077BC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548123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12535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2" pos="211">
          <p15:clr>
            <a:srgbClr val="FBAE40"/>
          </p15:clr>
        </p15:guide>
        <p15:guide id="3" pos="7106">
          <p15:clr>
            <a:srgbClr val="FBAE40"/>
          </p15:clr>
        </p15:guide>
        <p15:guide id="4" orient="horz" pos="3838">
          <p15:clr>
            <a:srgbClr val="FBAE40"/>
          </p15:clr>
        </p15:guide>
        <p15:guide id="5" pos="1663">
          <p15:clr>
            <a:srgbClr val="FBAE40"/>
          </p15:clr>
        </p15:guide>
        <p15:guide id="6" pos="2026">
          <p15:clr>
            <a:srgbClr val="FBAE40"/>
          </p15:clr>
        </p15:guide>
        <p15:guide id="7" pos="3477">
          <p15:clr>
            <a:srgbClr val="FBAE40"/>
          </p15:clr>
        </p15:guide>
        <p15:guide id="8" pos="3840">
          <p15:clr>
            <a:srgbClr val="FBAE40"/>
          </p15:clr>
        </p15:guide>
        <p15:guide id="9" pos="5292">
          <p15:clr>
            <a:srgbClr val="FBAE40"/>
          </p15:clr>
        </p15:guide>
        <p15:guide id="10" pos="5654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6B6EE8C-9C7E-C3EB-D23F-E11776632A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002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6B6EE8C-9C7E-C3EB-D23F-E11776632A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456C613C-8B12-41CF-B6EE-ED0A598357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4964" y="260648"/>
            <a:ext cx="8641356" cy="369332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/>
              <a:t>Insert your headline in Lato Heavy 24 pt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34963" y="1484313"/>
            <a:ext cx="5184973" cy="2016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 hasCustomPrompt="1"/>
          </p:nvPr>
        </p:nvSpPr>
        <p:spPr bwMode="gray">
          <a:xfrm>
            <a:off x="6095999" y="1484313"/>
            <a:ext cx="5184775" cy="2016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334963" y="4076700"/>
            <a:ext cx="5184973" cy="201612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096001" y="4076700"/>
            <a:ext cx="5184774" cy="201612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sz="1600"/>
              <a:t>Insert your copy in </a:t>
            </a:r>
            <a:r>
              <a:rPr lang="en-GB" sz="1600" err="1"/>
              <a:t>Lato</a:t>
            </a:r>
            <a:r>
              <a:rPr lang="en-GB" sz="1600"/>
              <a:t> 16 </a:t>
            </a:r>
            <a:r>
              <a:rPr lang="en-GB" sz="1600" err="1"/>
              <a:t>pt</a:t>
            </a:r>
            <a:r>
              <a:rPr lang="en-GB" sz="1600"/>
              <a:t> or 12 </a:t>
            </a:r>
            <a:r>
              <a:rPr lang="en-GB" sz="1600" err="1"/>
              <a:t>pt</a:t>
            </a:r>
            <a:r>
              <a:rPr lang="en-GB" sz="1600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F6B2AAE-D094-73E8-4D53-C60D514A62B8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7CB466B6-EFA4-0F02-91FA-99AA39DF7F51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B114B1D7-C76F-D40A-7288-BFA65760CF35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83574211-7867-2B18-CF97-19A949A2998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4567" y="659362"/>
            <a:ext cx="8641754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17" name="Source">
            <a:extLst>
              <a:ext uri="{FF2B5EF4-FFF2-40B4-BE49-F238E27FC236}">
                <a16:creationId xmlns:a16="http://schemas.microsoft.com/office/drawing/2014/main" id="{C71CE357-91D8-29A7-5B6E-96E913AD83A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487488" y="6525000"/>
            <a:ext cx="9217024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/>
              <a:t>Source, Footnote</a:t>
            </a:r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DE3E7145-8CE4-6C7A-BAB2-5555162835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68768" y="-171392"/>
            <a:ext cx="12025408" cy="6264688"/>
            <a:chOff x="-168768" y="-171392"/>
            <a:chExt cx="12025408" cy="6264688"/>
          </a:xfrm>
        </p:grpSpPr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8722BB44-B26A-FCD7-9CD5-D7B83A34C530}"/>
                </a:ext>
              </a:extLst>
            </p:cNvPr>
            <p:cNvCxnSpPr/>
            <p:nvPr userDrawn="1"/>
          </p:nvCxnSpPr>
          <p:spPr bwMode="gray">
            <a:xfrm>
              <a:off x="33536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274FA5F-19D1-88D3-8180-26A989F6EE4A}"/>
                </a:ext>
              </a:extLst>
            </p:cNvPr>
            <p:cNvCxnSpPr/>
            <p:nvPr userDrawn="1"/>
          </p:nvCxnSpPr>
          <p:spPr bwMode="gray">
            <a:xfrm>
              <a:off x="436780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081381DE-0CFA-25A7-8B9C-DFF78AB1BC73}"/>
                </a:ext>
              </a:extLst>
            </p:cNvPr>
            <p:cNvCxnSpPr/>
            <p:nvPr userDrawn="1"/>
          </p:nvCxnSpPr>
          <p:spPr bwMode="gray">
            <a:xfrm>
              <a:off x="494387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50A1D8E2-D593-DEFE-6124-7A7CFC8F309E}"/>
                </a:ext>
              </a:extLst>
            </p:cNvPr>
            <p:cNvCxnSpPr/>
            <p:nvPr userDrawn="1"/>
          </p:nvCxnSpPr>
          <p:spPr bwMode="gray">
            <a:xfrm>
              <a:off x="667206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9D1B179D-AA67-953E-5D65-9F86F6D37BB1}"/>
                </a:ext>
              </a:extLst>
            </p:cNvPr>
            <p:cNvCxnSpPr/>
            <p:nvPr userDrawn="1"/>
          </p:nvCxnSpPr>
          <p:spPr bwMode="gray">
            <a:xfrm>
              <a:off x="609600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B5B3B855-40EA-E87D-8359-95275AD0F665}"/>
                </a:ext>
              </a:extLst>
            </p:cNvPr>
            <p:cNvCxnSpPr/>
            <p:nvPr userDrawn="1"/>
          </p:nvCxnSpPr>
          <p:spPr bwMode="gray">
            <a:xfrm>
              <a:off x="724812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3C4BC48E-47CA-861D-43DA-9826036776F0}"/>
                </a:ext>
              </a:extLst>
            </p:cNvPr>
            <p:cNvCxnSpPr/>
            <p:nvPr userDrawn="1"/>
          </p:nvCxnSpPr>
          <p:spPr bwMode="gray">
            <a:xfrm>
              <a:off x="782419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>
              <a:extLst>
                <a:ext uri="{FF2B5EF4-FFF2-40B4-BE49-F238E27FC236}">
                  <a16:creationId xmlns:a16="http://schemas.microsoft.com/office/drawing/2014/main" id="{9D187F4C-D0AD-BAE4-559B-243ED0B90D97}"/>
                </a:ext>
              </a:extLst>
            </p:cNvPr>
            <p:cNvCxnSpPr/>
            <p:nvPr userDrawn="1"/>
          </p:nvCxnSpPr>
          <p:spPr bwMode="gray">
            <a:xfrm>
              <a:off x="840025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>
              <a:extLst>
                <a:ext uri="{FF2B5EF4-FFF2-40B4-BE49-F238E27FC236}">
                  <a16:creationId xmlns:a16="http://schemas.microsoft.com/office/drawing/2014/main" id="{1219BFD9-1AE1-DCA3-E0DA-39FDB4FF5E7E}"/>
                </a:ext>
              </a:extLst>
            </p:cNvPr>
            <p:cNvCxnSpPr/>
            <p:nvPr userDrawn="1"/>
          </p:nvCxnSpPr>
          <p:spPr bwMode="gray">
            <a:xfrm>
              <a:off x="897632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34738D49-6BA7-0E1B-1FEF-BEC89C30C0E9}"/>
                </a:ext>
              </a:extLst>
            </p:cNvPr>
            <p:cNvCxnSpPr/>
            <p:nvPr userDrawn="1"/>
          </p:nvCxnSpPr>
          <p:spPr bwMode="gray">
            <a:xfrm>
              <a:off x="1128057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2D21C898-31DC-917F-4616-32A4BBA2CE6A}"/>
                </a:ext>
              </a:extLst>
            </p:cNvPr>
            <p:cNvCxnSpPr/>
            <p:nvPr userDrawn="1"/>
          </p:nvCxnSpPr>
          <p:spPr bwMode="gray">
            <a:xfrm>
              <a:off x="1185664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20C38E29-7BAD-70D1-2656-03139329223E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29665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87E9EDAC-494D-83CC-6189-0974B41913C8}"/>
                </a:ext>
              </a:extLst>
            </p:cNvPr>
            <p:cNvCxnSpPr/>
            <p:nvPr userDrawn="1"/>
          </p:nvCxnSpPr>
          <p:spPr bwMode="gray">
            <a:xfrm>
              <a:off x="321568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r Verbinder 61">
              <a:extLst>
                <a:ext uri="{FF2B5EF4-FFF2-40B4-BE49-F238E27FC236}">
                  <a16:creationId xmlns:a16="http://schemas.microsoft.com/office/drawing/2014/main" id="{1E9289ED-DE06-CCA5-8271-D3A3397A6D9F}"/>
                </a:ext>
              </a:extLst>
            </p:cNvPr>
            <p:cNvCxnSpPr/>
            <p:nvPr userDrawn="1"/>
          </p:nvCxnSpPr>
          <p:spPr bwMode="gray">
            <a:xfrm>
              <a:off x="379174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>
              <a:extLst>
                <a:ext uri="{FF2B5EF4-FFF2-40B4-BE49-F238E27FC236}">
                  <a16:creationId xmlns:a16="http://schemas.microsoft.com/office/drawing/2014/main" id="{B73F58D2-47B6-79BD-F97B-EF75FD57AEA4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04" y="87272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611D87C8-4CE6-28EC-AA5F-8921544A35B1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12" y="202484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r Verbinder 64">
              <a:extLst>
                <a:ext uri="{FF2B5EF4-FFF2-40B4-BE49-F238E27FC236}">
                  <a16:creationId xmlns:a16="http://schemas.microsoft.com/office/drawing/2014/main" id="{E22FA51D-795E-18E5-9492-36859D75A8D9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68" y="605729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65">
              <a:extLst>
                <a:ext uri="{FF2B5EF4-FFF2-40B4-BE49-F238E27FC236}">
                  <a16:creationId xmlns:a16="http://schemas.microsoft.com/office/drawing/2014/main" id="{A7BED37D-B946-BE10-433C-90A9A98AA57B}"/>
                </a:ext>
              </a:extLst>
            </p:cNvPr>
            <p:cNvCxnSpPr/>
            <p:nvPr/>
          </p:nvCxnSpPr>
          <p:spPr bwMode="gray">
            <a:xfrm>
              <a:off x="1070451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3E3370BE-7364-FF14-49BD-34D78C8DEFC3}"/>
                </a:ext>
              </a:extLst>
            </p:cNvPr>
            <p:cNvCxnSpPr/>
            <p:nvPr/>
          </p:nvCxnSpPr>
          <p:spPr bwMode="gray">
            <a:xfrm>
              <a:off x="1012844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2F0CA176-198E-7083-8D37-9DC3B256C63D}"/>
                </a:ext>
              </a:extLst>
            </p:cNvPr>
            <p:cNvCxnSpPr/>
            <p:nvPr/>
          </p:nvCxnSpPr>
          <p:spPr bwMode="gray">
            <a:xfrm>
              <a:off x="955059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CBD28CE5-B8E5-B674-E365-F059484E6A16}"/>
                </a:ext>
              </a:extLst>
            </p:cNvPr>
            <p:cNvCxnSpPr/>
            <p:nvPr/>
          </p:nvCxnSpPr>
          <p:spPr bwMode="gray">
            <a:xfrm>
              <a:off x="551973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E3B61AB6-ACB2-CA54-5D48-DDDC9D56B6E0}"/>
                </a:ext>
              </a:extLst>
            </p:cNvPr>
            <p:cNvCxnSpPr/>
            <p:nvPr/>
          </p:nvCxnSpPr>
          <p:spPr bwMode="gray">
            <a:xfrm>
              <a:off x="263961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A232D3FD-DA0B-9AE2-5F4C-3A738BFDE95E}"/>
                </a:ext>
              </a:extLst>
            </p:cNvPr>
            <p:cNvCxnSpPr/>
            <p:nvPr/>
          </p:nvCxnSpPr>
          <p:spPr bwMode="gray">
            <a:xfrm>
              <a:off x="206355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6F1BBBEC-76B1-0BC8-09EF-1B470D37302B}"/>
                </a:ext>
              </a:extLst>
            </p:cNvPr>
            <p:cNvCxnSpPr/>
            <p:nvPr/>
          </p:nvCxnSpPr>
          <p:spPr bwMode="gray">
            <a:xfrm>
              <a:off x="148748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074C140E-1F23-1819-25A9-7FEA0AC96F4B}"/>
                </a:ext>
              </a:extLst>
            </p:cNvPr>
            <p:cNvCxnSpPr/>
            <p:nvPr/>
          </p:nvCxnSpPr>
          <p:spPr bwMode="gray">
            <a:xfrm>
              <a:off x="91142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01AB3D9B-F8BB-5C88-8C3A-E330DD04565A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04" y="144878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>
              <a:extLst>
                <a:ext uri="{FF2B5EF4-FFF2-40B4-BE49-F238E27FC236}">
                  <a16:creationId xmlns:a16="http://schemas.microsoft.com/office/drawing/2014/main" id="{E4FCBE52-72F4-322D-136A-F9EED84B6D2E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260091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DF3CAE11-3F0E-DDD7-4462-9153632D76A4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17697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>
              <a:extLst>
                <a:ext uri="{FF2B5EF4-FFF2-40B4-BE49-F238E27FC236}">
                  <a16:creationId xmlns:a16="http://schemas.microsoft.com/office/drawing/2014/main" id="{DE6B345D-0551-540B-11A5-AF30D24AC72E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75304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F4A21787-DFF3-1EAD-2D71-A0A86D6E658F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32910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r Verbinder 78">
              <a:extLst>
                <a:ext uri="{FF2B5EF4-FFF2-40B4-BE49-F238E27FC236}">
                  <a16:creationId xmlns:a16="http://schemas.microsoft.com/office/drawing/2014/main" id="{885CD717-671A-03A0-09E6-3B953FF3B79C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90516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r Verbinder 79">
              <a:extLst>
                <a:ext uri="{FF2B5EF4-FFF2-40B4-BE49-F238E27FC236}">
                  <a16:creationId xmlns:a16="http://schemas.microsoft.com/office/drawing/2014/main" id="{11C2DCC4-36E5-60B4-93C1-AD8DC0353806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548123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75677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211">
          <p15:clr>
            <a:srgbClr val="FBAE40"/>
          </p15:clr>
        </p15:guide>
        <p15:guide id="3" pos="3840">
          <p15:clr>
            <a:srgbClr val="FBAE40"/>
          </p15:clr>
        </p15:guide>
        <p15:guide id="4" pos="3477">
          <p15:clr>
            <a:srgbClr val="FBAE40"/>
          </p15:clr>
        </p15:guide>
        <p15:guide id="5" pos="7106">
          <p15:clr>
            <a:srgbClr val="FBAE40"/>
          </p15:clr>
        </p15:guide>
        <p15:guide id="6" orient="horz" pos="3838">
          <p15:clr>
            <a:srgbClr val="FBAE40"/>
          </p15:clr>
        </p15:guide>
        <p15:guide id="7" orient="horz" pos="2205">
          <p15:clr>
            <a:srgbClr val="FBAE40"/>
          </p15:clr>
        </p15:guide>
        <p15:guide id="8" orient="horz" pos="2568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rge charts and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687A5C5-9ACE-2713-1BB3-6CB4107E5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9913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687A5C5-9ACE-2713-1BB3-6CB4107E5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F814CA5C-4F72-4D7A-9378-F25AAE1E19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3" name="Diagram"/>
          <p:cNvSpPr>
            <a:spLocks noGrp="1"/>
          </p:cNvSpPr>
          <p:nvPr>
            <p:ph idx="1" hasCustomPrompt="1"/>
          </p:nvPr>
        </p:nvSpPr>
        <p:spPr bwMode="gray">
          <a:xfrm>
            <a:off x="334964" y="2060575"/>
            <a:ext cx="11522074" cy="403225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1000"/>
              </a:spcBef>
              <a:buNone/>
              <a:defRPr sz="1600" baseline="0"/>
            </a:lvl1pPr>
            <a:lvl2pPr marL="0" indent="0">
              <a:spcBef>
                <a:spcPts val="1000"/>
              </a:spcBef>
              <a:buNone/>
              <a:defRPr sz="2800"/>
            </a:lvl2pPr>
            <a:lvl3pPr marL="0" indent="0">
              <a:spcBef>
                <a:spcPts val="1000"/>
              </a:spcBef>
              <a:buNone/>
              <a:defRPr sz="2800"/>
            </a:lvl3pPr>
            <a:lvl4pPr>
              <a:spcBef>
                <a:spcPts val="1000"/>
              </a:spcBef>
              <a:buNone/>
              <a:defRPr sz="2800"/>
            </a:lvl4pPr>
            <a:lvl5pPr marL="0" indent="0">
              <a:spcBef>
                <a:spcPts val="1000"/>
              </a:spcBef>
              <a:buNone/>
              <a:defRPr sz="2800"/>
            </a:lvl5pPr>
          </a:lstStyle>
          <a:p>
            <a:pPr lvl="0"/>
            <a:r>
              <a:rPr lang="en-GB"/>
              <a:t>Use this layout for large charts and tables only. Please, do not use with text.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4086B0CC-9C53-786C-5FE9-5B5520DF1D5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0ED5C5E7-3449-0D18-C8EA-14972EB4C4C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E3EABFD0-96CB-693E-39ED-B5B3AC50779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DF401824-F14F-AAD8-4ED2-C1368BA1E203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5360" y="659362"/>
            <a:ext cx="8640959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8B0B3BC1-0151-5616-4879-7BBA0D1E10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87488" y="6525344"/>
            <a:ext cx="9217024" cy="14401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Source, </a:t>
            </a:r>
            <a:r>
              <a:rPr lang="de-DE" err="1"/>
              <a:t>Footnote</a:t>
            </a:r>
            <a:endParaRPr lang="en-GB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5515188-02B4-20FC-CD36-7C1DB16A80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68768" y="-171392"/>
            <a:ext cx="12025408" cy="6264688"/>
            <a:chOff x="-168768" y="-171392"/>
            <a:chExt cx="12025408" cy="6264688"/>
          </a:xfrm>
        </p:grpSpPr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9B362ED2-FA5E-1E4D-2FF7-6ED0231FD06B}"/>
                </a:ext>
              </a:extLst>
            </p:cNvPr>
            <p:cNvCxnSpPr/>
            <p:nvPr userDrawn="1"/>
          </p:nvCxnSpPr>
          <p:spPr bwMode="gray">
            <a:xfrm>
              <a:off x="33536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995ED706-1AD8-DEA1-30A1-7C3553503544}"/>
                </a:ext>
              </a:extLst>
            </p:cNvPr>
            <p:cNvCxnSpPr/>
            <p:nvPr userDrawn="1"/>
          </p:nvCxnSpPr>
          <p:spPr bwMode="gray">
            <a:xfrm>
              <a:off x="436780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64078DA3-750B-717D-7129-19AB0363D19B}"/>
                </a:ext>
              </a:extLst>
            </p:cNvPr>
            <p:cNvCxnSpPr/>
            <p:nvPr userDrawn="1"/>
          </p:nvCxnSpPr>
          <p:spPr bwMode="gray">
            <a:xfrm>
              <a:off x="494387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E9787FBA-DCDA-CEAA-9643-D2D814269DA0}"/>
                </a:ext>
              </a:extLst>
            </p:cNvPr>
            <p:cNvCxnSpPr/>
            <p:nvPr userDrawn="1"/>
          </p:nvCxnSpPr>
          <p:spPr bwMode="gray">
            <a:xfrm>
              <a:off x="667206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6B15902-0F6A-9B99-E66C-DFF7D4777609}"/>
                </a:ext>
              </a:extLst>
            </p:cNvPr>
            <p:cNvCxnSpPr/>
            <p:nvPr userDrawn="1"/>
          </p:nvCxnSpPr>
          <p:spPr bwMode="gray">
            <a:xfrm>
              <a:off x="609600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077CE78E-14B0-A368-2B4F-1425018390D2}"/>
                </a:ext>
              </a:extLst>
            </p:cNvPr>
            <p:cNvCxnSpPr/>
            <p:nvPr userDrawn="1"/>
          </p:nvCxnSpPr>
          <p:spPr bwMode="gray">
            <a:xfrm>
              <a:off x="724812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33C67DB7-A9D5-B1EB-3A7F-ABF1B0AA7E8D}"/>
                </a:ext>
              </a:extLst>
            </p:cNvPr>
            <p:cNvCxnSpPr/>
            <p:nvPr userDrawn="1"/>
          </p:nvCxnSpPr>
          <p:spPr bwMode="gray">
            <a:xfrm>
              <a:off x="782419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FACB6EA-259C-276A-D9E7-A3F7C9B16DE9}"/>
                </a:ext>
              </a:extLst>
            </p:cNvPr>
            <p:cNvCxnSpPr/>
            <p:nvPr userDrawn="1"/>
          </p:nvCxnSpPr>
          <p:spPr bwMode="gray">
            <a:xfrm>
              <a:off x="840025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72F5AEED-77CC-A3DD-EA14-017734081A40}"/>
                </a:ext>
              </a:extLst>
            </p:cNvPr>
            <p:cNvCxnSpPr/>
            <p:nvPr userDrawn="1"/>
          </p:nvCxnSpPr>
          <p:spPr bwMode="gray">
            <a:xfrm>
              <a:off x="897632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EE7449B-46B0-596D-D79F-7054AF9C2103}"/>
                </a:ext>
              </a:extLst>
            </p:cNvPr>
            <p:cNvCxnSpPr/>
            <p:nvPr userDrawn="1"/>
          </p:nvCxnSpPr>
          <p:spPr bwMode="gray">
            <a:xfrm>
              <a:off x="1128057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>
              <a:extLst>
                <a:ext uri="{FF2B5EF4-FFF2-40B4-BE49-F238E27FC236}">
                  <a16:creationId xmlns:a16="http://schemas.microsoft.com/office/drawing/2014/main" id="{049AFD53-D923-577B-D254-3C8B6301B298}"/>
                </a:ext>
              </a:extLst>
            </p:cNvPr>
            <p:cNvCxnSpPr/>
            <p:nvPr userDrawn="1"/>
          </p:nvCxnSpPr>
          <p:spPr bwMode="gray">
            <a:xfrm>
              <a:off x="1185664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>
              <a:extLst>
                <a:ext uri="{FF2B5EF4-FFF2-40B4-BE49-F238E27FC236}">
                  <a16:creationId xmlns:a16="http://schemas.microsoft.com/office/drawing/2014/main" id="{D82FE1A1-006F-60B7-AAB9-9777257B8AC9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29665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72AF780A-9F71-8672-A3EA-81A18B529C18}"/>
                </a:ext>
              </a:extLst>
            </p:cNvPr>
            <p:cNvCxnSpPr/>
            <p:nvPr userDrawn="1"/>
          </p:nvCxnSpPr>
          <p:spPr bwMode="gray">
            <a:xfrm>
              <a:off x="321568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r Verbinder 59">
              <a:extLst>
                <a:ext uri="{FF2B5EF4-FFF2-40B4-BE49-F238E27FC236}">
                  <a16:creationId xmlns:a16="http://schemas.microsoft.com/office/drawing/2014/main" id="{CD2EF420-3D5E-276C-7D83-7C9543959F50}"/>
                </a:ext>
              </a:extLst>
            </p:cNvPr>
            <p:cNvCxnSpPr/>
            <p:nvPr userDrawn="1"/>
          </p:nvCxnSpPr>
          <p:spPr bwMode="gray">
            <a:xfrm>
              <a:off x="379174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r Verbinder 60">
              <a:extLst>
                <a:ext uri="{FF2B5EF4-FFF2-40B4-BE49-F238E27FC236}">
                  <a16:creationId xmlns:a16="http://schemas.microsoft.com/office/drawing/2014/main" id="{8E3536E3-27E3-E5BC-5F2F-511B9ADEEBBA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04" y="87272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r Verbinder 61">
              <a:extLst>
                <a:ext uri="{FF2B5EF4-FFF2-40B4-BE49-F238E27FC236}">
                  <a16:creationId xmlns:a16="http://schemas.microsoft.com/office/drawing/2014/main" id="{6577BFB0-62DB-D436-9B7F-A17EAAEE272A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12" y="202484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>
              <a:extLst>
                <a:ext uri="{FF2B5EF4-FFF2-40B4-BE49-F238E27FC236}">
                  <a16:creationId xmlns:a16="http://schemas.microsoft.com/office/drawing/2014/main" id="{6884A086-7233-6230-D80C-EB0EC0E86E02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68" y="605729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224F62A0-7785-6071-3C9A-E54972C6E59E}"/>
                </a:ext>
              </a:extLst>
            </p:cNvPr>
            <p:cNvCxnSpPr/>
            <p:nvPr/>
          </p:nvCxnSpPr>
          <p:spPr bwMode="gray">
            <a:xfrm>
              <a:off x="1070451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r Verbinder 64">
              <a:extLst>
                <a:ext uri="{FF2B5EF4-FFF2-40B4-BE49-F238E27FC236}">
                  <a16:creationId xmlns:a16="http://schemas.microsoft.com/office/drawing/2014/main" id="{43C78CE8-DF9E-6EC3-2474-F6E00757B416}"/>
                </a:ext>
              </a:extLst>
            </p:cNvPr>
            <p:cNvCxnSpPr/>
            <p:nvPr/>
          </p:nvCxnSpPr>
          <p:spPr bwMode="gray">
            <a:xfrm>
              <a:off x="1012844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65">
              <a:extLst>
                <a:ext uri="{FF2B5EF4-FFF2-40B4-BE49-F238E27FC236}">
                  <a16:creationId xmlns:a16="http://schemas.microsoft.com/office/drawing/2014/main" id="{1EBF7B57-9FB0-2DBB-FAF1-6A3F8BB75655}"/>
                </a:ext>
              </a:extLst>
            </p:cNvPr>
            <p:cNvCxnSpPr/>
            <p:nvPr/>
          </p:nvCxnSpPr>
          <p:spPr bwMode="gray">
            <a:xfrm>
              <a:off x="955059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D4938144-A041-6C65-8785-28A681E059A0}"/>
                </a:ext>
              </a:extLst>
            </p:cNvPr>
            <p:cNvCxnSpPr/>
            <p:nvPr/>
          </p:nvCxnSpPr>
          <p:spPr bwMode="gray">
            <a:xfrm>
              <a:off x="551973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CE2C902E-27D9-BA2C-A8A3-918863128AD5}"/>
                </a:ext>
              </a:extLst>
            </p:cNvPr>
            <p:cNvCxnSpPr/>
            <p:nvPr/>
          </p:nvCxnSpPr>
          <p:spPr bwMode="gray">
            <a:xfrm>
              <a:off x="263961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B76BDF6D-6B98-AFD5-6901-3F53BE52D60C}"/>
                </a:ext>
              </a:extLst>
            </p:cNvPr>
            <p:cNvCxnSpPr/>
            <p:nvPr/>
          </p:nvCxnSpPr>
          <p:spPr bwMode="gray">
            <a:xfrm>
              <a:off x="206355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76E06658-A9D2-A5AF-8508-24E51816AFAC}"/>
                </a:ext>
              </a:extLst>
            </p:cNvPr>
            <p:cNvCxnSpPr/>
            <p:nvPr/>
          </p:nvCxnSpPr>
          <p:spPr bwMode="gray">
            <a:xfrm>
              <a:off x="148748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9E8BAAFD-FE86-A5DF-D861-DADCEBCCA91E}"/>
                </a:ext>
              </a:extLst>
            </p:cNvPr>
            <p:cNvCxnSpPr/>
            <p:nvPr/>
          </p:nvCxnSpPr>
          <p:spPr bwMode="gray">
            <a:xfrm>
              <a:off x="91142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B01B11D0-7011-DD72-8F57-917A561C7E17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04" y="144878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67695C9C-A84E-E1A0-5F18-43607B2251D7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260091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27674D3A-3BF8-35FA-7A5E-C2632153E57B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17697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>
              <a:extLst>
                <a:ext uri="{FF2B5EF4-FFF2-40B4-BE49-F238E27FC236}">
                  <a16:creationId xmlns:a16="http://schemas.microsoft.com/office/drawing/2014/main" id="{068E6B7A-4AA4-1BE0-0BA0-C8874DF42403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75304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981565FF-0C76-D3F8-B4F9-C794FA2C4FA2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32910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>
              <a:extLst>
                <a:ext uri="{FF2B5EF4-FFF2-40B4-BE49-F238E27FC236}">
                  <a16:creationId xmlns:a16="http://schemas.microsoft.com/office/drawing/2014/main" id="{15F745B3-A89A-1A9F-4FDC-928CB3EAE660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90516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6AAA23E3-72CD-B760-240E-D7A75E9074B8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548123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033914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69">
          <p15:clr>
            <a:srgbClr val="FBAE40"/>
          </p15:clr>
        </p15:guide>
        <p15:guide id="4" orient="horz" pos="1298">
          <p15:clr>
            <a:srgbClr val="FBAE40"/>
          </p15:clr>
        </p15:guide>
        <p15:guide id="5" orient="horz" pos="3838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935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88F1F2-9A85-0503-CE3D-3550AC2BF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710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88F1F2-9A85-0503-CE3D-3550AC2BF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Subtitle 2">
            <a:extLst>
              <a:ext uri="{FF2B5EF4-FFF2-40B4-BE49-F238E27FC236}">
                <a16:creationId xmlns:a16="http://schemas.microsoft.com/office/drawing/2014/main" id="{7ACEED34-E7B2-1F4E-5056-5613F4ABF705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34965" y="659362"/>
            <a:ext cx="8641252" cy="360000"/>
          </a:xfrm>
          <a:prstGeom prst="rect">
            <a:avLst/>
          </a:prstGeom>
        </p:spPr>
        <p:txBody>
          <a:bodyPr wrap="none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/>
              <a:t>Insert your sub-headline in </a:t>
            </a:r>
            <a:r>
              <a:rPr lang="en-GB" err="1"/>
              <a:t>Lato</a:t>
            </a:r>
            <a:r>
              <a:rPr lang="en-GB"/>
              <a:t> light 20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50" name="Chart Placeholder 3">
            <a:extLst>
              <a:ext uri="{FF2B5EF4-FFF2-40B4-BE49-F238E27FC236}">
                <a16:creationId xmlns:a16="http://schemas.microsoft.com/office/drawing/2014/main" id="{7ACE9853-3687-7DC9-F99B-B62D51B2A649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334963" y="2060575"/>
            <a:ext cx="6913562" cy="403225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r>
              <a:rPr lang="en-US"/>
              <a:t>Click to add chart</a:t>
            </a:r>
          </a:p>
          <a:p>
            <a:endParaRPr lang="en-US"/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283F74D5-1C3C-2A5E-5EFB-58FC4E4C25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824788" y="2060576"/>
            <a:ext cx="4032250" cy="403225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200"/>
            </a:lvl5pPr>
          </a:lstStyle>
          <a:p>
            <a:pPr lvl="0"/>
            <a:r>
              <a:rPr lang="en-US"/>
              <a:t>Insert your copy in </a:t>
            </a:r>
            <a:r>
              <a:rPr lang="en-US" err="1"/>
              <a:t>Lato</a:t>
            </a:r>
            <a:r>
              <a:rPr lang="en-US"/>
              <a:t> 16 </a:t>
            </a:r>
            <a:r>
              <a:rPr lang="en-US" err="1"/>
              <a:t>pt</a:t>
            </a:r>
            <a:r>
              <a:rPr lang="en-US"/>
              <a:t> or 12 </a:t>
            </a:r>
            <a:r>
              <a:rPr lang="en-US" err="1"/>
              <a:t>pt</a:t>
            </a:r>
            <a:r>
              <a:rPr lang="en-US"/>
              <a:t> here | Use the function “Increase List level” for text levels on Tab HOME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1365065E-FB57-E1FF-7175-40498610997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487488" y="6525344"/>
            <a:ext cx="9217024" cy="14401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Source, Footnote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0D148B5-D107-C4BC-A8DD-96BD91A0EB9F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7E1A93B-2894-0DD8-4B1A-419DEA0AF2A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8ACD68B-704F-E0E4-EB94-073DC185DDA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70F0CF0-38B8-1B3C-CF84-1CDD80CDF6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60648"/>
            <a:ext cx="8641357" cy="369332"/>
          </a:xfrm>
        </p:spPr>
        <p:txBody>
          <a:bodyPr vert="horz"/>
          <a:lstStyle/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  <a:endParaRPr lang="de-DE"/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A8865911-5FCF-2611-D491-FDA5BBE9B7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68768" y="-171392"/>
            <a:ext cx="12025408" cy="6264688"/>
            <a:chOff x="-168768" y="-171392"/>
            <a:chExt cx="12025408" cy="6264688"/>
          </a:xfrm>
        </p:grpSpPr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542EE456-7551-40C6-6CF8-B54EFCA2667F}"/>
                </a:ext>
              </a:extLst>
            </p:cNvPr>
            <p:cNvCxnSpPr/>
            <p:nvPr userDrawn="1"/>
          </p:nvCxnSpPr>
          <p:spPr bwMode="gray">
            <a:xfrm>
              <a:off x="33536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D763CB1C-7DDA-15DF-6436-5829DD433D9D}"/>
                </a:ext>
              </a:extLst>
            </p:cNvPr>
            <p:cNvCxnSpPr/>
            <p:nvPr userDrawn="1"/>
          </p:nvCxnSpPr>
          <p:spPr bwMode="gray">
            <a:xfrm>
              <a:off x="436780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0C8E775F-6E9E-2584-2B74-446ABA503BCC}"/>
                </a:ext>
              </a:extLst>
            </p:cNvPr>
            <p:cNvCxnSpPr/>
            <p:nvPr userDrawn="1"/>
          </p:nvCxnSpPr>
          <p:spPr bwMode="gray">
            <a:xfrm>
              <a:off x="494387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147E8817-B579-925A-9BFA-6448B312F580}"/>
                </a:ext>
              </a:extLst>
            </p:cNvPr>
            <p:cNvCxnSpPr/>
            <p:nvPr userDrawn="1"/>
          </p:nvCxnSpPr>
          <p:spPr bwMode="gray">
            <a:xfrm>
              <a:off x="667206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F783BBF0-B9DF-6A7D-CF96-39A968C5DC5F}"/>
                </a:ext>
              </a:extLst>
            </p:cNvPr>
            <p:cNvCxnSpPr/>
            <p:nvPr userDrawn="1"/>
          </p:nvCxnSpPr>
          <p:spPr bwMode="gray">
            <a:xfrm>
              <a:off x="609600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939CD9C7-E69E-B03A-A6F6-25EA2DE6296F}"/>
                </a:ext>
              </a:extLst>
            </p:cNvPr>
            <p:cNvCxnSpPr/>
            <p:nvPr userDrawn="1"/>
          </p:nvCxnSpPr>
          <p:spPr bwMode="gray">
            <a:xfrm>
              <a:off x="724812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02F8DF1F-2953-BF91-BD8E-439B68DEF69F}"/>
                </a:ext>
              </a:extLst>
            </p:cNvPr>
            <p:cNvCxnSpPr/>
            <p:nvPr userDrawn="1"/>
          </p:nvCxnSpPr>
          <p:spPr bwMode="gray">
            <a:xfrm>
              <a:off x="782419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53CDA8FF-12A0-BFFA-290A-45019CE31762}"/>
                </a:ext>
              </a:extLst>
            </p:cNvPr>
            <p:cNvCxnSpPr/>
            <p:nvPr userDrawn="1"/>
          </p:nvCxnSpPr>
          <p:spPr bwMode="gray">
            <a:xfrm>
              <a:off x="840025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A3D0257F-16C2-AC6A-28F4-8559F59E1DD6}"/>
                </a:ext>
              </a:extLst>
            </p:cNvPr>
            <p:cNvCxnSpPr/>
            <p:nvPr userDrawn="1"/>
          </p:nvCxnSpPr>
          <p:spPr bwMode="gray">
            <a:xfrm>
              <a:off x="897632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>
              <a:extLst>
                <a:ext uri="{FF2B5EF4-FFF2-40B4-BE49-F238E27FC236}">
                  <a16:creationId xmlns:a16="http://schemas.microsoft.com/office/drawing/2014/main" id="{ED5BBB66-4E14-6B65-99F2-25FE4BC7B02C}"/>
                </a:ext>
              </a:extLst>
            </p:cNvPr>
            <p:cNvCxnSpPr/>
            <p:nvPr userDrawn="1"/>
          </p:nvCxnSpPr>
          <p:spPr bwMode="gray">
            <a:xfrm>
              <a:off x="1128057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>
              <a:extLst>
                <a:ext uri="{FF2B5EF4-FFF2-40B4-BE49-F238E27FC236}">
                  <a16:creationId xmlns:a16="http://schemas.microsoft.com/office/drawing/2014/main" id="{75784295-8D21-24D9-ABE0-78A283A2D63F}"/>
                </a:ext>
              </a:extLst>
            </p:cNvPr>
            <p:cNvCxnSpPr/>
            <p:nvPr userDrawn="1"/>
          </p:nvCxnSpPr>
          <p:spPr bwMode="gray">
            <a:xfrm>
              <a:off x="1185664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FB0D3EE5-BE02-AD40-B755-80DB2E3B0C13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29665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1170AB45-79C5-8DF9-2132-4A84964DFF2B}"/>
                </a:ext>
              </a:extLst>
            </p:cNvPr>
            <p:cNvCxnSpPr/>
            <p:nvPr userDrawn="1"/>
          </p:nvCxnSpPr>
          <p:spPr bwMode="gray">
            <a:xfrm>
              <a:off x="321568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048EC16D-B2BF-352F-FA41-7B9089774402}"/>
                </a:ext>
              </a:extLst>
            </p:cNvPr>
            <p:cNvCxnSpPr/>
            <p:nvPr userDrawn="1"/>
          </p:nvCxnSpPr>
          <p:spPr bwMode="gray">
            <a:xfrm>
              <a:off x="379174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55DEA178-58F5-67DE-D01D-D8A0BFF06A1B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04" y="87272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3FBAB641-C494-74A8-CD4A-28532BF05E26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12" y="202484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r Verbinder 44">
              <a:extLst>
                <a:ext uri="{FF2B5EF4-FFF2-40B4-BE49-F238E27FC236}">
                  <a16:creationId xmlns:a16="http://schemas.microsoft.com/office/drawing/2014/main" id="{A57D85A3-95CB-9881-3713-538CD4D0F921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68" y="605729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r Verbinder 45">
              <a:extLst>
                <a:ext uri="{FF2B5EF4-FFF2-40B4-BE49-F238E27FC236}">
                  <a16:creationId xmlns:a16="http://schemas.microsoft.com/office/drawing/2014/main" id="{1BF4FCEE-2FBE-8FF6-A979-3648B6F506B6}"/>
                </a:ext>
              </a:extLst>
            </p:cNvPr>
            <p:cNvCxnSpPr/>
            <p:nvPr/>
          </p:nvCxnSpPr>
          <p:spPr bwMode="gray">
            <a:xfrm>
              <a:off x="1070451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D5DBB73F-C1A2-C606-28E4-2D85D441B416}"/>
                </a:ext>
              </a:extLst>
            </p:cNvPr>
            <p:cNvCxnSpPr/>
            <p:nvPr/>
          </p:nvCxnSpPr>
          <p:spPr bwMode="gray">
            <a:xfrm>
              <a:off x="1012844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r Verbinder 47">
              <a:extLst>
                <a:ext uri="{FF2B5EF4-FFF2-40B4-BE49-F238E27FC236}">
                  <a16:creationId xmlns:a16="http://schemas.microsoft.com/office/drawing/2014/main" id="{585D28A4-2BD7-72CD-106B-5593C4B7700B}"/>
                </a:ext>
              </a:extLst>
            </p:cNvPr>
            <p:cNvCxnSpPr/>
            <p:nvPr/>
          </p:nvCxnSpPr>
          <p:spPr bwMode="gray">
            <a:xfrm>
              <a:off x="955059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8A82CF1C-A365-3A8F-5956-A6E06C4484DB}"/>
                </a:ext>
              </a:extLst>
            </p:cNvPr>
            <p:cNvCxnSpPr/>
            <p:nvPr/>
          </p:nvCxnSpPr>
          <p:spPr bwMode="gray">
            <a:xfrm>
              <a:off x="551973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r Verbinder 53">
              <a:extLst>
                <a:ext uri="{FF2B5EF4-FFF2-40B4-BE49-F238E27FC236}">
                  <a16:creationId xmlns:a16="http://schemas.microsoft.com/office/drawing/2014/main" id="{E237C3BC-1EB6-DAB6-AF66-E198D695EAEA}"/>
                </a:ext>
              </a:extLst>
            </p:cNvPr>
            <p:cNvCxnSpPr/>
            <p:nvPr/>
          </p:nvCxnSpPr>
          <p:spPr bwMode="gray">
            <a:xfrm>
              <a:off x="263961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r Verbinder 54">
              <a:extLst>
                <a:ext uri="{FF2B5EF4-FFF2-40B4-BE49-F238E27FC236}">
                  <a16:creationId xmlns:a16="http://schemas.microsoft.com/office/drawing/2014/main" id="{89566F69-ED78-9716-F9B9-FD6C754FFBA7}"/>
                </a:ext>
              </a:extLst>
            </p:cNvPr>
            <p:cNvCxnSpPr/>
            <p:nvPr/>
          </p:nvCxnSpPr>
          <p:spPr bwMode="gray">
            <a:xfrm>
              <a:off x="206355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r Verbinder 55">
              <a:extLst>
                <a:ext uri="{FF2B5EF4-FFF2-40B4-BE49-F238E27FC236}">
                  <a16:creationId xmlns:a16="http://schemas.microsoft.com/office/drawing/2014/main" id="{1E6E7131-08E8-089B-8117-26683EF0D32B}"/>
                </a:ext>
              </a:extLst>
            </p:cNvPr>
            <p:cNvCxnSpPr/>
            <p:nvPr/>
          </p:nvCxnSpPr>
          <p:spPr bwMode="gray">
            <a:xfrm>
              <a:off x="148748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r Verbinder 56">
              <a:extLst>
                <a:ext uri="{FF2B5EF4-FFF2-40B4-BE49-F238E27FC236}">
                  <a16:creationId xmlns:a16="http://schemas.microsoft.com/office/drawing/2014/main" id="{76E90EA9-BB04-651A-5C91-9A1B1E94B490}"/>
                </a:ext>
              </a:extLst>
            </p:cNvPr>
            <p:cNvCxnSpPr/>
            <p:nvPr/>
          </p:nvCxnSpPr>
          <p:spPr bwMode="gray">
            <a:xfrm>
              <a:off x="91142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r Verbinder 57">
              <a:extLst>
                <a:ext uri="{FF2B5EF4-FFF2-40B4-BE49-F238E27FC236}">
                  <a16:creationId xmlns:a16="http://schemas.microsoft.com/office/drawing/2014/main" id="{E6C5BF32-9996-A06F-F6BE-331712725BCC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04" y="144878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r Verbinder 58">
              <a:extLst>
                <a:ext uri="{FF2B5EF4-FFF2-40B4-BE49-F238E27FC236}">
                  <a16:creationId xmlns:a16="http://schemas.microsoft.com/office/drawing/2014/main" id="{108C4C7A-168C-249E-BC85-D84466D40080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260091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r Verbinder 59">
              <a:extLst>
                <a:ext uri="{FF2B5EF4-FFF2-40B4-BE49-F238E27FC236}">
                  <a16:creationId xmlns:a16="http://schemas.microsoft.com/office/drawing/2014/main" id="{DB6C429F-89D7-E4FF-8F37-351371311A63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17697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r Verbinder 60">
              <a:extLst>
                <a:ext uri="{FF2B5EF4-FFF2-40B4-BE49-F238E27FC236}">
                  <a16:creationId xmlns:a16="http://schemas.microsoft.com/office/drawing/2014/main" id="{D0C64D4C-4FF6-7FBA-0309-EE0969D2546E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75304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r Verbinder 61">
              <a:extLst>
                <a:ext uri="{FF2B5EF4-FFF2-40B4-BE49-F238E27FC236}">
                  <a16:creationId xmlns:a16="http://schemas.microsoft.com/office/drawing/2014/main" id="{6490399A-D218-F60A-549E-35ABDD92C565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32910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>
              <a:extLst>
                <a:ext uri="{FF2B5EF4-FFF2-40B4-BE49-F238E27FC236}">
                  <a16:creationId xmlns:a16="http://schemas.microsoft.com/office/drawing/2014/main" id="{8BABEF9A-80FB-7CD0-5B0A-1758351605CC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90516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9B7C169F-20A6-5E54-65B0-5BAA932F1C40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548123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73020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29">
          <p15:clr>
            <a:srgbClr val="FBAE40"/>
          </p15:clr>
        </p15:guide>
        <p15:guide id="2" pos="7469">
          <p15:clr>
            <a:srgbClr val="FBAE40"/>
          </p15:clr>
        </p15:guide>
        <p15:guide id="3" orient="horz" pos="1298">
          <p15:clr>
            <a:srgbClr val="FBAE40"/>
          </p15:clr>
        </p15:guide>
        <p15:guide id="4" orient="horz" pos="3838">
          <p15:clr>
            <a:srgbClr val="FBAE40"/>
          </p15:clr>
        </p15:guide>
        <p15:guide id="5" pos="4566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93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6" Type="http://schemas.openxmlformats.org/officeDocument/2006/relationships/slideLayout" Target="../slideLayouts/slideLayout16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18" Type="http://schemas.openxmlformats.org/officeDocument/2006/relationships/slideLayout" Target="../slideLayouts/slideLayout118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slideLayout" Target="../slideLayouts/slideLayout108.xml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119" Type="http://schemas.openxmlformats.org/officeDocument/2006/relationships/slideLayout" Target="../slideLayouts/slideLayout119.xml"/><Relationship Id="rId44" Type="http://schemas.openxmlformats.org/officeDocument/2006/relationships/slideLayout" Target="../slideLayouts/slideLayout44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120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15" Type="http://schemas.openxmlformats.org/officeDocument/2006/relationships/slideLayout" Target="../slideLayouts/slideLayout115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4.xml"/><Relationship Id="rId18" Type="http://schemas.openxmlformats.org/officeDocument/2006/relationships/slideLayout" Target="../slideLayouts/slideLayout139.xml"/><Relationship Id="rId26" Type="http://schemas.openxmlformats.org/officeDocument/2006/relationships/slideLayout" Target="../slideLayouts/slideLayout147.xml"/><Relationship Id="rId39" Type="http://schemas.openxmlformats.org/officeDocument/2006/relationships/image" Target="../media/image18.png"/><Relationship Id="rId21" Type="http://schemas.openxmlformats.org/officeDocument/2006/relationships/slideLayout" Target="../slideLayouts/slideLayout142.xml"/><Relationship Id="rId34" Type="http://schemas.openxmlformats.org/officeDocument/2006/relationships/slideLayout" Target="../slideLayouts/slideLayout155.xml"/><Relationship Id="rId7" Type="http://schemas.openxmlformats.org/officeDocument/2006/relationships/slideLayout" Target="../slideLayouts/slideLayout128.xml"/><Relationship Id="rId2" Type="http://schemas.openxmlformats.org/officeDocument/2006/relationships/slideLayout" Target="../slideLayouts/slideLayout123.xml"/><Relationship Id="rId16" Type="http://schemas.openxmlformats.org/officeDocument/2006/relationships/slideLayout" Target="../slideLayouts/slideLayout137.xml"/><Relationship Id="rId20" Type="http://schemas.openxmlformats.org/officeDocument/2006/relationships/slideLayout" Target="../slideLayouts/slideLayout141.xml"/><Relationship Id="rId29" Type="http://schemas.openxmlformats.org/officeDocument/2006/relationships/slideLayout" Target="../slideLayouts/slideLayout150.xml"/><Relationship Id="rId41" Type="http://schemas.openxmlformats.org/officeDocument/2006/relationships/image" Target="../media/image20.svg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24" Type="http://schemas.openxmlformats.org/officeDocument/2006/relationships/slideLayout" Target="../slideLayouts/slideLayout145.xml"/><Relationship Id="rId32" Type="http://schemas.openxmlformats.org/officeDocument/2006/relationships/slideLayout" Target="../slideLayouts/slideLayout153.xml"/><Relationship Id="rId37" Type="http://schemas.openxmlformats.org/officeDocument/2006/relationships/image" Target="../media/image16.png"/><Relationship Id="rId40" Type="http://schemas.openxmlformats.org/officeDocument/2006/relationships/image" Target="../media/image19.png"/><Relationship Id="rId5" Type="http://schemas.openxmlformats.org/officeDocument/2006/relationships/slideLayout" Target="../slideLayouts/slideLayout126.xml"/><Relationship Id="rId15" Type="http://schemas.openxmlformats.org/officeDocument/2006/relationships/slideLayout" Target="../slideLayouts/slideLayout136.xml"/><Relationship Id="rId23" Type="http://schemas.openxmlformats.org/officeDocument/2006/relationships/slideLayout" Target="../slideLayouts/slideLayout144.xml"/><Relationship Id="rId28" Type="http://schemas.openxmlformats.org/officeDocument/2006/relationships/slideLayout" Target="../slideLayouts/slideLayout149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131.xml"/><Relationship Id="rId19" Type="http://schemas.openxmlformats.org/officeDocument/2006/relationships/slideLayout" Target="../slideLayouts/slideLayout140.xml"/><Relationship Id="rId31" Type="http://schemas.openxmlformats.org/officeDocument/2006/relationships/slideLayout" Target="../slideLayouts/slideLayout152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Relationship Id="rId14" Type="http://schemas.openxmlformats.org/officeDocument/2006/relationships/slideLayout" Target="../slideLayouts/slideLayout135.xml"/><Relationship Id="rId22" Type="http://schemas.openxmlformats.org/officeDocument/2006/relationships/slideLayout" Target="../slideLayouts/slideLayout143.xml"/><Relationship Id="rId27" Type="http://schemas.openxmlformats.org/officeDocument/2006/relationships/slideLayout" Target="../slideLayouts/slideLayout148.xml"/><Relationship Id="rId30" Type="http://schemas.openxmlformats.org/officeDocument/2006/relationships/slideLayout" Target="../slideLayouts/slideLayout151.xml"/><Relationship Id="rId35" Type="http://schemas.openxmlformats.org/officeDocument/2006/relationships/slideLayout" Target="../slideLayouts/slideLayout156.xml"/><Relationship Id="rId8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124.xml"/><Relationship Id="rId12" Type="http://schemas.openxmlformats.org/officeDocument/2006/relationships/slideLayout" Target="../slideLayouts/slideLayout133.xml"/><Relationship Id="rId17" Type="http://schemas.openxmlformats.org/officeDocument/2006/relationships/slideLayout" Target="../slideLayouts/slideLayout138.xml"/><Relationship Id="rId25" Type="http://schemas.openxmlformats.org/officeDocument/2006/relationships/slideLayout" Target="../slideLayouts/slideLayout146.xml"/><Relationship Id="rId33" Type="http://schemas.openxmlformats.org/officeDocument/2006/relationships/slideLayout" Target="../slideLayouts/slideLayout154.xml"/><Relationship Id="rId38" Type="http://schemas.openxmlformats.org/officeDocument/2006/relationships/image" Target="../media/image17.sv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9.xml"/><Relationship Id="rId18" Type="http://schemas.openxmlformats.org/officeDocument/2006/relationships/slideLayout" Target="../slideLayouts/slideLayout174.xml"/><Relationship Id="rId26" Type="http://schemas.openxmlformats.org/officeDocument/2006/relationships/slideLayout" Target="../slideLayouts/slideLayout182.xml"/><Relationship Id="rId39" Type="http://schemas.openxmlformats.org/officeDocument/2006/relationships/image" Target="../media/image16.png"/><Relationship Id="rId21" Type="http://schemas.openxmlformats.org/officeDocument/2006/relationships/slideLayout" Target="../slideLayouts/slideLayout177.xml"/><Relationship Id="rId34" Type="http://schemas.openxmlformats.org/officeDocument/2006/relationships/slideLayout" Target="../slideLayouts/slideLayout190.xml"/><Relationship Id="rId42" Type="http://schemas.openxmlformats.org/officeDocument/2006/relationships/image" Target="../media/image19.png"/><Relationship Id="rId7" Type="http://schemas.openxmlformats.org/officeDocument/2006/relationships/slideLayout" Target="../slideLayouts/slideLayout163.xml"/><Relationship Id="rId2" Type="http://schemas.openxmlformats.org/officeDocument/2006/relationships/slideLayout" Target="../slideLayouts/slideLayout158.xml"/><Relationship Id="rId16" Type="http://schemas.openxmlformats.org/officeDocument/2006/relationships/slideLayout" Target="../slideLayouts/slideLayout172.xml"/><Relationship Id="rId20" Type="http://schemas.openxmlformats.org/officeDocument/2006/relationships/slideLayout" Target="../slideLayouts/slideLayout176.xml"/><Relationship Id="rId29" Type="http://schemas.openxmlformats.org/officeDocument/2006/relationships/slideLayout" Target="../slideLayouts/slideLayout185.xml"/><Relationship Id="rId41" Type="http://schemas.openxmlformats.org/officeDocument/2006/relationships/image" Target="../media/image40.png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slideLayout" Target="../slideLayouts/slideLayout167.xml"/><Relationship Id="rId24" Type="http://schemas.openxmlformats.org/officeDocument/2006/relationships/slideLayout" Target="../slideLayouts/slideLayout180.xml"/><Relationship Id="rId32" Type="http://schemas.openxmlformats.org/officeDocument/2006/relationships/slideLayout" Target="../slideLayouts/slideLayout188.xml"/><Relationship Id="rId37" Type="http://schemas.openxmlformats.org/officeDocument/2006/relationships/slideLayout" Target="../slideLayouts/slideLayout193.xml"/><Relationship Id="rId40" Type="http://schemas.openxmlformats.org/officeDocument/2006/relationships/image" Target="../media/image17.svg"/><Relationship Id="rId5" Type="http://schemas.openxmlformats.org/officeDocument/2006/relationships/slideLayout" Target="../slideLayouts/slideLayout161.xml"/><Relationship Id="rId15" Type="http://schemas.openxmlformats.org/officeDocument/2006/relationships/slideLayout" Target="../slideLayouts/slideLayout171.xml"/><Relationship Id="rId23" Type="http://schemas.openxmlformats.org/officeDocument/2006/relationships/slideLayout" Target="../slideLayouts/slideLayout179.xml"/><Relationship Id="rId28" Type="http://schemas.openxmlformats.org/officeDocument/2006/relationships/slideLayout" Target="../slideLayouts/slideLayout184.xml"/><Relationship Id="rId36" Type="http://schemas.openxmlformats.org/officeDocument/2006/relationships/slideLayout" Target="../slideLayouts/slideLayout192.xml"/><Relationship Id="rId10" Type="http://schemas.openxmlformats.org/officeDocument/2006/relationships/slideLayout" Target="../slideLayouts/slideLayout166.xml"/><Relationship Id="rId19" Type="http://schemas.openxmlformats.org/officeDocument/2006/relationships/slideLayout" Target="../slideLayouts/slideLayout175.xml"/><Relationship Id="rId31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60.xml"/><Relationship Id="rId9" Type="http://schemas.openxmlformats.org/officeDocument/2006/relationships/slideLayout" Target="../slideLayouts/slideLayout165.xml"/><Relationship Id="rId14" Type="http://schemas.openxmlformats.org/officeDocument/2006/relationships/slideLayout" Target="../slideLayouts/slideLayout170.xml"/><Relationship Id="rId22" Type="http://schemas.openxmlformats.org/officeDocument/2006/relationships/slideLayout" Target="../slideLayouts/slideLayout178.xml"/><Relationship Id="rId27" Type="http://schemas.openxmlformats.org/officeDocument/2006/relationships/slideLayout" Target="../slideLayouts/slideLayout183.xml"/><Relationship Id="rId30" Type="http://schemas.openxmlformats.org/officeDocument/2006/relationships/slideLayout" Target="../slideLayouts/slideLayout186.xml"/><Relationship Id="rId35" Type="http://schemas.openxmlformats.org/officeDocument/2006/relationships/slideLayout" Target="../slideLayouts/slideLayout191.xml"/><Relationship Id="rId43" Type="http://schemas.openxmlformats.org/officeDocument/2006/relationships/image" Target="../media/image20.svg"/><Relationship Id="rId8" Type="http://schemas.openxmlformats.org/officeDocument/2006/relationships/slideLayout" Target="../slideLayouts/slideLayout164.xml"/><Relationship Id="rId3" Type="http://schemas.openxmlformats.org/officeDocument/2006/relationships/slideLayout" Target="../slideLayouts/slideLayout159.xml"/><Relationship Id="rId12" Type="http://schemas.openxmlformats.org/officeDocument/2006/relationships/slideLayout" Target="../slideLayouts/slideLayout168.xml"/><Relationship Id="rId17" Type="http://schemas.openxmlformats.org/officeDocument/2006/relationships/slideLayout" Target="../slideLayouts/slideLayout173.xml"/><Relationship Id="rId25" Type="http://schemas.openxmlformats.org/officeDocument/2006/relationships/slideLayout" Target="../slideLayouts/slideLayout181.xml"/><Relationship Id="rId33" Type="http://schemas.openxmlformats.org/officeDocument/2006/relationships/slideLayout" Target="../slideLayouts/slideLayout189.xml"/><Relationship Id="rId38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19.xml"/><Relationship Id="rId21" Type="http://schemas.openxmlformats.org/officeDocument/2006/relationships/slideLayout" Target="../slideLayouts/slideLayout214.xml"/><Relationship Id="rId42" Type="http://schemas.openxmlformats.org/officeDocument/2006/relationships/slideLayout" Target="../slideLayouts/slideLayout235.xml"/><Relationship Id="rId47" Type="http://schemas.openxmlformats.org/officeDocument/2006/relationships/slideLayout" Target="../slideLayouts/slideLayout240.xml"/><Relationship Id="rId63" Type="http://schemas.openxmlformats.org/officeDocument/2006/relationships/slideLayout" Target="../slideLayouts/slideLayout256.xml"/><Relationship Id="rId68" Type="http://schemas.openxmlformats.org/officeDocument/2006/relationships/slideLayout" Target="../slideLayouts/slideLayout261.xml"/><Relationship Id="rId84" Type="http://schemas.openxmlformats.org/officeDocument/2006/relationships/slideLayout" Target="../slideLayouts/slideLayout277.xml"/><Relationship Id="rId89" Type="http://schemas.openxmlformats.org/officeDocument/2006/relationships/slideLayout" Target="../slideLayouts/slideLayout282.xml"/><Relationship Id="rId16" Type="http://schemas.openxmlformats.org/officeDocument/2006/relationships/slideLayout" Target="../slideLayouts/slideLayout209.xml"/><Relationship Id="rId11" Type="http://schemas.openxmlformats.org/officeDocument/2006/relationships/slideLayout" Target="../slideLayouts/slideLayout204.xml"/><Relationship Id="rId32" Type="http://schemas.openxmlformats.org/officeDocument/2006/relationships/slideLayout" Target="../slideLayouts/slideLayout225.xml"/><Relationship Id="rId37" Type="http://schemas.openxmlformats.org/officeDocument/2006/relationships/slideLayout" Target="../slideLayouts/slideLayout230.xml"/><Relationship Id="rId53" Type="http://schemas.openxmlformats.org/officeDocument/2006/relationships/slideLayout" Target="../slideLayouts/slideLayout246.xml"/><Relationship Id="rId58" Type="http://schemas.openxmlformats.org/officeDocument/2006/relationships/slideLayout" Target="../slideLayouts/slideLayout251.xml"/><Relationship Id="rId74" Type="http://schemas.openxmlformats.org/officeDocument/2006/relationships/slideLayout" Target="../slideLayouts/slideLayout267.xml"/><Relationship Id="rId79" Type="http://schemas.openxmlformats.org/officeDocument/2006/relationships/slideLayout" Target="../slideLayouts/slideLayout272.xml"/><Relationship Id="rId102" Type="http://schemas.openxmlformats.org/officeDocument/2006/relationships/image" Target="../media/image16.png"/><Relationship Id="rId5" Type="http://schemas.openxmlformats.org/officeDocument/2006/relationships/slideLayout" Target="../slideLayouts/slideLayout198.xml"/><Relationship Id="rId90" Type="http://schemas.openxmlformats.org/officeDocument/2006/relationships/slideLayout" Target="../slideLayouts/slideLayout283.xml"/><Relationship Id="rId95" Type="http://schemas.openxmlformats.org/officeDocument/2006/relationships/slideLayout" Target="../slideLayouts/slideLayout288.xml"/><Relationship Id="rId22" Type="http://schemas.openxmlformats.org/officeDocument/2006/relationships/slideLayout" Target="../slideLayouts/slideLayout215.xml"/><Relationship Id="rId27" Type="http://schemas.openxmlformats.org/officeDocument/2006/relationships/slideLayout" Target="../slideLayouts/slideLayout220.xml"/><Relationship Id="rId43" Type="http://schemas.openxmlformats.org/officeDocument/2006/relationships/slideLayout" Target="../slideLayouts/slideLayout236.xml"/><Relationship Id="rId48" Type="http://schemas.openxmlformats.org/officeDocument/2006/relationships/slideLayout" Target="../slideLayouts/slideLayout241.xml"/><Relationship Id="rId64" Type="http://schemas.openxmlformats.org/officeDocument/2006/relationships/slideLayout" Target="../slideLayouts/slideLayout257.xml"/><Relationship Id="rId69" Type="http://schemas.openxmlformats.org/officeDocument/2006/relationships/slideLayout" Target="../slideLayouts/slideLayout262.xml"/><Relationship Id="rId80" Type="http://schemas.openxmlformats.org/officeDocument/2006/relationships/slideLayout" Target="../slideLayouts/slideLayout273.xml"/><Relationship Id="rId85" Type="http://schemas.openxmlformats.org/officeDocument/2006/relationships/slideLayout" Target="../slideLayouts/slideLayout278.xml"/><Relationship Id="rId12" Type="http://schemas.openxmlformats.org/officeDocument/2006/relationships/slideLayout" Target="../slideLayouts/slideLayout205.xml"/><Relationship Id="rId17" Type="http://schemas.openxmlformats.org/officeDocument/2006/relationships/slideLayout" Target="../slideLayouts/slideLayout210.xml"/><Relationship Id="rId33" Type="http://schemas.openxmlformats.org/officeDocument/2006/relationships/slideLayout" Target="../slideLayouts/slideLayout226.xml"/><Relationship Id="rId38" Type="http://schemas.openxmlformats.org/officeDocument/2006/relationships/slideLayout" Target="../slideLayouts/slideLayout231.xml"/><Relationship Id="rId59" Type="http://schemas.openxmlformats.org/officeDocument/2006/relationships/slideLayout" Target="../slideLayouts/slideLayout252.xml"/><Relationship Id="rId103" Type="http://schemas.openxmlformats.org/officeDocument/2006/relationships/image" Target="../media/image17.svg"/><Relationship Id="rId20" Type="http://schemas.openxmlformats.org/officeDocument/2006/relationships/slideLayout" Target="../slideLayouts/slideLayout213.xml"/><Relationship Id="rId41" Type="http://schemas.openxmlformats.org/officeDocument/2006/relationships/slideLayout" Target="../slideLayouts/slideLayout234.xml"/><Relationship Id="rId54" Type="http://schemas.openxmlformats.org/officeDocument/2006/relationships/slideLayout" Target="../slideLayouts/slideLayout247.xml"/><Relationship Id="rId62" Type="http://schemas.openxmlformats.org/officeDocument/2006/relationships/slideLayout" Target="../slideLayouts/slideLayout255.xml"/><Relationship Id="rId70" Type="http://schemas.openxmlformats.org/officeDocument/2006/relationships/slideLayout" Target="../slideLayouts/slideLayout263.xml"/><Relationship Id="rId75" Type="http://schemas.openxmlformats.org/officeDocument/2006/relationships/slideLayout" Target="../slideLayouts/slideLayout268.xml"/><Relationship Id="rId83" Type="http://schemas.openxmlformats.org/officeDocument/2006/relationships/slideLayout" Target="../slideLayouts/slideLayout276.xml"/><Relationship Id="rId88" Type="http://schemas.openxmlformats.org/officeDocument/2006/relationships/slideLayout" Target="../slideLayouts/slideLayout281.xml"/><Relationship Id="rId91" Type="http://schemas.openxmlformats.org/officeDocument/2006/relationships/slideLayout" Target="../slideLayouts/slideLayout284.xml"/><Relationship Id="rId96" Type="http://schemas.openxmlformats.org/officeDocument/2006/relationships/slideLayout" Target="../slideLayouts/slideLayout289.xml"/><Relationship Id="rId1" Type="http://schemas.openxmlformats.org/officeDocument/2006/relationships/slideLayout" Target="../slideLayouts/slideLayout194.xml"/><Relationship Id="rId6" Type="http://schemas.openxmlformats.org/officeDocument/2006/relationships/slideLayout" Target="../slideLayouts/slideLayout199.xml"/><Relationship Id="rId15" Type="http://schemas.openxmlformats.org/officeDocument/2006/relationships/slideLayout" Target="../slideLayouts/slideLayout208.xml"/><Relationship Id="rId23" Type="http://schemas.openxmlformats.org/officeDocument/2006/relationships/slideLayout" Target="../slideLayouts/slideLayout216.xml"/><Relationship Id="rId28" Type="http://schemas.openxmlformats.org/officeDocument/2006/relationships/slideLayout" Target="../slideLayouts/slideLayout221.xml"/><Relationship Id="rId36" Type="http://schemas.openxmlformats.org/officeDocument/2006/relationships/slideLayout" Target="../slideLayouts/slideLayout229.xml"/><Relationship Id="rId49" Type="http://schemas.openxmlformats.org/officeDocument/2006/relationships/slideLayout" Target="../slideLayouts/slideLayout242.xml"/><Relationship Id="rId57" Type="http://schemas.openxmlformats.org/officeDocument/2006/relationships/slideLayout" Target="../slideLayouts/slideLayout250.xml"/><Relationship Id="rId106" Type="http://schemas.openxmlformats.org/officeDocument/2006/relationships/image" Target="../media/image20.svg"/><Relationship Id="rId10" Type="http://schemas.openxmlformats.org/officeDocument/2006/relationships/slideLayout" Target="../slideLayouts/slideLayout203.xml"/><Relationship Id="rId31" Type="http://schemas.openxmlformats.org/officeDocument/2006/relationships/slideLayout" Target="../slideLayouts/slideLayout224.xml"/><Relationship Id="rId44" Type="http://schemas.openxmlformats.org/officeDocument/2006/relationships/slideLayout" Target="../slideLayouts/slideLayout237.xml"/><Relationship Id="rId52" Type="http://schemas.openxmlformats.org/officeDocument/2006/relationships/slideLayout" Target="../slideLayouts/slideLayout245.xml"/><Relationship Id="rId60" Type="http://schemas.openxmlformats.org/officeDocument/2006/relationships/slideLayout" Target="../slideLayouts/slideLayout253.xml"/><Relationship Id="rId65" Type="http://schemas.openxmlformats.org/officeDocument/2006/relationships/slideLayout" Target="../slideLayouts/slideLayout258.xml"/><Relationship Id="rId73" Type="http://schemas.openxmlformats.org/officeDocument/2006/relationships/slideLayout" Target="../slideLayouts/slideLayout266.xml"/><Relationship Id="rId78" Type="http://schemas.openxmlformats.org/officeDocument/2006/relationships/slideLayout" Target="../slideLayouts/slideLayout271.xml"/><Relationship Id="rId81" Type="http://schemas.openxmlformats.org/officeDocument/2006/relationships/slideLayout" Target="../slideLayouts/slideLayout274.xml"/><Relationship Id="rId86" Type="http://schemas.openxmlformats.org/officeDocument/2006/relationships/slideLayout" Target="../slideLayouts/slideLayout279.xml"/><Relationship Id="rId94" Type="http://schemas.openxmlformats.org/officeDocument/2006/relationships/slideLayout" Target="../slideLayouts/slideLayout287.xml"/><Relationship Id="rId99" Type="http://schemas.openxmlformats.org/officeDocument/2006/relationships/tags" Target="../tags/tag58.xml"/><Relationship Id="rId101" Type="http://schemas.openxmlformats.org/officeDocument/2006/relationships/image" Target="../media/image51.emf"/><Relationship Id="rId4" Type="http://schemas.openxmlformats.org/officeDocument/2006/relationships/slideLayout" Target="../slideLayouts/slideLayout197.xml"/><Relationship Id="rId9" Type="http://schemas.openxmlformats.org/officeDocument/2006/relationships/slideLayout" Target="../slideLayouts/slideLayout202.xml"/><Relationship Id="rId13" Type="http://schemas.openxmlformats.org/officeDocument/2006/relationships/slideLayout" Target="../slideLayouts/slideLayout206.xml"/><Relationship Id="rId18" Type="http://schemas.openxmlformats.org/officeDocument/2006/relationships/slideLayout" Target="../slideLayouts/slideLayout211.xml"/><Relationship Id="rId39" Type="http://schemas.openxmlformats.org/officeDocument/2006/relationships/slideLayout" Target="../slideLayouts/slideLayout232.xml"/><Relationship Id="rId34" Type="http://schemas.openxmlformats.org/officeDocument/2006/relationships/slideLayout" Target="../slideLayouts/slideLayout227.xml"/><Relationship Id="rId50" Type="http://schemas.openxmlformats.org/officeDocument/2006/relationships/slideLayout" Target="../slideLayouts/slideLayout243.xml"/><Relationship Id="rId55" Type="http://schemas.openxmlformats.org/officeDocument/2006/relationships/slideLayout" Target="../slideLayouts/slideLayout248.xml"/><Relationship Id="rId76" Type="http://schemas.openxmlformats.org/officeDocument/2006/relationships/slideLayout" Target="../slideLayouts/slideLayout269.xml"/><Relationship Id="rId97" Type="http://schemas.openxmlformats.org/officeDocument/2006/relationships/slideLayout" Target="../slideLayouts/slideLayout290.xml"/><Relationship Id="rId104" Type="http://schemas.openxmlformats.org/officeDocument/2006/relationships/image" Target="../media/image52.png"/><Relationship Id="rId7" Type="http://schemas.openxmlformats.org/officeDocument/2006/relationships/slideLayout" Target="../slideLayouts/slideLayout200.xml"/><Relationship Id="rId71" Type="http://schemas.openxmlformats.org/officeDocument/2006/relationships/slideLayout" Target="../slideLayouts/slideLayout264.xml"/><Relationship Id="rId92" Type="http://schemas.openxmlformats.org/officeDocument/2006/relationships/slideLayout" Target="../slideLayouts/slideLayout285.xml"/><Relationship Id="rId2" Type="http://schemas.openxmlformats.org/officeDocument/2006/relationships/slideLayout" Target="../slideLayouts/slideLayout195.xml"/><Relationship Id="rId29" Type="http://schemas.openxmlformats.org/officeDocument/2006/relationships/slideLayout" Target="../slideLayouts/slideLayout222.xml"/><Relationship Id="rId24" Type="http://schemas.openxmlformats.org/officeDocument/2006/relationships/slideLayout" Target="../slideLayouts/slideLayout217.xml"/><Relationship Id="rId40" Type="http://schemas.openxmlformats.org/officeDocument/2006/relationships/slideLayout" Target="../slideLayouts/slideLayout233.xml"/><Relationship Id="rId45" Type="http://schemas.openxmlformats.org/officeDocument/2006/relationships/slideLayout" Target="../slideLayouts/slideLayout238.xml"/><Relationship Id="rId66" Type="http://schemas.openxmlformats.org/officeDocument/2006/relationships/slideLayout" Target="../slideLayouts/slideLayout259.xml"/><Relationship Id="rId87" Type="http://schemas.openxmlformats.org/officeDocument/2006/relationships/slideLayout" Target="../slideLayouts/slideLayout280.xml"/><Relationship Id="rId61" Type="http://schemas.openxmlformats.org/officeDocument/2006/relationships/slideLayout" Target="../slideLayouts/slideLayout254.xml"/><Relationship Id="rId82" Type="http://schemas.openxmlformats.org/officeDocument/2006/relationships/slideLayout" Target="../slideLayouts/slideLayout275.xml"/><Relationship Id="rId19" Type="http://schemas.openxmlformats.org/officeDocument/2006/relationships/slideLayout" Target="../slideLayouts/slideLayout212.xml"/><Relationship Id="rId14" Type="http://schemas.openxmlformats.org/officeDocument/2006/relationships/slideLayout" Target="../slideLayouts/slideLayout207.xml"/><Relationship Id="rId30" Type="http://schemas.openxmlformats.org/officeDocument/2006/relationships/slideLayout" Target="../slideLayouts/slideLayout223.xml"/><Relationship Id="rId35" Type="http://schemas.openxmlformats.org/officeDocument/2006/relationships/slideLayout" Target="../slideLayouts/slideLayout228.xml"/><Relationship Id="rId56" Type="http://schemas.openxmlformats.org/officeDocument/2006/relationships/slideLayout" Target="../slideLayouts/slideLayout249.xml"/><Relationship Id="rId77" Type="http://schemas.openxmlformats.org/officeDocument/2006/relationships/slideLayout" Target="../slideLayouts/slideLayout270.xml"/><Relationship Id="rId100" Type="http://schemas.openxmlformats.org/officeDocument/2006/relationships/oleObject" Target="../embeddings/oleObject53.bin"/><Relationship Id="rId105" Type="http://schemas.openxmlformats.org/officeDocument/2006/relationships/image" Target="../media/image19.png"/><Relationship Id="rId8" Type="http://schemas.openxmlformats.org/officeDocument/2006/relationships/slideLayout" Target="../slideLayouts/slideLayout201.xml"/><Relationship Id="rId51" Type="http://schemas.openxmlformats.org/officeDocument/2006/relationships/slideLayout" Target="../slideLayouts/slideLayout244.xml"/><Relationship Id="rId72" Type="http://schemas.openxmlformats.org/officeDocument/2006/relationships/slideLayout" Target="../slideLayouts/slideLayout265.xml"/><Relationship Id="rId93" Type="http://schemas.openxmlformats.org/officeDocument/2006/relationships/slideLayout" Target="../slideLayouts/slideLayout286.xml"/><Relationship Id="rId98" Type="http://schemas.openxmlformats.org/officeDocument/2006/relationships/theme" Target="../theme/theme4.xml"/><Relationship Id="rId3" Type="http://schemas.openxmlformats.org/officeDocument/2006/relationships/slideLayout" Target="../slideLayouts/slideLayout196.xml"/><Relationship Id="rId25" Type="http://schemas.openxmlformats.org/officeDocument/2006/relationships/slideLayout" Target="../slideLayouts/slideLayout218.xml"/><Relationship Id="rId46" Type="http://schemas.openxmlformats.org/officeDocument/2006/relationships/slideLayout" Target="../slideLayouts/slideLayout239.xml"/><Relationship Id="rId67" Type="http://schemas.openxmlformats.org/officeDocument/2006/relationships/slideLayout" Target="../slideLayouts/slideLayout260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16.xml"/><Relationship Id="rId21" Type="http://schemas.openxmlformats.org/officeDocument/2006/relationships/slideLayout" Target="../slideLayouts/slideLayout311.xml"/><Relationship Id="rId42" Type="http://schemas.openxmlformats.org/officeDocument/2006/relationships/slideLayout" Target="../slideLayouts/slideLayout332.xml"/><Relationship Id="rId47" Type="http://schemas.openxmlformats.org/officeDocument/2006/relationships/slideLayout" Target="../slideLayouts/slideLayout337.xml"/><Relationship Id="rId63" Type="http://schemas.openxmlformats.org/officeDocument/2006/relationships/slideLayout" Target="../slideLayouts/slideLayout353.xml"/><Relationship Id="rId68" Type="http://schemas.openxmlformats.org/officeDocument/2006/relationships/slideLayout" Target="../slideLayouts/slideLayout358.xml"/><Relationship Id="rId84" Type="http://schemas.openxmlformats.org/officeDocument/2006/relationships/slideLayout" Target="../slideLayouts/slideLayout374.xml"/><Relationship Id="rId89" Type="http://schemas.openxmlformats.org/officeDocument/2006/relationships/slideLayout" Target="../slideLayouts/slideLayout379.xml"/><Relationship Id="rId16" Type="http://schemas.openxmlformats.org/officeDocument/2006/relationships/slideLayout" Target="../slideLayouts/slideLayout306.xml"/><Relationship Id="rId11" Type="http://schemas.openxmlformats.org/officeDocument/2006/relationships/slideLayout" Target="../slideLayouts/slideLayout301.xml"/><Relationship Id="rId32" Type="http://schemas.openxmlformats.org/officeDocument/2006/relationships/slideLayout" Target="../slideLayouts/slideLayout322.xml"/><Relationship Id="rId37" Type="http://schemas.openxmlformats.org/officeDocument/2006/relationships/slideLayout" Target="../slideLayouts/slideLayout327.xml"/><Relationship Id="rId53" Type="http://schemas.openxmlformats.org/officeDocument/2006/relationships/slideLayout" Target="../slideLayouts/slideLayout343.xml"/><Relationship Id="rId58" Type="http://schemas.openxmlformats.org/officeDocument/2006/relationships/slideLayout" Target="../slideLayouts/slideLayout348.xml"/><Relationship Id="rId74" Type="http://schemas.openxmlformats.org/officeDocument/2006/relationships/slideLayout" Target="../slideLayouts/slideLayout364.xml"/><Relationship Id="rId79" Type="http://schemas.openxmlformats.org/officeDocument/2006/relationships/slideLayout" Target="../slideLayouts/slideLayout369.xml"/><Relationship Id="rId102" Type="http://schemas.openxmlformats.org/officeDocument/2006/relationships/image" Target="../media/image16.png"/><Relationship Id="rId5" Type="http://schemas.openxmlformats.org/officeDocument/2006/relationships/slideLayout" Target="../slideLayouts/slideLayout295.xml"/><Relationship Id="rId90" Type="http://schemas.openxmlformats.org/officeDocument/2006/relationships/slideLayout" Target="../slideLayouts/slideLayout380.xml"/><Relationship Id="rId95" Type="http://schemas.openxmlformats.org/officeDocument/2006/relationships/slideLayout" Target="../slideLayouts/slideLayout385.xml"/><Relationship Id="rId22" Type="http://schemas.openxmlformats.org/officeDocument/2006/relationships/slideLayout" Target="../slideLayouts/slideLayout312.xml"/><Relationship Id="rId27" Type="http://schemas.openxmlformats.org/officeDocument/2006/relationships/slideLayout" Target="../slideLayouts/slideLayout317.xml"/><Relationship Id="rId43" Type="http://schemas.openxmlformats.org/officeDocument/2006/relationships/slideLayout" Target="../slideLayouts/slideLayout333.xml"/><Relationship Id="rId48" Type="http://schemas.openxmlformats.org/officeDocument/2006/relationships/slideLayout" Target="../slideLayouts/slideLayout338.xml"/><Relationship Id="rId64" Type="http://schemas.openxmlformats.org/officeDocument/2006/relationships/slideLayout" Target="../slideLayouts/slideLayout354.xml"/><Relationship Id="rId69" Type="http://schemas.openxmlformats.org/officeDocument/2006/relationships/slideLayout" Target="../slideLayouts/slideLayout359.xml"/><Relationship Id="rId80" Type="http://schemas.openxmlformats.org/officeDocument/2006/relationships/slideLayout" Target="../slideLayouts/slideLayout370.xml"/><Relationship Id="rId85" Type="http://schemas.openxmlformats.org/officeDocument/2006/relationships/slideLayout" Target="../slideLayouts/slideLayout375.xml"/><Relationship Id="rId12" Type="http://schemas.openxmlformats.org/officeDocument/2006/relationships/slideLayout" Target="../slideLayouts/slideLayout302.xml"/><Relationship Id="rId17" Type="http://schemas.openxmlformats.org/officeDocument/2006/relationships/slideLayout" Target="../slideLayouts/slideLayout307.xml"/><Relationship Id="rId33" Type="http://schemas.openxmlformats.org/officeDocument/2006/relationships/slideLayout" Target="../slideLayouts/slideLayout323.xml"/><Relationship Id="rId38" Type="http://schemas.openxmlformats.org/officeDocument/2006/relationships/slideLayout" Target="../slideLayouts/slideLayout328.xml"/><Relationship Id="rId59" Type="http://schemas.openxmlformats.org/officeDocument/2006/relationships/slideLayout" Target="../slideLayouts/slideLayout349.xml"/><Relationship Id="rId103" Type="http://schemas.openxmlformats.org/officeDocument/2006/relationships/image" Target="../media/image17.svg"/><Relationship Id="rId20" Type="http://schemas.openxmlformats.org/officeDocument/2006/relationships/slideLayout" Target="../slideLayouts/slideLayout310.xml"/><Relationship Id="rId41" Type="http://schemas.openxmlformats.org/officeDocument/2006/relationships/slideLayout" Target="../slideLayouts/slideLayout331.xml"/><Relationship Id="rId54" Type="http://schemas.openxmlformats.org/officeDocument/2006/relationships/slideLayout" Target="../slideLayouts/slideLayout344.xml"/><Relationship Id="rId62" Type="http://schemas.openxmlformats.org/officeDocument/2006/relationships/slideLayout" Target="../slideLayouts/slideLayout352.xml"/><Relationship Id="rId70" Type="http://schemas.openxmlformats.org/officeDocument/2006/relationships/slideLayout" Target="../slideLayouts/slideLayout360.xml"/><Relationship Id="rId75" Type="http://schemas.openxmlformats.org/officeDocument/2006/relationships/slideLayout" Target="../slideLayouts/slideLayout365.xml"/><Relationship Id="rId83" Type="http://schemas.openxmlformats.org/officeDocument/2006/relationships/slideLayout" Target="../slideLayouts/slideLayout373.xml"/><Relationship Id="rId88" Type="http://schemas.openxmlformats.org/officeDocument/2006/relationships/slideLayout" Target="../slideLayouts/slideLayout378.xml"/><Relationship Id="rId91" Type="http://schemas.openxmlformats.org/officeDocument/2006/relationships/slideLayout" Target="../slideLayouts/slideLayout381.xml"/><Relationship Id="rId96" Type="http://schemas.openxmlformats.org/officeDocument/2006/relationships/slideLayout" Target="../slideLayouts/slideLayout386.xml"/><Relationship Id="rId1" Type="http://schemas.openxmlformats.org/officeDocument/2006/relationships/slideLayout" Target="../slideLayouts/slideLayout291.xml"/><Relationship Id="rId6" Type="http://schemas.openxmlformats.org/officeDocument/2006/relationships/slideLayout" Target="../slideLayouts/slideLayout296.xml"/><Relationship Id="rId15" Type="http://schemas.openxmlformats.org/officeDocument/2006/relationships/slideLayout" Target="../slideLayouts/slideLayout305.xml"/><Relationship Id="rId23" Type="http://schemas.openxmlformats.org/officeDocument/2006/relationships/slideLayout" Target="../slideLayouts/slideLayout313.xml"/><Relationship Id="rId28" Type="http://schemas.openxmlformats.org/officeDocument/2006/relationships/slideLayout" Target="../slideLayouts/slideLayout318.xml"/><Relationship Id="rId36" Type="http://schemas.openxmlformats.org/officeDocument/2006/relationships/slideLayout" Target="../slideLayouts/slideLayout326.xml"/><Relationship Id="rId49" Type="http://schemas.openxmlformats.org/officeDocument/2006/relationships/slideLayout" Target="../slideLayouts/slideLayout339.xml"/><Relationship Id="rId57" Type="http://schemas.openxmlformats.org/officeDocument/2006/relationships/slideLayout" Target="../slideLayouts/slideLayout347.xml"/><Relationship Id="rId106" Type="http://schemas.openxmlformats.org/officeDocument/2006/relationships/image" Target="../media/image20.svg"/><Relationship Id="rId10" Type="http://schemas.openxmlformats.org/officeDocument/2006/relationships/slideLayout" Target="../slideLayouts/slideLayout300.xml"/><Relationship Id="rId31" Type="http://schemas.openxmlformats.org/officeDocument/2006/relationships/slideLayout" Target="../slideLayouts/slideLayout321.xml"/><Relationship Id="rId44" Type="http://schemas.openxmlformats.org/officeDocument/2006/relationships/slideLayout" Target="../slideLayouts/slideLayout334.xml"/><Relationship Id="rId52" Type="http://schemas.openxmlformats.org/officeDocument/2006/relationships/slideLayout" Target="../slideLayouts/slideLayout342.xml"/><Relationship Id="rId60" Type="http://schemas.openxmlformats.org/officeDocument/2006/relationships/slideLayout" Target="../slideLayouts/slideLayout350.xml"/><Relationship Id="rId65" Type="http://schemas.openxmlformats.org/officeDocument/2006/relationships/slideLayout" Target="../slideLayouts/slideLayout355.xml"/><Relationship Id="rId73" Type="http://schemas.openxmlformats.org/officeDocument/2006/relationships/slideLayout" Target="../slideLayouts/slideLayout363.xml"/><Relationship Id="rId78" Type="http://schemas.openxmlformats.org/officeDocument/2006/relationships/slideLayout" Target="../slideLayouts/slideLayout368.xml"/><Relationship Id="rId81" Type="http://schemas.openxmlformats.org/officeDocument/2006/relationships/slideLayout" Target="../slideLayouts/slideLayout371.xml"/><Relationship Id="rId86" Type="http://schemas.openxmlformats.org/officeDocument/2006/relationships/slideLayout" Target="../slideLayouts/slideLayout376.xml"/><Relationship Id="rId94" Type="http://schemas.openxmlformats.org/officeDocument/2006/relationships/slideLayout" Target="../slideLayouts/slideLayout384.xml"/><Relationship Id="rId99" Type="http://schemas.openxmlformats.org/officeDocument/2006/relationships/tags" Target="../tags/tag155.xml"/><Relationship Id="rId101" Type="http://schemas.openxmlformats.org/officeDocument/2006/relationships/image" Target="../media/image51.emf"/><Relationship Id="rId4" Type="http://schemas.openxmlformats.org/officeDocument/2006/relationships/slideLayout" Target="../slideLayouts/slideLayout294.xml"/><Relationship Id="rId9" Type="http://schemas.openxmlformats.org/officeDocument/2006/relationships/slideLayout" Target="../slideLayouts/slideLayout299.xml"/><Relationship Id="rId13" Type="http://schemas.openxmlformats.org/officeDocument/2006/relationships/slideLayout" Target="../slideLayouts/slideLayout303.xml"/><Relationship Id="rId18" Type="http://schemas.openxmlformats.org/officeDocument/2006/relationships/slideLayout" Target="../slideLayouts/slideLayout308.xml"/><Relationship Id="rId39" Type="http://schemas.openxmlformats.org/officeDocument/2006/relationships/slideLayout" Target="../slideLayouts/slideLayout329.xml"/><Relationship Id="rId34" Type="http://schemas.openxmlformats.org/officeDocument/2006/relationships/slideLayout" Target="../slideLayouts/slideLayout324.xml"/><Relationship Id="rId50" Type="http://schemas.openxmlformats.org/officeDocument/2006/relationships/slideLayout" Target="../slideLayouts/slideLayout340.xml"/><Relationship Id="rId55" Type="http://schemas.openxmlformats.org/officeDocument/2006/relationships/slideLayout" Target="../slideLayouts/slideLayout345.xml"/><Relationship Id="rId76" Type="http://schemas.openxmlformats.org/officeDocument/2006/relationships/slideLayout" Target="../slideLayouts/slideLayout366.xml"/><Relationship Id="rId97" Type="http://schemas.openxmlformats.org/officeDocument/2006/relationships/slideLayout" Target="../slideLayouts/slideLayout387.xml"/><Relationship Id="rId104" Type="http://schemas.openxmlformats.org/officeDocument/2006/relationships/image" Target="../media/image52.png"/><Relationship Id="rId7" Type="http://schemas.openxmlformats.org/officeDocument/2006/relationships/slideLayout" Target="../slideLayouts/slideLayout297.xml"/><Relationship Id="rId71" Type="http://schemas.openxmlformats.org/officeDocument/2006/relationships/slideLayout" Target="../slideLayouts/slideLayout361.xml"/><Relationship Id="rId92" Type="http://schemas.openxmlformats.org/officeDocument/2006/relationships/slideLayout" Target="../slideLayouts/slideLayout382.xml"/><Relationship Id="rId2" Type="http://schemas.openxmlformats.org/officeDocument/2006/relationships/slideLayout" Target="../slideLayouts/slideLayout292.xml"/><Relationship Id="rId29" Type="http://schemas.openxmlformats.org/officeDocument/2006/relationships/slideLayout" Target="../slideLayouts/slideLayout319.xml"/><Relationship Id="rId24" Type="http://schemas.openxmlformats.org/officeDocument/2006/relationships/slideLayout" Target="../slideLayouts/slideLayout314.xml"/><Relationship Id="rId40" Type="http://schemas.openxmlformats.org/officeDocument/2006/relationships/slideLayout" Target="../slideLayouts/slideLayout330.xml"/><Relationship Id="rId45" Type="http://schemas.openxmlformats.org/officeDocument/2006/relationships/slideLayout" Target="../slideLayouts/slideLayout335.xml"/><Relationship Id="rId66" Type="http://schemas.openxmlformats.org/officeDocument/2006/relationships/slideLayout" Target="../slideLayouts/slideLayout356.xml"/><Relationship Id="rId87" Type="http://schemas.openxmlformats.org/officeDocument/2006/relationships/slideLayout" Target="../slideLayouts/slideLayout377.xml"/><Relationship Id="rId61" Type="http://schemas.openxmlformats.org/officeDocument/2006/relationships/slideLayout" Target="../slideLayouts/slideLayout351.xml"/><Relationship Id="rId82" Type="http://schemas.openxmlformats.org/officeDocument/2006/relationships/slideLayout" Target="../slideLayouts/slideLayout372.xml"/><Relationship Id="rId19" Type="http://schemas.openxmlformats.org/officeDocument/2006/relationships/slideLayout" Target="../slideLayouts/slideLayout309.xml"/><Relationship Id="rId14" Type="http://schemas.openxmlformats.org/officeDocument/2006/relationships/slideLayout" Target="../slideLayouts/slideLayout304.xml"/><Relationship Id="rId30" Type="http://schemas.openxmlformats.org/officeDocument/2006/relationships/slideLayout" Target="../slideLayouts/slideLayout320.xml"/><Relationship Id="rId35" Type="http://schemas.openxmlformats.org/officeDocument/2006/relationships/slideLayout" Target="../slideLayouts/slideLayout325.xml"/><Relationship Id="rId56" Type="http://schemas.openxmlformats.org/officeDocument/2006/relationships/slideLayout" Target="../slideLayouts/slideLayout346.xml"/><Relationship Id="rId77" Type="http://schemas.openxmlformats.org/officeDocument/2006/relationships/slideLayout" Target="../slideLayouts/slideLayout367.xml"/><Relationship Id="rId100" Type="http://schemas.openxmlformats.org/officeDocument/2006/relationships/oleObject" Target="../embeddings/oleObject150.bin"/><Relationship Id="rId105" Type="http://schemas.openxmlformats.org/officeDocument/2006/relationships/image" Target="../media/image19.png"/><Relationship Id="rId8" Type="http://schemas.openxmlformats.org/officeDocument/2006/relationships/slideLayout" Target="../slideLayouts/slideLayout298.xml"/><Relationship Id="rId51" Type="http://schemas.openxmlformats.org/officeDocument/2006/relationships/slideLayout" Target="../slideLayouts/slideLayout341.xml"/><Relationship Id="rId72" Type="http://schemas.openxmlformats.org/officeDocument/2006/relationships/slideLayout" Target="../slideLayouts/slideLayout362.xml"/><Relationship Id="rId93" Type="http://schemas.openxmlformats.org/officeDocument/2006/relationships/slideLayout" Target="../slideLayouts/slideLayout383.xml"/><Relationship Id="rId98" Type="http://schemas.openxmlformats.org/officeDocument/2006/relationships/theme" Target="../theme/theme5.xml"/><Relationship Id="rId3" Type="http://schemas.openxmlformats.org/officeDocument/2006/relationships/slideLayout" Target="../slideLayouts/slideLayout293.xml"/><Relationship Id="rId25" Type="http://schemas.openxmlformats.org/officeDocument/2006/relationships/slideLayout" Target="../slideLayouts/slideLayout315.xml"/><Relationship Id="rId46" Type="http://schemas.openxmlformats.org/officeDocument/2006/relationships/slideLayout" Target="../slideLayouts/slideLayout336.xml"/><Relationship Id="rId67" Type="http://schemas.openxmlformats.org/officeDocument/2006/relationships/slideLayout" Target="../slideLayouts/slideLayout3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">
            <a:extLst>
              <a:ext uri="{FF2B5EF4-FFF2-40B4-BE49-F238E27FC236}">
                <a16:creationId xmlns:a16="http://schemas.microsoft.com/office/drawing/2014/main" id="{A14BC77E-A3CA-C648-81BE-615FA97935B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5361" y="260648"/>
            <a:ext cx="806489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/>
              <a:t>Insert your headline in </a:t>
            </a:r>
            <a:r>
              <a:rPr lang="en-GB" err="1"/>
              <a:t>Lato</a:t>
            </a:r>
            <a:r>
              <a:rPr lang="en-GB"/>
              <a:t> Heavy 24 </a:t>
            </a:r>
            <a:r>
              <a:rPr lang="en-GB" err="1"/>
              <a:t>pt</a:t>
            </a:r>
            <a:r>
              <a:rPr lang="en-GB"/>
              <a:t> here</a:t>
            </a:r>
          </a:p>
        </p:txBody>
      </p:sp>
      <p:sp>
        <p:nvSpPr>
          <p:cNvPr id="49" name="Content">
            <a:extLst>
              <a:ext uri="{FF2B5EF4-FFF2-40B4-BE49-F238E27FC236}">
                <a16:creationId xmlns:a16="http://schemas.microsoft.com/office/drawing/2014/main" id="{7CB38B8D-13E9-EA42-A995-D2944436FF69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5360" y="2060847"/>
            <a:ext cx="10945216" cy="40319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Insert your copy in </a:t>
            </a:r>
            <a:r>
              <a:rPr lang="en-GB" err="1"/>
              <a:t>Lato</a:t>
            </a:r>
            <a:r>
              <a:rPr lang="en-GB"/>
              <a:t> 16 </a:t>
            </a:r>
            <a:r>
              <a:rPr lang="en-GB" err="1"/>
              <a:t>pt</a:t>
            </a:r>
            <a:r>
              <a:rPr lang="en-GB"/>
              <a:t> or 12 </a:t>
            </a:r>
            <a:r>
              <a:rPr lang="en-GB" err="1"/>
              <a:t>pt</a:t>
            </a:r>
            <a:r>
              <a:rPr lang="en-GB"/>
              <a:t> here | Use the function “Increase List level” for text levels on Tab HOM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44" name="Copyright">
            <a:extLst>
              <a:ext uri="{FF2B5EF4-FFF2-40B4-BE49-F238E27FC236}">
                <a16:creationId xmlns:a16="http://schemas.microsoft.com/office/drawing/2014/main" id="{B95F1AF8-9A7D-2D40-AF44-05D7111CC5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 bwMode="gray">
          <a:xfrm>
            <a:off x="10704568" y="6525000"/>
            <a:ext cx="576008" cy="1440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marL="0" indent="0" algn="r">
              <a:lnSpc>
                <a:spcPct val="125000"/>
              </a:lnSpc>
              <a:buClr>
                <a:schemeClr val="tx2"/>
              </a:buClr>
              <a:buFont typeface="Wingdings" panose="05000000000000000000" pitchFamily="2" charset="2"/>
              <a:buNone/>
            </a:pPr>
            <a:r>
              <a:rPr lang="en-GB" sz="900">
                <a:solidFill>
                  <a:schemeClr val="tx1"/>
                </a:solidFill>
              </a:rPr>
              <a:t>© GfK</a:t>
            </a:r>
          </a:p>
        </p:txBody>
      </p:sp>
      <p:sp>
        <p:nvSpPr>
          <p:cNvPr id="45" name="Date">
            <a:extLst>
              <a:ext uri="{FF2B5EF4-FFF2-40B4-BE49-F238E27FC236}">
                <a16:creationId xmlns:a16="http://schemas.microsoft.com/office/drawing/2014/main" id="{3AA4ADB9-8EF9-8848-9108-683F87BC14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35360" y="6525000"/>
            <a:ext cx="1080120" cy="144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BE24432A-AE50-41AA-AD77-84EACC725617}" type="datetime1">
              <a:rPr lang="en-GB" smtClean="0"/>
              <a:t>12/02/2026</a:t>
            </a:fld>
            <a:endParaRPr lang="en-GB"/>
          </a:p>
        </p:txBody>
      </p:sp>
      <p:sp>
        <p:nvSpPr>
          <p:cNvPr id="1121" name="Client logo" hidden="1">
            <a:extLst>
              <a:ext uri="{FF2B5EF4-FFF2-40B4-BE49-F238E27FC236}">
                <a16:creationId xmlns:a16="http://schemas.microsoft.com/office/drawing/2014/main" id="{852876CE-56B4-4117-953E-4A7C7196F1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8976320" y="333000"/>
            <a:ext cx="1728192" cy="575720"/>
          </a:xfrm>
          <a:prstGeom prst="rect">
            <a:avLst/>
          </a:prstGeom>
          <a:solidFill>
            <a:srgbClr val="B3B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100000"/>
              </a:lnSpc>
            </a:pPr>
            <a:r>
              <a:rPr lang="en-GB" sz="1000" b="1">
                <a:solidFill>
                  <a:srgbClr val="676A6D"/>
                </a:solidFill>
              </a:rPr>
              <a:t>Client logo</a:t>
            </a:r>
          </a:p>
          <a:p>
            <a:pPr algn="ctr">
              <a:lnSpc>
                <a:spcPct val="100000"/>
              </a:lnSpc>
            </a:pPr>
            <a:r>
              <a:rPr lang="en-GB" sz="700">
                <a:solidFill>
                  <a:srgbClr val="676A6D"/>
                </a:solidFill>
              </a:rPr>
              <a:t>Remove this and the line (on the right) from slide master if not needed</a:t>
            </a:r>
          </a:p>
        </p:txBody>
      </p:sp>
      <p:cxnSp>
        <p:nvCxnSpPr>
          <p:cNvPr id="1122" name="Client logo line" hidden="1">
            <a:extLst>
              <a:ext uri="{FF2B5EF4-FFF2-40B4-BE49-F238E27FC236}">
                <a16:creationId xmlns:a16="http://schemas.microsoft.com/office/drawing/2014/main" id="{23A0D137-13FD-4460-B8C8-4874F639CE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0992544" y="332656"/>
            <a:ext cx="0" cy="57606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Logo">
            <a:extLst>
              <a:ext uri="{FF2B5EF4-FFF2-40B4-BE49-F238E27FC236}">
                <a16:creationId xmlns:a16="http://schemas.microsoft.com/office/drawing/2014/main" id="{1B9B070F-E392-A06E-C356-3EEC69C41B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1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79656" y="332656"/>
            <a:ext cx="576984" cy="576984"/>
          </a:xfrm>
          <a:prstGeom prst="rect">
            <a:avLst/>
          </a:prstGeom>
          <a:ln>
            <a:noFill/>
          </a:ln>
        </p:spPr>
      </p:pic>
      <p:grpSp>
        <p:nvGrpSpPr>
          <p:cNvPr id="2122" name="Gruppieren 2121">
            <a:extLst>
              <a:ext uri="{FF2B5EF4-FFF2-40B4-BE49-F238E27FC236}">
                <a16:creationId xmlns:a16="http://schemas.microsoft.com/office/drawing/2014/main" id="{4B9923B5-2F0A-415E-BC35-11535A2C19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68688" y="-171392"/>
            <a:ext cx="12025328" cy="6264688"/>
            <a:chOff x="-168688" y="-171392"/>
            <a:chExt cx="12025328" cy="6264688"/>
          </a:xfrm>
        </p:grpSpPr>
        <p:cxnSp>
          <p:nvCxnSpPr>
            <p:cNvPr id="1988" name="Gerader Verbinder 1987">
              <a:extLst>
                <a:ext uri="{FF2B5EF4-FFF2-40B4-BE49-F238E27FC236}">
                  <a16:creationId xmlns:a16="http://schemas.microsoft.com/office/drawing/2014/main" id="{7B4575E6-2731-4587-925B-99C513485376}"/>
                </a:ext>
              </a:extLst>
            </p:cNvPr>
            <p:cNvCxnSpPr/>
            <p:nvPr userDrawn="1"/>
          </p:nvCxnSpPr>
          <p:spPr bwMode="gray">
            <a:xfrm>
              <a:off x="33536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1" name="Gerader Verbinder 1990">
              <a:extLst>
                <a:ext uri="{FF2B5EF4-FFF2-40B4-BE49-F238E27FC236}">
                  <a16:creationId xmlns:a16="http://schemas.microsoft.com/office/drawing/2014/main" id="{286FCC38-B47A-497C-8CE1-57D491A4772C}"/>
                </a:ext>
              </a:extLst>
            </p:cNvPr>
            <p:cNvCxnSpPr/>
            <p:nvPr userDrawn="1"/>
          </p:nvCxnSpPr>
          <p:spPr bwMode="gray">
            <a:xfrm>
              <a:off x="91142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2" name="Gerader Verbinder 1991">
              <a:extLst>
                <a:ext uri="{FF2B5EF4-FFF2-40B4-BE49-F238E27FC236}">
                  <a16:creationId xmlns:a16="http://schemas.microsoft.com/office/drawing/2014/main" id="{E7E2DA61-EB2A-4DC7-AB9B-8DC6F2C31F4F}"/>
                </a:ext>
              </a:extLst>
            </p:cNvPr>
            <p:cNvCxnSpPr/>
            <p:nvPr userDrawn="1"/>
          </p:nvCxnSpPr>
          <p:spPr bwMode="gray">
            <a:xfrm>
              <a:off x="148748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3" name="Gerader Verbinder 1992">
              <a:extLst>
                <a:ext uri="{FF2B5EF4-FFF2-40B4-BE49-F238E27FC236}">
                  <a16:creationId xmlns:a16="http://schemas.microsoft.com/office/drawing/2014/main" id="{CEBDAFAB-3C41-49C9-BE77-D6CB0515C56F}"/>
                </a:ext>
              </a:extLst>
            </p:cNvPr>
            <p:cNvCxnSpPr/>
            <p:nvPr userDrawn="1"/>
          </p:nvCxnSpPr>
          <p:spPr bwMode="gray">
            <a:xfrm>
              <a:off x="206355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4" name="Gerader Verbinder 1993">
              <a:extLst>
                <a:ext uri="{FF2B5EF4-FFF2-40B4-BE49-F238E27FC236}">
                  <a16:creationId xmlns:a16="http://schemas.microsoft.com/office/drawing/2014/main" id="{ADC8D67D-7DB5-4EC4-8F79-DB3E771A1432}"/>
                </a:ext>
              </a:extLst>
            </p:cNvPr>
            <p:cNvCxnSpPr/>
            <p:nvPr userDrawn="1"/>
          </p:nvCxnSpPr>
          <p:spPr bwMode="gray">
            <a:xfrm>
              <a:off x="263961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5" name="Gerader Verbinder 1994">
              <a:extLst>
                <a:ext uri="{FF2B5EF4-FFF2-40B4-BE49-F238E27FC236}">
                  <a16:creationId xmlns:a16="http://schemas.microsoft.com/office/drawing/2014/main" id="{C19895E4-5772-4EDF-821F-D609D107F430}"/>
                </a:ext>
              </a:extLst>
            </p:cNvPr>
            <p:cNvCxnSpPr/>
            <p:nvPr userDrawn="1"/>
          </p:nvCxnSpPr>
          <p:spPr bwMode="gray">
            <a:xfrm>
              <a:off x="321568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6" name="Gerader Verbinder 1995">
              <a:extLst>
                <a:ext uri="{FF2B5EF4-FFF2-40B4-BE49-F238E27FC236}">
                  <a16:creationId xmlns:a16="http://schemas.microsoft.com/office/drawing/2014/main" id="{6907C3B5-E910-4679-8CC7-20E68F75D084}"/>
                </a:ext>
              </a:extLst>
            </p:cNvPr>
            <p:cNvCxnSpPr/>
            <p:nvPr userDrawn="1"/>
          </p:nvCxnSpPr>
          <p:spPr bwMode="gray">
            <a:xfrm>
              <a:off x="379174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7" name="Gerader Verbinder 1996">
              <a:extLst>
                <a:ext uri="{FF2B5EF4-FFF2-40B4-BE49-F238E27FC236}">
                  <a16:creationId xmlns:a16="http://schemas.microsoft.com/office/drawing/2014/main" id="{64D80D57-9DAC-47DB-A0FE-9266090F555E}"/>
                </a:ext>
              </a:extLst>
            </p:cNvPr>
            <p:cNvCxnSpPr/>
            <p:nvPr userDrawn="1"/>
          </p:nvCxnSpPr>
          <p:spPr bwMode="gray">
            <a:xfrm>
              <a:off x="436780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8" name="Gerader Verbinder 1997">
              <a:extLst>
                <a:ext uri="{FF2B5EF4-FFF2-40B4-BE49-F238E27FC236}">
                  <a16:creationId xmlns:a16="http://schemas.microsoft.com/office/drawing/2014/main" id="{EA174A28-F638-4B82-9159-402F0B6DF95A}"/>
                </a:ext>
              </a:extLst>
            </p:cNvPr>
            <p:cNvCxnSpPr/>
            <p:nvPr userDrawn="1"/>
          </p:nvCxnSpPr>
          <p:spPr bwMode="gray">
            <a:xfrm>
              <a:off x="494387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9" name="Gerader Verbinder 1998">
              <a:extLst>
                <a:ext uri="{FF2B5EF4-FFF2-40B4-BE49-F238E27FC236}">
                  <a16:creationId xmlns:a16="http://schemas.microsoft.com/office/drawing/2014/main" id="{CC6886C7-AA78-47E8-B08E-2511D8D32A16}"/>
                </a:ext>
              </a:extLst>
            </p:cNvPr>
            <p:cNvCxnSpPr/>
            <p:nvPr userDrawn="1"/>
          </p:nvCxnSpPr>
          <p:spPr bwMode="gray">
            <a:xfrm>
              <a:off x="551993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0" name="Gerader Verbinder 1999">
              <a:extLst>
                <a:ext uri="{FF2B5EF4-FFF2-40B4-BE49-F238E27FC236}">
                  <a16:creationId xmlns:a16="http://schemas.microsoft.com/office/drawing/2014/main" id="{14E1BDCB-0ACE-41D2-AB7A-8C2086E96C74}"/>
                </a:ext>
              </a:extLst>
            </p:cNvPr>
            <p:cNvCxnSpPr/>
            <p:nvPr userDrawn="1"/>
          </p:nvCxnSpPr>
          <p:spPr bwMode="gray">
            <a:xfrm>
              <a:off x="609600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1" name="Gerader Verbinder 2000">
              <a:extLst>
                <a:ext uri="{FF2B5EF4-FFF2-40B4-BE49-F238E27FC236}">
                  <a16:creationId xmlns:a16="http://schemas.microsoft.com/office/drawing/2014/main" id="{0F93CF00-6A9A-4F0C-B76E-D76DE7FCDA6E}"/>
                </a:ext>
              </a:extLst>
            </p:cNvPr>
            <p:cNvCxnSpPr/>
            <p:nvPr userDrawn="1"/>
          </p:nvCxnSpPr>
          <p:spPr bwMode="gray">
            <a:xfrm>
              <a:off x="667206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2" name="Gerader Verbinder 2001">
              <a:extLst>
                <a:ext uri="{FF2B5EF4-FFF2-40B4-BE49-F238E27FC236}">
                  <a16:creationId xmlns:a16="http://schemas.microsoft.com/office/drawing/2014/main" id="{DA2000B2-D219-4FF4-9CE5-F046E74A5FBD}"/>
                </a:ext>
              </a:extLst>
            </p:cNvPr>
            <p:cNvCxnSpPr/>
            <p:nvPr userDrawn="1"/>
          </p:nvCxnSpPr>
          <p:spPr bwMode="gray">
            <a:xfrm>
              <a:off x="724812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3" name="Gerader Verbinder 2002">
              <a:extLst>
                <a:ext uri="{FF2B5EF4-FFF2-40B4-BE49-F238E27FC236}">
                  <a16:creationId xmlns:a16="http://schemas.microsoft.com/office/drawing/2014/main" id="{DA400DDF-2C4C-4D4D-B238-950174E78634}"/>
                </a:ext>
              </a:extLst>
            </p:cNvPr>
            <p:cNvCxnSpPr/>
            <p:nvPr userDrawn="1"/>
          </p:nvCxnSpPr>
          <p:spPr bwMode="gray">
            <a:xfrm>
              <a:off x="782419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4" name="Gerader Verbinder 2003">
              <a:extLst>
                <a:ext uri="{FF2B5EF4-FFF2-40B4-BE49-F238E27FC236}">
                  <a16:creationId xmlns:a16="http://schemas.microsoft.com/office/drawing/2014/main" id="{ACB6F409-0091-46AC-A098-41878CB18AD3}"/>
                </a:ext>
              </a:extLst>
            </p:cNvPr>
            <p:cNvCxnSpPr/>
            <p:nvPr userDrawn="1"/>
          </p:nvCxnSpPr>
          <p:spPr bwMode="gray">
            <a:xfrm>
              <a:off x="840025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5" name="Gerader Verbinder 2004">
              <a:extLst>
                <a:ext uri="{FF2B5EF4-FFF2-40B4-BE49-F238E27FC236}">
                  <a16:creationId xmlns:a16="http://schemas.microsoft.com/office/drawing/2014/main" id="{BAEF84EA-CD5B-4715-B652-DCF44413D83A}"/>
                </a:ext>
              </a:extLst>
            </p:cNvPr>
            <p:cNvCxnSpPr/>
            <p:nvPr userDrawn="1"/>
          </p:nvCxnSpPr>
          <p:spPr bwMode="gray">
            <a:xfrm>
              <a:off x="897632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6" name="Gerader Verbinder 2005">
              <a:extLst>
                <a:ext uri="{FF2B5EF4-FFF2-40B4-BE49-F238E27FC236}">
                  <a16:creationId xmlns:a16="http://schemas.microsoft.com/office/drawing/2014/main" id="{250D91DF-0DF2-4853-B307-4E7CD5575E70}"/>
                </a:ext>
              </a:extLst>
            </p:cNvPr>
            <p:cNvCxnSpPr/>
            <p:nvPr userDrawn="1"/>
          </p:nvCxnSpPr>
          <p:spPr bwMode="gray">
            <a:xfrm>
              <a:off x="955238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7" name="Gerader Verbinder 2006">
              <a:extLst>
                <a:ext uri="{FF2B5EF4-FFF2-40B4-BE49-F238E27FC236}">
                  <a16:creationId xmlns:a16="http://schemas.microsoft.com/office/drawing/2014/main" id="{E5AF36ED-FE61-4590-9DBA-4396FC75EE0E}"/>
                </a:ext>
              </a:extLst>
            </p:cNvPr>
            <p:cNvCxnSpPr/>
            <p:nvPr userDrawn="1"/>
          </p:nvCxnSpPr>
          <p:spPr bwMode="gray">
            <a:xfrm>
              <a:off x="1012844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9" name="Gerader Verbinder 2008">
              <a:extLst>
                <a:ext uri="{FF2B5EF4-FFF2-40B4-BE49-F238E27FC236}">
                  <a16:creationId xmlns:a16="http://schemas.microsoft.com/office/drawing/2014/main" id="{65A217BB-E2DA-455E-920E-DC757A566A1A}"/>
                </a:ext>
              </a:extLst>
            </p:cNvPr>
            <p:cNvCxnSpPr/>
            <p:nvPr userDrawn="1"/>
          </p:nvCxnSpPr>
          <p:spPr bwMode="gray">
            <a:xfrm>
              <a:off x="1070451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0" name="Gerader Verbinder 2009">
              <a:extLst>
                <a:ext uri="{FF2B5EF4-FFF2-40B4-BE49-F238E27FC236}">
                  <a16:creationId xmlns:a16="http://schemas.microsoft.com/office/drawing/2014/main" id="{883BDCC0-4D72-4BAB-A432-801731FA68A8}"/>
                </a:ext>
              </a:extLst>
            </p:cNvPr>
            <p:cNvCxnSpPr/>
            <p:nvPr userDrawn="1"/>
          </p:nvCxnSpPr>
          <p:spPr bwMode="gray">
            <a:xfrm>
              <a:off x="1185664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1" name="Gerader Verbinder 2010">
              <a:extLst>
                <a:ext uri="{FF2B5EF4-FFF2-40B4-BE49-F238E27FC236}">
                  <a16:creationId xmlns:a16="http://schemas.microsoft.com/office/drawing/2014/main" id="{93E0E72D-DF42-4C57-991D-BB5BDAEFCCF1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296999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2" name="Gerader Verbinder 2011">
              <a:extLst>
                <a:ext uri="{FF2B5EF4-FFF2-40B4-BE49-F238E27FC236}">
                  <a16:creationId xmlns:a16="http://schemas.microsoft.com/office/drawing/2014/main" id="{4D0A005F-C7AE-49D2-BFA0-ED2D586C2887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873029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4" name="Gerader Verbinder 2013">
              <a:extLst>
                <a:ext uri="{FF2B5EF4-FFF2-40B4-BE49-F238E27FC236}">
                  <a16:creationId xmlns:a16="http://schemas.microsoft.com/office/drawing/2014/main" id="{26595783-7549-4C9B-9C93-A848D48FCCC2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1449059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5" name="Gerader Verbinder 2014">
              <a:extLst>
                <a:ext uri="{FF2B5EF4-FFF2-40B4-BE49-F238E27FC236}">
                  <a16:creationId xmlns:a16="http://schemas.microsoft.com/office/drawing/2014/main" id="{EAF215C7-207D-4CE6-A818-C147ED9E57D4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2025089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6" name="Gerader Verbinder 2015">
              <a:extLst>
                <a:ext uri="{FF2B5EF4-FFF2-40B4-BE49-F238E27FC236}">
                  <a16:creationId xmlns:a16="http://schemas.microsoft.com/office/drawing/2014/main" id="{1115E2D6-82A8-4E5D-98D5-9AEE533F6689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2601119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7" name="Gerader Verbinder 2016">
              <a:extLst>
                <a:ext uri="{FF2B5EF4-FFF2-40B4-BE49-F238E27FC236}">
                  <a16:creationId xmlns:a16="http://schemas.microsoft.com/office/drawing/2014/main" id="{886C7CAF-BEEC-4362-A0BF-474EE9DF287E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3177149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8" name="Gerader Verbinder 2017">
              <a:extLst>
                <a:ext uri="{FF2B5EF4-FFF2-40B4-BE49-F238E27FC236}">
                  <a16:creationId xmlns:a16="http://schemas.microsoft.com/office/drawing/2014/main" id="{17724FEC-67E8-447A-A6D6-779814D4F8DE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3753179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9" name="Gerader Verbinder 2018">
              <a:extLst>
                <a:ext uri="{FF2B5EF4-FFF2-40B4-BE49-F238E27FC236}">
                  <a16:creationId xmlns:a16="http://schemas.microsoft.com/office/drawing/2014/main" id="{30A47E8D-17CB-4B1B-A09B-2DAC4E36B9A9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4329209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0" name="Gerader Verbinder 2019">
              <a:extLst>
                <a:ext uri="{FF2B5EF4-FFF2-40B4-BE49-F238E27FC236}">
                  <a16:creationId xmlns:a16="http://schemas.microsoft.com/office/drawing/2014/main" id="{9FE82459-C0B9-499A-9368-15E2B73843A7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4905239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1" name="Gerader Verbinder 2020">
              <a:extLst>
                <a:ext uri="{FF2B5EF4-FFF2-40B4-BE49-F238E27FC236}">
                  <a16:creationId xmlns:a16="http://schemas.microsoft.com/office/drawing/2014/main" id="{AD93B010-0F95-4B03-85B0-30CCCDACDA74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5481269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2" name="Gerader Verbinder 2021">
              <a:extLst>
                <a:ext uri="{FF2B5EF4-FFF2-40B4-BE49-F238E27FC236}">
                  <a16:creationId xmlns:a16="http://schemas.microsoft.com/office/drawing/2014/main" id="{191DD3D4-3E98-46C9-ADE3-DE658CBE7937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605729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7" name="Gerader Verbinder 2116">
              <a:extLst>
                <a:ext uri="{FF2B5EF4-FFF2-40B4-BE49-F238E27FC236}">
                  <a16:creationId xmlns:a16="http://schemas.microsoft.com/office/drawing/2014/main" id="{63699FAC-0381-BD60-83A9-78026AC3A1A8}"/>
                </a:ext>
              </a:extLst>
            </p:cNvPr>
            <p:cNvCxnSpPr/>
            <p:nvPr userDrawn="1"/>
          </p:nvCxnSpPr>
          <p:spPr bwMode="gray">
            <a:xfrm>
              <a:off x="1128057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19" name="NoPlaceholder">
            <a:extLst>
              <a:ext uri="{FF2B5EF4-FFF2-40B4-BE49-F238E27FC236}">
                <a16:creationId xmlns:a16="http://schemas.microsoft.com/office/drawing/2014/main" id="{D3462AB0-C4E5-1C9B-EDF4-CE2B26E73E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2584" y="6713983"/>
            <a:ext cx="504056" cy="144017"/>
          </a:xfrm>
          <a:prstGeom prst="rect">
            <a:avLst/>
          </a:prstGeom>
          <a:ln>
            <a:solidFill>
              <a:schemeClr val="bg1">
                <a:alpha val="0"/>
              </a:schemeClr>
            </a:solidFill>
          </a:ln>
        </p:spPr>
        <p:txBody>
          <a:bodyPr vert="horz" lIns="0" tIns="0" rIns="0" bIns="0" rtlCol="0" anchor="b" anchorCtr="0"/>
          <a:lstStyle>
            <a:lvl1pPr algn="r">
              <a:defRPr sz="9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FE39C4BC-14FF-4AB6-8138-D11671C6FBF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20" name="Footer Placeholder">
            <a:extLst>
              <a:ext uri="{FF2B5EF4-FFF2-40B4-BE49-F238E27FC236}">
                <a16:creationId xmlns:a16="http://schemas.microsoft.com/office/drawing/2014/main" id="{5B25912A-F862-ECF7-7F53-F0001B9F5D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87488" y="6713983"/>
            <a:ext cx="8640960" cy="144017"/>
          </a:xfrm>
          <a:prstGeom prst="rect">
            <a:avLst/>
          </a:prstGeom>
          <a:ln>
            <a:solidFill>
              <a:schemeClr val="bg1">
                <a:alpha val="0"/>
              </a:schemeClr>
            </a:solidFill>
          </a:ln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2121" name="No">
            <a:extLst>
              <a:ext uri="{FF2B5EF4-FFF2-40B4-BE49-F238E27FC236}">
                <a16:creationId xmlns:a16="http://schemas.microsoft.com/office/drawing/2014/main" id="{17A5C1DA-48FB-297E-9E18-B05BEE30FD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352584" y="6525344"/>
            <a:ext cx="504056" cy="144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r"/>
            <a:fld id="{6406CC8F-3850-4EAA-BC31-CAF984364F05}" type="slidenum">
              <a:rPr lang="en-GB" sz="900" smtClean="0">
                <a:solidFill>
                  <a:schemeClr val="tx1"/>
                </a:solidFill>
              </a:rPr>
              <a:t>‹#›</a:t>
            </a:fld>
            <a:endParaRPr lang="en-GB" sz="9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8369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5" r:id="rId1"/>
    <p:sldLayoutId id="2147484086" r:id="rId2"/>
    <p:sldLayoutId id="2147484087" r:id="rId3"/>
    <p:sldLayoutId id="2147484088" r:id="rId4"/>
    <p:sldLayoutId id="2147484089" r:id="rId5"/>
    <p:sldLayoutId id="2147484090" r:id="rId6"/>
    <p:sldLayoutId id="2147484091" r:id="rId7"/>
    <p:sldLayoutId id="2147484092" r:id="rId8"/>
    <p:sldLayoutId id="2147484093" r:id="rId9"/>
    <p:sldLayoutId id="2147484094" r:id="rId10"/>
    <p:sldLayoutId id="2147484095" r:id="rId11"/>
    <p:sldLayoutId id="2147484096" r:id="rId12"/>
    <p:sldLayoutId id="2147484099" r:id="rId13"/>
    <p:sldLayoutId id="2147484100" r:id="rId14"/>
    <p:sldLayoutId id="2147484101" r:id="rId15"/>
    <p:sldLayoutId id="2147484102" r:id="rId16"/>
    <p:sldLayoutId id="2147484103" r:id="rId17"/>
    <p:sldLayoutId id="2147484104" r:id="rId18"/>
    <p:sldLayoutId id="2147484105" r:id="rId19"/>
    <p:sldLayoutId id="2147484106" r:id="rId20"/>
    <p:sldLayoutId id="2147484107" r:id="rId21"/>
    <p:sldLayoutId id="2147484108" r:id="rId22"/>
    <p:sldLayoutId id="2147484109" r:id="rId23"/>
    <p:sldLayoutId id="2147484110" r:id="rId24"/>
    <p:sldLayoutId id="2147484111" r:id="rId25"/>
    <p:sldLayoutId id="2147484112" r:id="rId26"/>
    <p:sldLayoutId id="2147484113" r:id="rId27"/>
    <p:sldLayoutId id="2147484114" r:id="rId28"/>
    <p:sldLayoutId id="2147484115" r:id="rId29"/>
    <p:sldLayoutId id="2147484116" r:id="rId30"/>
    <p:sldLayoutId id="2147484117" r:id="rId31"/>
    <p:sldLayoutId id="2147484118" r:id="rId32"/>
    <p:sldLayoutId id="2147484119" r:id="rId33"/>
    <p:sldLayoutId id="2147484120" r:id="rId34"/>
    <p:sldLayoutId id="2147484121" r:id="rId35"/>
    <p:sldLayoutId id="2147484122" r:id="rId36"/>
    <p:sldLayoutId id="2147484123" r:id="rId37"/>
    <p:sldLayoutId id="2147484124" r:id="rId38"/>
    <p:sldLayoutId id="2147484125" r:id="rId39"/>
    <p:sldLayoutId id="2147484126" r:id="rId40"/>
    <p:sldLayoutId id="2147484127" r:id="rId41"/>
    <p:sldLayoutId id="2147484128" r:id="rId42"/>
    <p:sldLayoutId id="2147484129" r:id="rId43"/>
    <p:sldLayoutId id="2147484130" r:id="rId44"/>
    <p:sldLayoutId id="2147484131" r:id="rId45"/>
    <p:sldLayoutId id="2147484132" r:id="rId46"/>
    <p:sldLayoutId id="2147484133" r:id="rId47"/>
    <p:sldLayoutId id="2147484134" r:id="rId48"/>
    <p:sldLayoutId id="2147484135" r:id="rId49"/>
    <p:sldLayoutId id="2147484136" r:id="rId50"/>
    <p:sldLayoutId id="2147484137" r:id="rId51"/>
    <p:sldLayoutId id="2147484138" r:id="rId52"/>
    <p:sldLayoutId id="2147484139" r:id="rId53"/>
    <p:sldLayoutId id="2147484140" r:id="rId54"/>
    <p:sldLayoutId id="2147484141" r:id="rId55"/>
    <p:sldLayoutId id="2147484142" r:id="rId56"/>
    <p:sldLayoutId id="2147484143" r:id="rId57"/>
    <p:sldLayoutId id="2147484144" r:id="rId58"/>
    <p:sldLayoutId id="2147484145" r:id="rId59"/>
    <p:sldLayoutId id="2147484146" r:id="rId60"/>
    <p:sldLayoutId id="2147484147" r:id="rId61"/>
    <p:sldLayoutId id="2147484148" r:id="rId62"/>
    <p:sldLayoutId id="2147484149" r:id="rId63"/>
    <p:sldLayoutId id="2147484150" r:id="rId64"/>
    <p:sldLayoutId id="2147484151" r:id="rId65"/>
    <p:sldLayoutId id="2147484152" r:id="rId66"/>
    <p:sldLayoutId id="2147484153" r:id="rId67"/>
    <p:sldLayoutId id="2147484154" r:id="rId68"/>
    <p:sldLayoutId id="2147484155" r:id="rId69"/>
    <p:sldLayoutId id="2147484156" r:id="rId70"/>
    <p:sldLayoutId id="2147484157" r:id="rId71"/>
    <p:sldLayoutId id="2147484158" r:id="rId72"/>
    <p:sldLayoutId id="2147484159" r:id="rId73"/>
    <p:sldLayoutId id="2147484160" r:id="rId74"/>
    <p:sldLayoutId id="2147484161" r:id="rId75"/>
    <p:sldLayoutId id="2147484162" r:id="rId76"/>
    <p:sldLayoutId id="2147484163" r:id="rId77"/>
    <p:sldLayoutId id="2147484164" r:id="rId78"/>
    <p:sldLayoutId id="2147484165" r:id="rId79"/>
    <p:sldLayoutId id="2147484166" r:id="rId80"/>
    <p:sldLayoutId id="2147484167" r:id="rId81"/>
    <p:sldLayoutId id="2147484168" r:id="rId82"/>
    <p:sldLayoutId id="2147484169" r:id="rId83"/>
    <p:sldLayoutId id="2147484170" r:id="rId84"/>
    <p:sldLayoutId id="2147484171" r:id="rId85"/>
    <p:sldLayoutId id="2147484172" r:id="rId86"/>
    <p:sldLayoutId id="2147484173" r:id="rId87"/>
    <p:sldLayoutId id="2147484174" r:id="rId88"/>
    <p:sldLayoutId id="2147484175" r:id="rId89"/>
    <p:sldLayoutId id="2147484176" r:id="rId90"/>
    <p:sldLayoutId id="2147484177" r:id="rId91"/>
    <p:sldLayoutId id="2147484178" r:id="rId92"/>
    <p:sldLayoutId id="2147484179" r:id="rId93"/>
    <p:sldLayoutId id="2147484180" r:id="rId94"/>
    <p:sldLayoutId id="2147484181" r:id="rId95"/>
    <p:sldLayoutId id="2147484182" r:id="rId96"/>
    <p:sldLayoutId id="2147484183" r:id="rId97"/>
    <p:sldLayoutId id="2147484184" r:id="rId98"/>
    <p:sldLayoutId id="2147484185" r:id="rId99"/>
    <p:sldLayoutId id="2147484186" r:id="rId100"/>
    <p:sldLayoutId id="2147484187" r:id="rId101"/>
    <p:sldLayoutId id="2147484188" r:id="rId102"/>
    <p:sldLayoutId id="2147484189" r:id="rId103"/>
    <p:sldLayoutId id="2147484190" r:id="rId104"/>
    <p:sldLayoutId id="2147484191" r:id="rId105"/>
    <p:sldLayoutId id="2147484192" r:id="rId106"/>
    <p:sldLayoutId id="2147484193" r:id="rId107"/>
    <p:sldLayoutId id="2147484194" r:id="rId108"/>
    <p:sldLayoutId id="2147484195" r:id="rId109"/>
    <p:sldLayoutId id="2147484196" r:id="rId110"/>
    <p:sldLayoutId id="2147484197" r:id="rId111"/>
    <p:sldLayoutId id="2147484198" r:id="rId112"/>
    <p:sldLayoutId id="2147484199" r:id="rId113"/>
    <p:sldLayoutId id="2147484200" r:id="rId114"/>
    <p:sldLayoutId id="2147484201" r:id="rId115"/>
    <p:sldLayoutId id="2147484202" r:id="rId116"/>
    <p:sldLayoutId id="2147484203" r:id="rId117"/>
    <p:sldLayoutId id="2147484204" r:id="rId118"/>
    <p:sldLayoutId id="2147484205" r:id="rId119"/>
    <p:sldLayoutId id="2147484206" r:id="rId120"/>
    <p:sldLayoutId id="2147484207" r:id="rId121"/>
  </p:sldLayoutIdLst>
  <p:hf sldNum="0"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1000"/>
        </a:spcBef>
        <a:buClrTx/>
        <a:buSzPct val="80000"/>
        <a:buFont typeface="Wingdings" panose="05000000000000000000" pitchFamily="2" charset="2"/>
        <a:buChar char="n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42925" indent="-276225" algn="l" defTabSz="914400" rtl="0" eaLnBrk="1" latinLnBrk="0" hangingPunct="1">
        <a:lnSpc>
          <a:spcPct val="100000"/>
        </a:lnSpc>
        <a:spcBef>
          <a:spcPts val="1000"/>
        </a:spcBef>
        <a:buClrTx/>
        <a:buSzPct val="80000"/>
        <a:buFont typeface="Wingdings" panose="05000000000000000000" pitchFamily="2" charset="2"/>
        <a:buChar char="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9625" indent="-266700" algn="l" defTabSz="914400" rtl="0" eaLnBrk="1" latinLnBrk="0" hangingPunct="1">
        <a:lnSpc>
          <a:spcPct val="100000"/>
        </a:lnSpc>
        <a:spcBef>
          <a:spcPts val="1000"/>
        </a:spcBef>
        <a:buClrTx/>
        <a:buSzPct val="100000"/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1000"/>
        </a:spcBef>
        <a:buClrTx/>
        <a:buSzPct val="80000"/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1000"/>
        </a:spcBef>
        <a:buClrTx/>
        <a:buFont typeface="Wingdings 2" panose="05020102010507070707" pitchFamily="18" charset="2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66700" indent="-266700" algn="l" defTabSz="914400" rtl="0" eaLnBrk="1" latinLnBrk="0" hangingPunct="1">
        <a:lnSpc>
          <a:spcPct val="100000"/>
        </a:lnSpc>
        <a:spcBef>
          <a:spcPts val="600"/>
        </a:spcBef>
        <a:buClrTx/>
        <a:buSzPct val="80000"/>
        <a:buFont typeface="Wingdings" panose="05000000000000000000" pitchFamily="2" charset="2"/>
        <a:buChar char="n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542925" indent="-276225" algn="l" defTabSz="914400" rtl="0" eaLnBrk="1" latinLnBrk="0" hangingPunct="1">
        <a:lnSpc>
          <a:spcPct val="100000"/>
        </a:lnSpc>
        <a:spcBef>
          <a:spcPts val="600"/>
        </a:spcBef>
        <a:buClrTx/>
        <a:buSzPct val="80000"/>
        <a:buFont typeface="Wingdings" panose="05000000000000000000" pitchFamily="2" charset="2"/>
        <a:buChar char="o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7pPr>
      <a:lvl8pPr marL="809625" indent="-266700" algn="l" defTabSz="914400" rtl="0" eaLnBrk="1" latinLnBrk="0" hangingPunct="1">
        <a:lnSpc>
          <a:spcPct val="100000"/>
        </a:lnSpc>
        <a:spcBef>
          <a:spcPts val="600"/>
        </a:spcBef>
        <a:buClrTx/>
        <a:buSzPct val="100000"/>
        <a:buFont typeface="Courier New" panose="02070309020205020404" pitchFamily="49" charset="0"/>
        <a:buChar char="o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809625" indent="-266700" algn="l" defTabSz="914400" rtl="0" eaLnBrk="1" latinLnBrk="0" hangingPunct="1">
        <a:lnSpc>
          <a:spcPct val="100000"/>
        </a:lnSpc>
        <a:spcBef>
          <a:spcPts val="600"/>
        </a:spcBef>
        <a:buClrTx/>
        <a:buSzPct val="100000"/>
        <a:buFont typeface="Courier New" panose="02070309020205020404" pitchFamily="49" charset="0"/>
        <a:buChar char="o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" name="Column Markers Bottom">
            <a:extLst>
              <a:ext uri="{FF2B5EF4-FFF2-40B4-BE49-F238E27FC236}">
                <a16:creationId xmlns:a16="http://schemas.microsoft.com/office/drawing/2014/main" id="{E1D6B4B9-1099-AE79-D01E-0EAEC19E45AF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292100" y="6871945"/>
            <a:ext cx="11607801" cy="163023"/>
            <a:chOff x="292100" y="6871945"/>
            <a:chExt cx="11607801" cy="163023"/>
          </a:xfrm>
        </p:grpSpPr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BE110526-ADF0-FAFE-E6F6-7C0C9BCC4779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 rot="10800000">
              <a:off x="292100" y="6871945"/>
              <a:ext cx="11607801" cy="137160"/>
              <a:chOff x="292100" y="-165576"/>
              <a:chExt cx="11607801" cy="137160"/>
            </a:xfrm>
          </p:grpSpPr>
          <p:cxnSp>
            <p:nvCxnSpPr>
              <p:cNvPr id="153" name="Straight Connector 152">
                <a:extLst>
                  <a:ext uri="{FF2B5EF4-FFF2-40B4-BE49-F238E27FC236}">
                    <a16:creationId xmlns:a16="http://schemas.microsoft.com/office/drawing/2014/main" id="{80A4DF54-7035-6C14-2C30-2B436C500B8E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292100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>
                <a:extLst>
                  <a:ext uri="{FF2B5EF4-FFF2-40B4-BE49-F238E27FC236}">
                    <a16:creationId xmlns:a16="http://schemas.microsoft.com/office/drawing/2014/main" id="{670D1442-8E01-B2E8-926B-7888C14EFD17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1049338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>
                <a:extLst>
                  <a:ext uri="{FF2B5EF4-FFF2-40B4-BE49-F238E27FC236}">
                    <a16:creationId xmlns:a16="http://schemas.microsoft.com/office/drawing/2014/main" id="{90532B25-CA4D-3B6A-6E0F-1B2848BEE2A2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1277937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>
                <a:extLst>
                  <a:ext uri="{FF2B5EF4-FFF2-40B4-BE49-F238E27FC236}">
                    <a16:creationId xmlns:a16="http://schemas.microsoft.com/office/drawing/2014/main" id="{F267E6E1-987D-98AF-DF0F-3B2926D01225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2035175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>
                <a:extLst>
                  <a:ext uri="{FF2B5EF4-FFF2-40B4-BE49-F238E27FC236}">
                    <a16:creationId xmlns:a16="http://schemas.microsoft.com/office/drawing/2014/main" id="{D2A9C692-7128-365D-B823-06548244B596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2265363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>
                <a:extLst>
                  <a:ext uri="{FF2B5EF4-FFF2-40B4-BE49-F238E27FC236}">
                    <a16:creationId xmlns:a16="http://schemas.microsoft.com/office/drawing/2014/main" id="{04F05B7A-E93D-CFB9-B6F9-1B2BF080916F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3022601" y="-165576"/>
                <a:ext cx="0" cy="137160"/>
              </a:xfrm>
              <a:prstGeom prst="line">
                <a:avLst/>
              </a:prstGeom>
              <a:ln w="3175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>
                <a:extLst>
                  <a:ext uri="{FF2B5EF4-FFF2-40B4-BE49-F238E27FC236}">
                    <a16:creationId xmlns:a16="http://schemas.microsoft.com/office/drawing/2014/main" id="{1B89BC66-0F9A-1EC3-7665-B83A788EEA93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3251200" y="-165576"/>
                <a:ext cx="0" cy="137160"/>
              </a:xfrm>
              <a:prstGeom prst="line">
                <a:avLst/>
              </a:prstGeom>
              <a:ln w="3175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>
                <a:extLst>
                  <a:ext uri="{FF2B5EF4-FFF2-40B4-BE49-F238E27FC236}">
                    <a16:creationId xmlns:a16="http://schemas.microsoft.com/office/drawing/2014/main" id="{5FA024A8-3261-24D4-053C-69B151F55125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4008438" y="-165576"/>
                <a:ext cx="0" cy="137160"/>
              </a:xfrm>
              <a:prstGeom prst="line">
                <a:avLst/>
              </a:prstGeom>
              <a:ln w="3175">
                <a:solidFill>
                  <a:srgbClr val="FFC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>
                <a:extLst>
                  <a:ext uri="{FF2B5EF4-FFF2-40B4-BE49-F238E27FC236}">
                    <a16:creationId xmlns:a16="http://schemas.microsoft.com/office/drawing/2014/main" id="{156CB882-2C70-5A74-3737-0DACE12E6AB6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4237037" y="-165576"/>
                <a:ext cx="0" cy="137160"/>
              </a:xfrm>
              <a:prstGeom prst="line">
                <a:avLst/>
              </a:prstGeom>
              <a:ln w="3175">
                <a:solidFill>
                  <a:srgbClr val="FFC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>
                <a:extLst>
                  <a:ext uri="{FF2B5EF4-FFF2-40B4-BE49-F238E27FC236}">
                    <a16:creationId xmlns:a16="http://schemas.microsoft.com/office/drawing/2014/main" id="{1B48B91C-853B-5024-8ACD-DDD17A239487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4994275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>
                <a:extLst>
                  <a:ext uri="{FF2B5EF4-FFF2-40B4-BE49-F238E27FC236}">
                    <a16:creationId xmlns:a16="http://schemas.microsoft.com/office/drawing/2014/main" id="{2CE81E04-31BD-6D43-C55A-C91681E50947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5222874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>
                <a:extLst>
                  <a:ext uri="{FF2B5EF4-FFF2-40B4-BE49-F238E27FC236}">
                    <a16:creationId xmlns:a16="http://schemas.microsoft.com/office/drawing/2014/main" id="{7F8CDAA3-FD28-C355-23BC-499395BE300E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5980112" y="-165576"/>
                <a:ext cx="0" cy="137160"/>
              </a:xfrm>
              <a:prstGeom prst="line">
                <a:avLst/>
              </a:prstGeom>
              <a:ln w="3175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>
                <a:extLst>
                  <a:ext uri="{FF2B5EF4-FFF2-40B4-BE49-F238E27FC236}">
                    <a16:creationId xmlns:a16="http://schemas.microsoft.com/office/drawing/2014/main" id="{3D8E9710-60CE-3DA0-7382-C73A94CB0D80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6210300" y="-165576"/>
                <a:ext cx="0" cy="137160"/>
              </a:xfrm>
              <a:prstGeom prst="line">
                <a:avLst/>
              </a:prstGeom>
              <a:ln w="3175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>
                <a:extLst>
                  <a:ext uri="{FF2B5EF4-FFF2-40B4-BE49-F238E27FC236}">
                    <a16:creationId xmlns:a16="http://schemas.microsoft.com/office/drawing/2014/main" id="{733C6AA6-13D5-5435-C02F-8F0070698D66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6967538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>
                <a:extLst>
                  <a:ext uri="{FF2B5EF4-FFF2-40B4-BE49-F238E27FC236}">
                    <a16:creationId xmlns:a16="http://schemas.microsoft.com/office/drawing/2014/main" id="{B015AFE0-C364-2ADE-866F-ED48C44A349C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7196137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>
                <a:extLst>
                  <a:ext uri="{FF2B5EF4-FFF2-40B4-BE49-F238E27FC236}">
                    <a16:creationId xmlns:a16="http://schemas.microsoft.com/office/drawing/2014/main" id="{11395D59-3589-CE2B-EE20-7EAAF4EE0DD5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7953375" y="-165576"/>
                <a:ext cx="0" cy="137160"/>
              </a:xfrm>
              <a:prstGeom prst="line">
                <a:avLst/>
              </a:prstGeom>
              <a:ln w="3175">
                <a:solidFill>
                  <a:srgbClr val="FFC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>
                <a:extLst>
                  <a:ext uri="{FF2B5EF4-FFF2-40B4-BE49-F238E27FC236}">
                    <a16:creationId xmlns:a16="http://schemas.microsoft.com/office/drawing/2014/main" id="{5DA54A0A-00B3-66C0-4D16-2A52CAD39782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9169400" y="-165576"/>
                <a:ext cx="0" cy="137160"/>
              </a:xfrm>
              <a:prstGeom prst="line">
                <a:avLst/>
              </a:prstGeom>
              <a:ln w="3175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>
                <a:extLst>
                  <a:ext uri="{FF2B5EF4-FFF2-40B4-BE49-F238E27FC236}">
                    <a16:creationId xmlns:a16="http://schemas.microsoft.com/office/drawing/2014/main" id="{AF52679F-E0D0-984E-0A9D-11E933F01859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9926638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>
                <a:extLst>
                  <a:ext uri="{FF2B5EF4-FFF2-40B4-BE49-F238E27FC236}">
                    <a16:creationId xmlns:a16="http://schemas.microsoft.com/office/drawing/2014/main" id="{20C312C4-7307-2152-5E04-277863965440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10156826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>
                <a:extLst>
                  <a:ext uri="{FF2B5EF4-FFF2-40B4-BE49-F238E27FC236}">
                    <a16:creationId xmlns:a16="http://schemas.microsoft.com/office/drawing/2014/main" id="{DD4E9147-05ED-7705-CC1F-72D71C0F6C79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10914064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>
                <a:extLst>
                  <a:ext uri="{FF2B5EF4-FFF2-40B4-BE49-F238E27FC236}">
                    <a16:creationId xmlns:a16="http://schemas.microsoft.com/office/drawing/2014/main" id="{C20E3FFB-E227-153F-ABE1-FC87F5F732AA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11142663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>
                <a:extLst>
                  <a:ext uri="{FF2B5EF4-FFF2-40B4-BE49-F238E27FC236}">
                    <a16:creationId xmlns:a16="http://schemas.microsoft.com/office/drawing/2014/main" id="{3F423C1A-2AC0-2B62-7F6A-AA998E137B0C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11899901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>
                <a:extLst>
                  <a:ext uri="{FF2B5EF4-FFF2-40B4-BE49-F238E27FC236}">
                    <a16:creationId xmlns:a16="http://schemas.microsoft.com/office/drawing/2014/main" id="{E5B626B8-ACE5-10A8-AAA1-A34285F0A471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8181975" y="-165576"/>
                <a:ext cx="0" cy="137160"/>
              </a:xfrm>
              <a:prstGeom prst="line">
                <a:avLst/>
              </a:prstGeom>
              <a:ln w="3175">
                <a:solidFill>
                  <a:srgbClr val="FFC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>
                <a:extLst>
                  <a:ext uri="{FF2B5EF4-FFF2-40B4-BE49-F238E27FC236}">
                    <a16:creationId xmlns:a16="http://schemas.microsoft.com/office/drawing/2014/main" id="{B2923CDE-FDD7-7A51-817A-A07397D5F16B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8939213" y="-165576"/>
                <a:ext cx="0" cy="137160"/>
              </a:xfrm>
              <a:prstGeom prst="line">
                <a:avLst/>
              </a:prstGeom>
              <a:ln w="3175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7" name="TextBox 176">
              <a:extLst>
                <a:ext uri="{FF2B5EF4-FFF2-40B4-BE49-F238E27FC236}">
                  <a16:creationId xmlns:a16="http://schemas.microsoft.com/office/drawing/2014/main" id="{4B728ACB-14F7-C40A-473B-317C751CD181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3086414" y="6878002"/>
              <a:ext cx="99386" cy="1569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GB" sz="600">
                  <a:solidFill>
                    <a:srgbClr val="00B0F0"/>
                  </a:solidFill>
                </a:rPr>
                <a:t>4</a:t>
              </a:r>
              <a:br>
                <a:rPr lang="en-GB" sz="600">
                  <a:solidFill>
                    <a:srgbClr val="00B0F0"/>
                  </a:solidFill>
                </a:rPr>
              </a:br>
              <a:r>
                <a:rPr lang="en-GB" sz="600">
                  <a:solidFill>
                    <a:srgbClr val="00B0F0"/>
                  </a:solidFill>
                </a:rPr>
                <a:t>col</a:t>
              </a:r>
            </a:p>
          </p:txBody>
        </p:sp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F7BA58E8-87C4-8336-7BF2-D4A38EFF668B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9000792" y="6878002"/>
              <a:ext cx="99386" cy="1569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GB" sz="600">
                  <a:solidFill>
                    <a:srgbClr val="00B0F0"/>
                  </a:solidFill>
                </a:rPr>
                <a:t>4</a:t>
              </a:r>
              <a:br>
                <a:rPr lang="en-GB" sz="600">
                  <a:solidFill>
                    <a:srgbClr val="00B0F0"/>
                  </a:solidFill>
                </a:rPr>
              </a:br>
              <a:r>
                <a:rPr lang="en-GB" sz="600">
                  <a:solidFill>
                    <a:srgbClr val="00B0F0"/>
                  </a:solidFill>
                </a:rPr>
                <a:t>col</a:t>
              </a:r>
            </a:p>
          </p:txBody>
        </p:sp>
        <p:sp>
          <p:nvSpPr>
            <p:cNvPr id="179" name="TextBox 178">
              <a:extLst>
                <a:ext uri="{FF2B5EF4-FFF2-40B4-BE49-F238E27FC236}">
                  <a16:creationId xmlns:a16="http://schemas.microsoft.com/office/drawing/2014/main" id="{18E780D4-D62C-31AE-986F-E3882F4C3C30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6024488" y="6878002"/>
              <a:ext cx="149080" cy="1569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GB" sz="600">
                  <a:solidFill>
                    <a:srgbClr val="00B0F0"/>
                  </a:solidFill>
                </a:rPr>
                <a:t>2 / 4</a:t>
              </a:r>
              <a:br>
                <a:rPr lang="en-GB" sz="600">
                  <a:solidFill>
                    <a:srgbClr val="00B0F0"/>
                  </a:solidFill>
                </a:rPr>
              </a:br>
              <a:r>
                <a:rPr lang="en-GB" sz="600">
                  <a:solidFill>
                    <a:srgbClr val="00B0F0"/>
                  </a:solidFill>
                </a:rPr>
                <a:t>col</a:t>
              </a:r>
            </a:p>
          </p:txBody>
        </p:sp>
        <p:sp>
          <p:nvSpPr>
            <p:cNvPr id="180" name="TextBox 179">
              <a:extLst>
                <a:ext uri="{FF2B5EF4-FFF2-40B4-BE49-F238E27FC236}">
                  <a16:creationId xmlns:a16="http://schemas.microsoft.com/office/drawing/2014/main" id="{A341B576-F973-FF3B-9D70-757A51DED63E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4077661" y="6878002"/>
              <a:ext cx="99386" cy="1569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GB" sz="600">
                  <a:solidFill>
                    <a:srgbClr val="FFC000"/>
                  </a:solidFill>
                </a:rPr>
                <a:t>3</a:t>
              </a:r>
              <a:br>
                <a:rPr lang="en-GB" sz="600">
                  <a:solidFill>
                    <a:srgbClr val="FFC000"/>
                  </a:solidFill>
                </a:rPr>
              </a:br>
              <a:r>
                <a:rPr lang="en-GB" sz="600">
                  <a:solidFill>
                    <a:srgbClr val="FFC000"/>
                  </a:solidFill>
                </a:rPr>
                <a:t>col</a:t>
              </a:r>
            </a:p>
          </p:txBody>
        </p:sp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D94C725E-2F75-A1A8-2A47-9AE54AFFDF90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8013366" y="6878002"/>
              <a:ext cx="99386" cy="1569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GB" sz="600">
                  <a:solidFill>
                    <a:srgbClr val="FFC000"/>
                  </a:solidFill>
                </a:rPr>
                <a:t>3</a:t>
              </a:r>
              <a:br>
                <a:rPr lang="en-GB" sz="600">
                  <a:solidFill>
                    <a:srgbClr val="FFC000"/>
                  </a:solidFill>
                </a:rPr>
              </a:br>
              <a:r>
                <a:rPr lang="en-GB" sz="600">
                  <a:solidFill>
                    <a:srgbClr val="FFC000"/>
                  </a:solidFill>
                </a:rPr>
                <a:t>col</a:t>
              </a:r>
            </a:p>
          </p:txBody>
        </p:sp>
      </p:grpSp>
      <p:grpSp>
        <p:nvGrpSpPr>
          <p:cNvPr id="151" name="Column Markers Top">
            <a:extLst>
              <a:ext uri="{FF2B5EF4-FFF2-40B4-BE49-F238E27FC236}">
                <a16:creationId xmlns:a16="http://schemas.microsoft.com/office/drawing/2014/main" id="{D22D9BE6-0B65-1C47-03BF-D1AB953BE5D3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292100" y="-165576"/>
            <a:ext cx="11607801" cy="137160"/>
            <a:chOff x="292100" y="-165576"/>
            <a:chExt cx="11607801" cy="137160"/>
          </a:xfrm>
        </p:grpSpPr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A1C2DAF0-B0C5-3814-F177-4D283ED86E18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292100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760C7E0C-2513-2BF9-58C7-7ED275705160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1049338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DA8C53B7-FA46-2487-2FDF-B14532D4DC6F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1277937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32117F78-F20D-7784-AFAB-33B9E45C00F5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2035175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38C8718-4726-16BF-EE37-79212A3DCD73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2265363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DE7C7E9-FC71-BAE6-B8D3-3ABEBABB121B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3022601" y="-165576"/>
              <a:ext cx="0" cy="137160"/>
            </a:xfrm>
            <a:prstGeom prst="line">
              <a:avLst/>
            </a:prstGeom>
            <a:ln w="3175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6A00B385-516E-8D52-13A9-8C3600BF4FC3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3251200" y="-165576"/>
              <a:ext cx="0" cy="137160"/>
            </a:xfrm>
            <a:prstGeom prst="line">
              <a:avLst/>
            </a:prstGeom>
            <a:ln w="3175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97BEECB8-6E26-BD06-398F-0B566BF9BBDD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4008438" y="-165576"/>
              <a:ext cx="0" cy="137160"/>
            </a:xfrm>
            <a:prstGeom prst="line">
              <a:avLst/>
            </a:prstGeom>
            <a:ln w="3175">
              <a:solidFill>
                <a:srgbClr val="FFC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CEE70E6-06A0-448E-5213-9F480BBB2168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4237037" y="-165576"/>
              <a:ext cx="0" cy="137160"/>
            </a:xfrm>
            <a:prstGeom prst="line">
              <a:avLst/>
            </a:prstGeom>
            <a:ln w="3175">
              <a:solidFill>
                <a:srgbClr val="FFC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D99AAB26-4D5A-211F-CD30-4DF8B9DB561D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4994275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C2193421-A7B5-60F1-885A-86D1AAD4C1A6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5222874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AB5A5379-3BC9-60DA-11B7-BCC88BF63626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5980112" y="-165576"/>
              <a:ext cx="0" cy="137160"/>
            </a:xfrm>
            <a:prstGeom prst="line">
              <a:avLst/>
            </a:prstGeom>
            <a:ln w="3175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387343BE-0ACB-44CE-03AA-B3F4290A4B61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6210300" y="-165576"/>
              <a:ext cx="0" cy="137160"/>
            </a:xfrm>
            <a:prstGeom prst="line">
              <a:avLst/>
            </a:prstGeom>
            <a:ln w="3175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F30D142D-B1E9-9CBF-97EF-00A42B7BC5FE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6967538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732EA936-B37E-FA24-83D8-1DEE414B5F82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7196137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3BE1C96A-624D-767C-6715-0D9623297663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7953375" y="-165576"/>
              <a:ext cx="0" cy="137160"/>
            </a:xfrm>
            <a:prstGeom prst="line">
              <a:avLst/>
            </a:prstGeom>
            <a:ln w="3175">
              <a:solidFill>
                <a:srgbClr val="FFC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DBF0FBA6-1F05-149A-AD58-63F474363036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9169400" y="-165576"/>
              <a:ext cx="0" cy="137160"/>
            </a:xfrm>
            <a:prstGeom prst="line">
              <a:avLst/>
            </a:prstGeom>
            <a:ln w="3175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56C9AC2C-8889-C695-8160-7D43B07CBEBB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9926638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3521B7C-5C33-9A4C-FBD4-E8303128C409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10156826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31597926-2F92-C2A6-EC39-92172371F51E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10914064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1FE0C9B9-B779-6459-B1D3-0E89CB20C7A8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11142663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D7A92DD3-EDC2-277F-7A79-16F1FC1A8DD1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11899901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259978F6-C812-F2EB-2011-738453334C4C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8181975" y="-165576"/>
              <a:ext cx="0" cy="137160"/>
            </a:xfrm>
            <a:prstGeom prst="line">
              <a:avLst/>
            </a:prstGeom>
            <a:ln w="3175">
              <a:solidFill>
                <a:srgbClr val="FFC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974B9070-6CE7-2988-15D6-7BCD628C78AA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8939213" y="-165576"/>
              <a:ext cx="0" cy="137160"/>
            </a:xfrm>
            <a:prstGeom prst="line">
              <a:avLst/>
            </a:prstGeom>
            <a:ln w="3175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3" name="Horizontal Markers Left">
            <a:extLst>
              <a:ext uri="{FF2B5EF4-FFF2-40B4-BE49-F238E27FC236}">
                <a16:creationId xmlns:a16="http://schemas.microsoft.com/office/drawing/2014/main" id="{2E8F5572-A6C5-0D61-4663-94740861ECFF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-118744" y="304484"/>
            <a:ext cx="91440" cy="5804216"/>
            <a:chOff x="-106044" y="304484"/>
            <a:chExt cx="91440" cy="5804216"/>
          </a:xfrm>
        </p:grpSpPr>
        <p:cxnSp>
          <p:nvCxnSpPr>
            <p:cNvPr id="205" name="Straight Connector 204">
              <a:extLst>
                <a:ext uri="{FF2B5EF4-FFF2-40B4-BE49-F238E27FC236}">
                  <a16:creationId xmlns:a16="http://schemas.microsoft.com/office/drawing/2014/main" id="{52085DA4-FA3C-5517-7394-7B8C7198E8EC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 rot="5400000">
              <a:off x="-60324" y="258764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>
              <a:extLst>
                <a:ext uri="{FF2B5EF4-FFF2-40B4-BE49-F238E27FC236}">
                  <a16:creationId xmlns:a16="http://schemas.microsoft.com/office/drawing/2014/main" id="{B73C6FFB-4043-5FA4-B1B9-8A2CD4468FD2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 rot="5400000">
              <a:off x="-60324" y="6062980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9" name="Group 208">
              <a:extLst>
                <a:ext uri="{FF2B5EF4-FFF2-40B4-BE49-F238E27FC236}">
                  <a16:creationId xmlns:a16="http://schemas.microsoft.com/office/drawing/2014/main" id="{DE7F5164-5687-39B8-50AA-9C06AE869BD5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>
              <a:off x="-106044" y="1219200"/>
              <a:ext cx="91440" cy="419100"/>
              <a:chOff x="-106044" y="1219200"/>
              <a:chExt cx="91440" cy="419100"/>
            </a:xfrm>
          </p:grpSpPr>
          <p:cxnSp>
            <p:nvCxnSpPr>
              <p:cNvPr id="206" name="Straight Connector 205">
                <a:extLst>
                  <a:ext uri="{FF2B5EF4-FFF2-40B4-BE49-F238E27FC236}">
                    <a16:creationId xmlns:a16="http://schemas.microsoft.com/office/drawing/2014/main" id="{6D174423-67A1-6BA0-F32A-B87768D85638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5400000">
                <a:off x="-60324" y="1173480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8" name="Straight Connector 207">
                <a:extLst>
                  <a:ext uri="{FF2B5EF4-FFF2-40B4-BE49-F238E27FC236}">
                    <a16:creationId xmlns:a16="http://schemas.microsoft.com/office/drawing/2014/main" id="{DC407528-7F4C-9C51-0701-8674D84860BF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5400000">
                <a:off x="-60324" y="1592580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0" name="Group 209">
              <a:extLst>
                <a:ext uri="{FF2B5EF4-FFF2-40B4-BE49-F238E27FC236}">
                  <a16:creationId xmlns:a16="http://schemas.microsoft.com/office/drawing/2014/main" id="{744D8EC0-E0C8-6F33-8B33-9252682D5549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>
              <a:off x="-106044" y="5676900"/>
              <a:ext cx="91440" cy="431800"/>
              <a:chOff x="-106044" y="1206500"/>
              <a:chExt cx="91440" cy="431800"/>
            </a:xfrm>
          </p:grpSpPr>
          <p:cxnSp>
            <p:nvCxnSpPr>
              <p:cNvPr id="211" name="Straight Connector 210">
                <a:extLst>
                  <a:ext uri="{FF2B5EF4-FFF2-40B4-BE49-F238E27FC236}">
                    <a16:creationId xmlns:a16="http://schemas.microsoft.com/office/drawing/2014/main" id="{EBDB6D67-47F1-2ACB-B15E-CF83680C2CC5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5400000">
                <a:off x="-60324" y="1160780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2" name="Straight Connector 211">
                <a:extLst>
                  <a:ext uri="{FF2B5EF4-FFF2-40B4-BE49-F238E27FC236}">
                    <a16:creationId xmlns:a16="http://schemas.microsoft.com/office/drawing/2014/main" id="{A0172A1C-AD6A-BB6C-25B7-D91289B9E05E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5400000">
                <a:off x="-60324" y="1592580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14" name="Horizontal Markers Right">
            <a:extLst>
              <a:ext uri="{FF2B5EF4-FFF2-40B4-BE49-F238E27FC236}">
                <a16:creationId xmlns:a16="http://schemas.microsoft.com/office/drawing/2014/main" id="{0E15D8C4-ABC7-762F-EBD9-715AC935C45D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 flipH="1">
            <a:off x="12222840" y="304484"/>
            <a:ext cx="91440" cy="5804216"/>
            <a:chOff x="-106044" y="304484"/>
            <a:chExt cx="91440" cy="5804216"/>
          </a:xfrm>
        </p:grpSpPr>
        <p:cxnSp>
          <p:nvCxnSpPr>
            <p:cNvPr id="215" name="Straight Connector 214">
              <a:extLst>
                <a:ext uri="{FF2B5EF4-FFF2-40B4-BE49-F238E27FC236}">
                  <a16:creationId xmlns:a16="http://schemas.microsoft.com/office/drawing/2014/main" id="{8337C811-4542-2EE7-A070-0A11F64823E5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 rot="5400000">
              <a:off x="-60324" y="258764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Straight Connector 215">
              <a:extLst>
                <a:ext uri="{FF2B5EF4-FFF2-40B4-BE49-F238E27FC236}">
                  <a16:creationId xmlns:a16="http://schemas.microsoft.com/office/drawing/2014/main" id="{14A20C2E-8ED8-B0B7-BD57-C12A3BBCA501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 rot="5400000">
              <a:off x="-60324" y="6062980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17" name="Group 216">
              <a:extLst>
                <a:ext uri="{FF2B5EF4-FFF2-40B4-BE49-F238E27FC236}">
                  <a16:creationId xmlns:a16="http://schemas.microsoft.com/office/drawing/2014/main" id="{64E99BCD-4B6B-8A77-3E7B-C8AE755D6FF5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>
              <a:off x="-106044" y="1219200"/>
              <a:ext cx="91440" cy="419100"/>
              <a:chOff x="-106044" y="1219200"/>
              <a:chExt cx="91440" cy="419100"/>
            </a:xfrm>
          </p:grpSpPr>
          <p:cxnSp>
            <p:nvCxnSpPr>
              <p:cNvPr id="221" name="Straight Connector 220">
                <a:extLst>
                  <a:ext uri="{FF2B5EF4-FFF2-40B4-BE49-F238E27FC236}">
                    <a16:creationId xmlns:a16="http://schemas.microsoft.com/office/drawing/2014/main" id="{BDC21EB8-6195-9793-19F2-9F17FD159A22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5400000">
                <a:off x="-60324" y="1173480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2" name="Straight Connector 221">
                <a:extLst>
                  <a:ext uri="{FF2B5EF4-FFF2-40B4-BE49-F238E27FC236}">
                    <a16:creationId xmlns:a16="http://schemas.microsoft.com/office/drawing/2014/main" id="{1BEA6F92-D18B-7DDF-A672-BD40DB39AD40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5400000">
                <a:off x="-60324" y="1592580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8" name="Group 217">
              <a:extLst>
                <a:ext uri="{FF2B5EF4-FFF2-40B4-BE49-F238E27FC236}">
                  <a16:creationId xmlns:a16="http://schemas.microsoft.com/office/drawing/2014/main" id="{A9963F1F-494E-ED48-2599-10F3CF79B8EC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>
              <a:off x="-106044" y="5676900"/>
              <a:ext cx="91440" cy="431800"/>
              <a:chOff x="-106044" y="1206500"/>
              <a:chExt cx="91440" cy="431800"/>
            </a:xfrm>
          </p:grpSpPr>
          <p:cxnSp>
            <p:nvCxnSpPr>
              <p:cNvPr id="219" name="Straight Connector 218">
                <a:extLst>
                  <a:ext uri="{FF2B5EF4-FFF2-40B4-BE49-F238E27FC236}">
                    <a16:creationId xmlns:a16="http://schemas.microsoft.com/office/drawing/2014/main" id="{FD80CC2F-018A-E7FC-E743-CCA5B83720FB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5400000">
                <a:off x="-60324" y="1160780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Straight Connector 219">
                <a:extLst>
                  <a:ext uri="{FF2B5EF4-FFF2-40B4-BE49-F238E27FC236}">
                    <a16:creationId xmlns:a16="http://schemas.microsoft.com/office/drawing/2014/main" id="{3100CA45-B775-276A-5A43-FE5A99346451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5400000">
                <a:off x="-60324" y="1592580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A64E6BD6-E07D-2B19-17C8-0FC0C2471EF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4"/>
          </p:nvPr>
        </p:nvSpPr>
        <p:spPr>
          <a:xfrm>
            <a:off x="11495577" y="6485399"/>
            <a:ext cx="404321" cy="28295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3E04DF46-C0DC-4ADC-9A6F-918CC4703A4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pyright Line">
            <a:extLst>
              <a:ext uri="{FF2B5EF4-FFF2-40B4-BE49-F238E27FC236}">
                <a16:creationId xmlns:a16="http://schemas.microsoft.com/office/drawing/2014/main" id="{FE2C65CF-8B27-677A-7002-0C3FC6DBB22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09" y="6526850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>
                <a:solidFill>
                  <a:schemeClr val="tx1">
                    <a:lumMod val="40000"/>
                    <a:lumOff val="60000"/>
                  </a:schemeClr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2026</a:t>
            </a:fld>
            <a:r>
              <a:rPr lang="en-US" sz="700">
                <a:solidFill>
                  <a:schemeClr val="tx1">
                    <a:lumMod val="40000"/>
                    <a:lumOff val="60000"/>
                  </a:schemeClr>
                </a:solidFill>
              </a:rPr>
              <a:t> Nielsen Consumer LLC. All Rights Reserved.</a:t>
            </a:r>
          </a:p>
        </p:txBody>
      </p:sp>
      <p:sp>
        <p:nvSpPr>
          <p:cNvPr id="23" name="Confidential disclaimer">
            <a:extLst>
              <a:ext uri="{FF2B5EF4-FFF2-40B4-BE49-F238E27FC236}">
                <a16:creationId xmlns:a16="http://schemas.microsoft.com/office/drawing/2014/main" id="{78A1FF65-2683-767F-2325-D99D81EAF5F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5F70E08D-819F-1B99-D7F7-BEB0CF6E832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3"/>
          </p:nvPr>
        </p:nvSpPr>
        <p:spPr>
          <a:xfrm>
            <a:off x="3251197" y="6485399"/>
            <a:ext cx="3716341" cy="282957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7CB195BE-558A-E9D1-BD0E-FE21F1324E8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"/>
          </p:nvPr>
        </p:nvSpPr>
        <p:spPr>
          <a:xfrm>
            <a:off x="2265363" y="6485399"/>
            <a:ext cx="757238" cy="28295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F42DF71F-30BE-44BA-A536-D8EF81D0364C}" type="datetime1">
              <a:rPr lang="en-GB" smtClean="0"/>
              <a:pPr/>
              <a:t>12/02/2026</a:t>
            </a:fld>
            <a:endParaRPr lang="en-GB"/>
          </a:p>
        </p:txBody>
      </p:sp>
      <p:cxnSp>
        <p:nvCxnSpPr>
          <p:cNvPr id="50" name="Base Rule">
            <a:extLst>
              <a:ext uri="{FF2B5EF4-FFF2-40B4-BE49-F238E27FC236}">
                <a16:creationId xmlns:a16="http://schemas.microsoft.com/office/drawing/2014/main" id="{8F7DBEB2-D3D4-C8B5-3434-A00B1C2AA7EE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292100" y="6395755"/>
            <a:ext cx="1160780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D708349F-2D5F-012D-30C6-BC9EF27CB84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/>
          </p:nvPr>
        </p:nvSpPr>
        <p:spPr>
          <a:xfrm>
            <a:off x="292100" y="1638300"/>
            <a:ext cx="11611336" cy="4038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397E100-96BC-DBA8-0931-869A3CB0F64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292100" y="304800"/>
            <a:ext cx="11613314" cy="2655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Insert your slide title in Arial Bold 20pt</a:t>
            </a:r>
            <a:endParaRPr lang="en-GB"/>
          </a:p>
        </p:txBody>
      </p:sp>
      <p:pic>
        <p:nvPicPr>
          <p:cNvPr id="9" name="NIQ GFK Lockup">
            <a:extLst>
              <a:ext uri="{FF2B5EF4-FFF2-40B4-BE49-F238E27FC236}">
                <a16:creationId xmlns:a16="http://schemas.microsoft.com/office/drawing/2014/main" id="{820B2CC8-6A10-1A7D-AA80-20F852A3651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302626" y="6462285"/>
            <a:ext cx="906224" cy="329184"/>
          </a:xfrm>
          <a:prstGeom prst="rect">
            <a:avLst/>
          </a:prstGeom>
        </p:spPr>
      </p:pic>
      <p:pic>
        <p:nvPicPr>
          <p:cNvPr id="22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40901A86-02E1-3B2F-FACD-729B5AB8CC9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130" y="6495154"/>
            <a:ext cx="781433" cy="269593"/>
          </a:xfrm>
          <a:prstGeom prst="rect">
            <a:avLst/>
          </a:prstGeom>
        </p:spPr>
      </p:pic>
      <p:pic>
        <p:nvPicPr>
          <p:cNvPr id="11" name="NIQ Logo" hidden="1">
            <a:extLst>
              <a:ext uri="{FF2B5EF4-FFF2-40B4-BE49-F238E27FC236}">
                <a16:creationId xmlns:a16="http://schemas.microsoft.com/office/drawing/2014/main" id="{ACAE94BF-32EB-3237-6101-F4E7A582074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292100" y="6495101"/>
            <a:ext cx="645459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6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7" r:id="rId1"/>
    <p:sldLayoutId id="2147484668" r:id="rId2"/>
    <p:sldLayoutId id="2147484669" r:id="rId3"/>
    <p:sldLayoutId id="2147484670" r:id="rId4"/>
    <p:sldLayoutId id="2147484671" r:id="rId5"/>
    <p:sldLayoutId id="2147484672" r:id="rId6"/>
    <p:sldLayoutId id="2147484673" r:id="rId7"/>
    <p:sldLayoutId id="2147484674" r:id="rId8"/>
    <p:sldLayoutId id="2147484675" r:id="rId9"/>
    <p:sldLayoutId id="2147484676" r:id="rId10"/>
    <p:sldLayoutId id="2147484677" r:id="rId11"/>
    <p:sldLayoutId id="2147484678" r:id="rId12"/>
    <p:sldLayoutId id="2147484679" r:id="rId13"/>
    <p:sldLayoutId id="2147484680" r:id="rId14"/>
    <p:sldLayoutId id="2147484681" r:id="rId15"/>
    <p:sldLayoutId id="2147484682" r:id="rId16"/>
    <p:sldLayoutId id="2147484683" r:id="rId17"/>
    <p:sldLayoutId id="2147484684" r:id="rId18"/>
    <p:sldLayoutId id="2147484685" r:id="rId19"/>
    <p:sldLayoutId id="2147484686" r:id="rId20"/>
    <p:sldLayoutId id="2147484687" r:id="rId21"/>
    <p:sldLayoutId id="2147484688" r:id="rId22"/>
    <p:sldLayoutId id="2147484689" r:id="rId23"/>
    <p:sldLayoutId id="2147484690" r:id="rId24"/>
    <p:sldLayoutId id="2147484691" r:id="rId25"/>
    <p:sldLayoutId id="2147484692" r:id="rId26"/>
    <p:sldLayoutId id="2147484693" r:id="rId27"/>
    <p:sldLayoutId id="2147484694" r:id="rId28"/>
    <p:sldLayoutId id="2147484695" r:id="rId29"/>
    <p:sldLayoutId id="2147484696" r:id="rId30"/>
    <p:sldLayoutId id="2147484697" r:id="rId31"/>
    <p:sldLayoutId id="2147484698" r:id="rId32"/>
    <p:sldLayoutId id="2147484699" r:id="rId33"/>
    <p:sldLayoutId id="2147484700" r:id="rId34"/>
    <p:sldLayoutId id="2147484701" r:id="rId3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71450" algn="l" defTabSz="914400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indent="-171450" algn="l" defTabSz="914400" rtl="0" eaLnBrk="1" latinLnBrk="0" hangingPunct="1">
        <a:lnSpc>
          <a:spcPct val="100000"/>
        </a:lnSpc>
        <a:spcBef>
          <a:spcPts val="7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85850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1714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A4A3A4"/>
          </p15:clr>
        </p15:guide>
        <p15:guide id="2" pos="7680">
          <p15:clr>
            <a:srgbClr val="A4A3A4"/>
          </p15:clr>
        </p15:guide>
        <p15:guide id="3" pos="184">
          <p15:clr>
            <a:srgbClr val="A4A3A4"/>
          </p15:clr>
        </p15:guide>
        <p15:guide id="4" pos="3840">
          <p15:clr>
            <a:srgbClr val="A4A3A4"/>
          </p15:clr>
        </p15:guide>
        <p15:guide id="5" pos="7496">
          <p15:clr>
            <a:srgbClr val="A4A3A4"/>
          </p15:clr>
        </p15:guide>
        <p15:guide id="6" orient="horz">
          <p15:clr>
            <a:srgbClr val="A4A3A4"/>
          </p15:clr>
        </p15:guide>
        <p15:guide id="7" orient="horz" pos="4320">
          <p15:clr>
            <a:srgbClr val="A4A3A4"/>
          </p15:clr>
        </p15:guide>
        <p15:guide id="8" orient="horz" pos="192">
          <p15:clr>
            <a:srgbClr val="A4A3A4"/>
          </p15:clr>
        </p15:guide>
        <p15:guide id="9" orient="horz" pos="3968">
          <p15:clr>
            <a:srgbClr val="A4A3A4"/>
          </p15:clr>
        </p15:guide>
        <p15:guide id="10" orient="horz" pos="768">
          <p15:clr>
            <a:srgbClr val="A4A3A4"/>
          </p15:clr>
        </p15:guide>
        <p15:guide id="11" orient="horz" pos="3848">
          <p15:clr>
            <a:srgbClr val="A4A3A4"/>
          </p15:clr>
        </p15:guide>
        <p15:guide id="12" orient="horz" pos="1032">
          <p15:clr>
            <a:srgbClr val="A4A3A4"/>
          </p15:clr>
        </p15:guide>
        <p15:guide id="13" orient="horz" pos="3576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" name="Column Markers Bottom">
            <a:extLst>
              <a:ext uri="{FF2B5EF4-FFF2-40B4-BE49-F238E27FC236}">
                <a16:creationId xmlns:a16="http://schemas.microsoft.com/office/drawing/2014/main" id="{E1D6B4B9-1099-AE79-D01E-0EAEC19E45AF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292101" y="6871934"/>
            <a:ext cx="11607801" cy="163023"/>
            <a:chOff x="292100" y="6871945"/>
            <a:chExt cx="11607801" cy="163023"/>
          </a:xfrm>
        </p:grpSpPr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BE110526-ADF0-FAFE-E6F6-7C0C9BCC4779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 rot="10800000">
              <a:off x="292100" y="6871945"/>
              <a:ext cx="11607801" cy="137160"/>
              <a:chOff x="292100" y="-165576"/>
              <a:chExt cx="11607801" cy="137160"/>
            </a:xfrm>
          </p:grpSpPr>
          <p:cxnSp>
            <p:nvCxnSpPr>
              <p:cNvPr id="153" name="Straight Connector 152">
                <a:extLst>
                  <a:ext uri="{FF2B5EF4-FFF2-40B4-BE49-F238E27FC236}">
                    <a16:creationId xmlns:a16="http://schemas.microsoft.com/office/drawing/2014/main" id="{80A4DF54-7035-6C14-2C30-2B436C500B8E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292100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>
                <a:extLst>
                  <a:ext uri="{FF2B5EF4-FFF2-40B4-BE49-F238E27FC236}">
                    <a16:creationId xmlns:a16="http://schemas.microsoft.com/office/drawing/2014/main" id="{670D1442-8E01-B2E8-926B-7888C14EFD17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1049338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>
                <a:extLst>
                  <a:ext uri="{FF2B5EF4-FFF2-40B4-BE49-F238E27FC236}">
                    <a16:creationId xmlns:a16="http://schemas.microsoft.com/office/drawing/2014/main" id="{90532B25-CA4D-3B6A-6E0F-1B2848BEE2A2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1277937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>
                <a:extLst>
                  <a:ext uri="{FF2B5EF4-FFF2-40B4-BE49-F238E27FC236}">
                    <a16:creationId xmlns:a16="http://schemas.microsoft.com/office/drawing/2014/main" id="{F267E6E1-987D-98AF-DF0F-3B2926D01225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2035175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>
                <a:extLst>
                  <a:ext uri="{FF2B5EF4-FFF2-40B4-BE49-F238E27FC236}">
                    <a16:creationId xmlns:a16="http://schemas.microsoft.com/office/drawing/2014/main" id="{D2A9C692-7128-365D-B823-06548244B596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2265363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>
                <a:extLst>
                  <a:ext uri="{FF2B5EF4-FFF2-40B4-BE49-F238E27FC236}">
                    <a16:creationId xmlns:a16="http://schemas.microsoft.com/office/drawing/2014/main" id="{04F05B7A-E93D-CFB9-B6F9-1B2BF080916F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3022601" y="-165576"/>
                <a:ext cx="0" cy="137160"/>
              </a:xfrm>
              <a:prstGeom prst="line">
                <a:avLst/>
              </a:prstGeom>
              <a:ln w="3175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>
                <a:extLst>
                  <a:ext uri="{FF2B5EF4-FFF2-40B4-BE49-F238E27FC236}">
                    <a16:creationId xmlns:a16="http://schemas.microsoft.com/office/drawing/2014/main" id="{1B89BC66-0F9A-1EC3-7665-B83A788EEA93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3251200" y="-165576"/>
                <a:ext cx="0" cy="137160"/>
              </a:xfrm>
              <a:prstGeom prst="line">
                <a:avLst/>
              </a:prstGeom>
              <a:ln w="3175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>
                <a:extLst>
                  <a:ext uri="{FF2B5EF4-FFF2-40B4-BE49-F238E27FC236}">
                    <a16:creationId xmlns:a16="http://schemas.microsoft.com/office/drawing/2014/main" id="{5FA024A8-3261-24D4-053C-69B151F55125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4008438" y="-165576"/>
                <a:ext cx="0" cy="137160"/>
              </a:xfrm>
              <a:prstGeom prst="line">
                <a:avLst/>
              </a:prstGeom>
              <a:ln w="3175">
                <a:solidFill>
                  <a:srgbClr val="FFC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>
                <a:extLst>
                  <a:ext uri="{FF2B5EF4-FFF2-40B4-BE49-F238E27FC236}">
                    <a16:creationId xmlns:a16="http://schemas.microsoft.com/office/drawing/2014/main" id="{156CB882-2C70-5A74-3737-0DACE12E6AB6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4237037" y="-165576"/>
                <a:ext cx="0" cy="137160"/>
              </a:xfrm>
              <a:prstGeom prst="line">
                <a:avLst/>
              </a:prstGeom>
              <a:ln w="3175">
                <a:solidFill>
                  <a:srgbClr val="FFC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>
                <a:extLst>
                  <a:ext uri="{FF2B5EF4-FFF2-40B4-BE49-F238E27FC236}">
                    <a16:creationId xmlns:a16="http://schemas.microsoft.com/office/drawing/2014/main" id="{1B48B91C-853B-5024-8ACD-DDD17A239487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4994275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>
                <a:extLst>
                  <a:ext uri="{FF2B5EF4-FFF2-40B4-BE49-F238E27FC236}">
                    <a16:creationId xmlns:a16="http://schemas.microsoft.com/office/drawing/2014/main" id="{2CE81E04-31BD-6D43-C55A-C91681E50947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5222874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>
                <a:extLst>
                  <a:ext uri="{FF2B5EF4-FFF2-40B4-BE49-F238E27FC236}">
                    <a16:creationId xmlns:a16="http://schemas.microsoft.com/office/drawing/2014/main" id="{7F8CDAA3-FD28-C355-23BC-499395BE300E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5980112" y="-165576"/>
                <a:ext cx="0" cy="137160"/>
              </a:xfrm>
              <a:prstGeom prst="line">
                <a:avLst/>
              </a:prstGeom>
              <a:ln w="3175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>
                <a:extLst>
                  <a:ext uri="{FF2B5EF4-FFF2-40B4-BE49-F238E27FC236}">
                    <a16:creationId xmlns:a16="http://schemas.microsoft.com/office/drawing/2014/main" id="{3D8E9710-60CE-3DA0-7382-C73A94CB0D80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6210300" y="-165576"/>
                <a:ext cx="0" cy="137160"/>
              </a:xfrm>
              <a:prstGeom prst="line">
                <a:avLst/>
              </a:prstGeom>
              <a:ln w="3175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>
                <a:extLst>
                  <a:ext uri="{FF2B5EF4-FFF2-40B4-BE49-F238E27FC236}">
                    <a16:creationId xmlns:a16="http://schemas.microsoft.com/office/drawing/2014/main" id="{733C6AA6-13D5-5435-C02F-8F0070698D66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6967538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>
                <a:extLst>
                  <a:ext uri="{FF2B5EF4-FFF2-40B4-BE49-F238E27FC236}">
                    <a16:creationId xmlns:a16="http://schemas.microsoft.com/office/drawing/2014/main" id="{B015AFE0-C364-2ADE-866F-ED48C44A349C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7196137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>
                <a:extLst>
                  <a:ext uri="{FF2B5EF4-FFF2-40B4-BE49-F238E27FC236}">
                    <a16:creationId xmlns:a16="http://schemas.microsoft.com/office/drawing/2014/main" id="{11395D59-3589-CE2B-EE20-7EAAF4EE0DD5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7953375" y="-165576"/>
                <a:ext cx="0" cy="137160"/>
              </a:xfrm>
              <a:prstGeom prst="line">
                <a:avLst/>
              </a:prstGeom>
              <a:ln w="3175">
                <a:solidFill>
                  <a:srgbClr val="FFC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>
                <a:extLst>
                  <a:ext uri="{FF2B5EF4-FFF2-40B4-BE49-F238E27FC236}">
                    <a16:creationId xmlns:a16="http://schemas.microsoft.com/office/drawing/2014/main" id="{5DA54A0A-00B3-66C0-4D16-2A52CAD39782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9169400" y="-165576"/>
                <a:ext cx="0" cy="137160"/>
              </a:xfrm>
              <a:prstGeom prst="line">
                <a:avLst/>
              </a:prstGeom>
              <a:ln w="3175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>
                <a:extLst>
                  <a:ext uri="{FF2B5EF4-FFF2-40B4-BE49-F238E27FC236}">
                    <a16:creationId xmlns:a16="http://schemas.microsoft.com/office/drawing/2014/main" id="{AF52679F-E0D0-984E-0A9D-11E933F01859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9926638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>
                <a:extLst>
                  <a:ext uri="{FF2B5EF4-FFF2-40B4-BE49-F238E27FC236}">
                    <a16:creationId xmlns:a16="http://schemas.microsoft.com/office/drawing/2014/main" id="{20C312C4-7307-2152-5E04-277863965440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10156826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>
                <a:extLst>
                  <a:ext uri="{FF2B5EF4-FFF2-40B4-BE49-F238E27FC236}">
                    <a16:creationId xmlns:a16="http://schemas.microsoft.com/office/drawing/2014/main" id="{DD4E9147-05ED-7705-CC1F-72D71C0F6C79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10914064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>
                <a:extLst>
                  <a:ext uri="{FF2B5EF4-FFF2-40B4-BE49-F238E27FC236}">
                    <a16:creationId xmlns:a16="http://schemas.microsoft.com/office/drawing/2014/main" id="{C20E3FFB-E227-153F-ABE1-FC87F5F732AA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11142663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>
                <a:extLst>
                  <a:ext uri="{FF2B5EF4-FFF2-40B4-BE49-F238E27FC236}">
                    <a16:creationId xmlns:a16="http://schemas.microsoft.com/office/drawing/2014/main" id="{3F423C1A-2AC0-2B62-7F6A-AA998E137B0C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11899901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>
                <a:extLst>
                  <a:ext uri="{FF2B5EF4-FFF2-40B4-BE49-F238E27FC236}">
                    <a16:creationId xmlns:a16="http://schemas.microsoft.com/office/drawing/2014/main" id="{E5B626B8-ACE5-10A8-AAA1-A34285F0A471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8181975" y="-165576"/>
                <a:ext cx="0" cy="137160"/>
              </a:xfrm>
              <a:prstGeom prst="line">
                <a:avLst/>
              </a:prstGeom>
              <a:ln w="3175">
                <a:solidFill>
                  <a:srgbClr val="FFC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>
                <a:extLst>
                  <a:ext uri="{FF2B5EF4-FFF2-40B4-BE49-F238E27FC236}">
                    <a16:creationId xmlns:a16="http://schemas.microsoft.com/office/drawing/2014/main" id="{B2923CDE-FDD7-7A51-817A-A07397D5F16B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8939213" y="-165576"/>
                <a:ext cx="0" cy="137160"/>
              </a:xfrm>
              <a:prstGeom prst="line">
                <a:avLst/>
              </a:prstGeom>
              <a:ln w="3175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7" name="TextBox 176">
              <a:extLst>
                <a:ext uri="{FF2B5EF4-FFF2-40B4-BE49-F238E27FC236}">
                  <a16:creationId xmlns:a16="http://schemas.microsoft.com/office/drawing/2014/main" id="{4B728ACB-14F7-C40A-473B-317C751CD181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3086415" y="6878002"/>
              <a:ext cx="99386" cy="1569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GB" sz="600">
                  <a:solidFill>
                    <a:srgbClr val="00B0F0"/>
                  </a:solidFill>
                </a:rPr>
                <a:t>4</a:t>
              </a:r>
              <a:br>
                <a:rPr lang="en-GB" sz="600">
                  <a:solidFill>
                    <a:srgbClr val="00B0F0"/>
                  </a:solidFill>
                </a:rPr>
              </a:br>
              <a:r>
                <a:rPr lang="en-GB" sz="600">
                  <a:solidFill>
                    <a:srgbClr val="00B0F0"/>
                  </a:solidFill>
                </a:rPr>
                <a:t>col</a:t>
              </a:r>
            </a:p>
          </p:txBody>
        </p:sp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F7BA58E8-87C4-8336-7BF2-D4A38EFF668B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9000792" y="6878002"/>
              <a:ext cx="99386" cy="1569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GB" sz="600">
                  <a:solidFill>
                    <a:srgbClr val="00B0F0"/>
                  </a:solidFill>
                </a:rPr>
                <a:t>4</a:t>
              </a:r>
              <a:br>
                <a:rPr lang="en-GB" sz="600">
                  <a:solidFill>
                    <a:srgbClr val="00B0F0"/>
                  </a:solidFill>
                </a:rPr>
              </a:br>
              <a:r>
                <a:rPr lang="en-GB" sz="600">
                  <a:solidFill>
                    <a:srgbClr val="00B0F0"/>
                  </a:solidFill>
                </a:rPr>
                <a:t>col</a:t>
              </a:r>
            </a:p>
          </p:txBody>
        </p:sp>
        <p:sp>
          <p:nvSpPr>
            <p:cNvPr id="179" name="TextBox 178">
              <a:extLst>
                <a:ext uri="{FF2B5EF4-FFF2-40B4-BE49-F238E27FC236}">
                  <a16:creationId xmlns:a16="http://schemas.microsoft.com/office/drawing/2014/main" id="{18E780D4-D62C-31AE-986F-E3882F4C3C30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6024487" y="6878002"/>
              <a:ext cx="149080" cy="1569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GB" sz="600">
                  <a:solidFill>
                    <a:srgbClr val="00B0F0"/>
                  </a:solidFill>
                </a:rPr>
                <a:t>2 / 4</a:t>
              </a:r>
              <a:br>
                <a:rPr lang="en-GB" sz="600">
                  <a:solidFill>
                    <a:srgbClr val="00B0F0"/>
                  </a:solidFill>
                </a:rPr>
              </a:br>
              <a:r>
                <a:rPr lang="en-GB" sz="600">
                  <a:solidFill>
                    <a:srgbClr val="00B0F0"/>
                  </a:solidFill>
                </a:rPr>
                <a:t>col</a:t>
              </a:r>
            </a:p>
          </p:txBody>
        </p:sp>
        <p:sp>
          <p:nvSpPr>
            <p:cNvPr id="180" name="TextBox 179">
              <a:extLst>
                <a:ext uri="{FF2B5EF4-FFF2-40B4-BE49-F238E27FC236}">
                  <a16:creationId xmlns:a16="http://schemas.microsoft.com/office/drawing/2014/main" id="{A341B576-F973-FF3B-9D70-757A51DED63E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4077661" y="6878002"/>
              <a:ext cx="99386" cy="1569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GB" sz="600">
                  <a:solidFill>
                    <a:srgbClr val="FFC000"/>
                  </a:solidFill>
                </a:rPr>
                <a:t>3</a:t>
              </a:r>
              <a:br>
                <a:rPr lang="en-GB" sz="600">
                  <a:solidFill>
                    <a:srgbClr val="FFC000"/>
                  </a:solidFill>
                </a:rPr>
              </a:br>
              <a:r>
                <a:rPr lang="en-GB" sz="600">
                  <a:solidFill>
                    <a:srgbClr val="FFC000"/>
                  </a:solidFill>
                </a:rPr>
                <a:t>col</a:t>
              </a:r>
            </a:p>
          </p:txBody>
        </p:sp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D94C725E-2F75-A1A8-2A47-9AE54AFFDF90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8013366" y="6878002"/>
              <a:ext cx="99386" cy="1569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GB" sz="600">
                  <a:solidFill>
                    <a:srgbClr val="FFC000"/>
                  </a:solidFill>
                </a:rPr>
                <a:t>3</a:t>
              </a:r>
              <a:br>
                <a:rPr lang="en-GB" sz="600">
                  <a:solidFill>
                    <a:srgbClr val="FFC000"/>
                  </a:solidFill>
                </a:rPr>
              </a:br>
              <a:r>
                <a:rPr lang="en-GB" sz="600">
                  <a:solidFill>
                    <a:srgbClr val="FFC000"/>
                  </a:solidFill>
                </a:rPr>
                <a:t>col</a:t>
              </a:r>
            </a:p>
          </p:txBody>
        </p:sp>
      </p:grpSp>
      <p:grpSp>
        <p:nvGrpSpPr>
          <p:cNvPr id="151" name="Column Markers Top">
            <a:extLst>
              <a:ext uri="{FF2B5EF4-FFF2-40B4-BE49-F238E27FC236}">
                <a16:creationId xmlns:a16="http://schemas.microsoft.com/office/drawing/2014/main" id="{D22D9BE6-0B65-1C47-03BF-D1AB953BE5D3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292101" y="-165575"/>
            <a:ext cx="11607801" cy="137160"/>
            <a:chOff x="292100" y="-165576"/>
            <a:chExt cx="11607801" cy="137160"/>
          </a:xfrm>
        </p:grpSpPr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A1C2DAF0-B0C5-3814-F177-4D283ED86E18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292100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760C7E0C-2513-2BF9-58C7-7ED275705160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1049338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DA8C53B7-FA46-2487-2FDF-B14532D4DC6F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1277937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32117F78-F20D-7784-AFAB-33B9E45C00F5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2035175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38C8718-4726-16BF-EE37-79212A3DCD73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2265363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DE7C7E9-FC71-BAE6-B8D3-3ABEBABB121B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3022601" y="-165576"/>
              <a:ext cx="0" cy="137160"/>
            </a:xfrm>
            <a:prstGeom prst="line">
              <a:avLst/>
            </a:prstGeom>
            <a:ln w="3175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6A00B385-516E-8D52-13A9-8C3600BF4FC3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3251200" y="-165576"/>
              <a:ext cx="0" cy="137160"/>
            </a:xfrm>
            <a:prstGeom prst="line">
              <a:avLst/>
            </a:prstGeom>
            <a:ln w="3175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97BEECB8-6E26-BD06-398F-0B566BF9BBDD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4008438" y="-165576"/>
              <a:ext cx="0" cy="137160"/>
            </a:xfrm>
            <a:prstGeom prst="line">
              <a:avLst/>
            </a:prstGeom>
            <a:ln w="3175">
              <a:solidFill>
                <a:srgbClr val="FFC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CEE70E6-06A0-448E-5213-9F480BBB2168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4237037" y="-165576"/>
              <a:ext cx="0" cy="137160"/>
            </a:xfrm>
            <a:prstGeom prst="line">
              <a:avLst/>
            </a:prstGeom>
            <a:ln w="3175">
              <a:solidFill>
                <a:srgbClr val="FFC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D99AAB26-4D5A-211F-CD30-4DF8B9DB561D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4994275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C2193421-A7B5-60F1-885A-86D1AAD4C1A6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5222874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AB5A5379-3BC9-60DA-11B7-BCC88BF63626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5980112" y="-165576"/>
              <a:ext cx="0" cy="137160"/>
            </a:xfrm>
            <a:prstGeom prst="line">
              <a:avLst/>
            </a:prstGeom>
            <a:ln w="3175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387343BE-0ACB-44CE-03AA-B3F4290A4B61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6210300" y="-165576"/>
              <a:ext cx="0" cy="137160"/>
            </a:xfrm>
            <a:prstGeom prst="line">
              <a:avLst/>
            </a:prstGeom>
            <a:ln w="3175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F30D142D-B1E9-9CBF-97EF-00A42B7BC5FE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6967538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732EA936-B37E-FA24-83D8-1DEE414B5F82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7196137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3BE1C96A-624D-767C-6715-0D9623297663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7953375" y="-165576"/>
              <a:ext cx="0" cy="137160"/>
            </a:xfrm>
            <a:prstGeom prst="line">
              <a:avLst/>
            </a:prstGeom>
            <a:ln w="3175">
              <a:solidFill>
                <a:srgbClr val="FFC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DBF0FBA6-1F05-149A-AD58-63F474363036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9169400" y="-165576"/>
              <a:ext cx="0" cy="137160"/>
            </a:xfrm>
            <a:prstGeom prst="line">
              <a:avLst/>
            </a:prstGeom>
            <a:ln w="3175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56C9AC2C-8889-C695-8160-7D43B07CBEBB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9926638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3521B7C-5C33-9A4C-FBD4-E8303128C409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10156826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31597926-2F92-C2A6-EC39-92172371F51E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10914064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1FE0C9B9-B779-6459-B1D3-0E89CB20C7A8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11142663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D7A92DD3-EDC2-277F-7A79-16F1FC1A8DD1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11899901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259978F6-C812-F2EB-2011-738453334C4C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8181975" y="-165576"/>
              <a:ext cx="0" cy="137160"/>
            </a:xfrm>
            <a:prstGeom prst="line">
              <a:avLst/>
            </a:prstGeom>
            <a:ln w="3175">
              <a:solidFill>
                <a:srgbClr val="FFC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974B9070-6CE7-2988-15D6-7BCD628C78AA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8939213" y="-165576"/>
              <a:ext cx="0" cy="137160"/>
            </a:xfrm>
            <a:prstGeom prst="line">
              <a:avLst/>
            </a:prstGeom>
            <a:ln w="3175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3" name="Horizontal Markers Left">
            <a:extLst>
              <a:ext uri="{FF2B5EF4-FFF2-40B4-BE49-F238E27FC236}">
                <a16:creationId xmlns:a16="http://schemas.microsoft.com/office/drawing/2014/main" id="{2E8F5572-A6C5-0D61-4663-94740861ECFF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-118744" y="304485"/>
            <a:ext cx="91440" cy="5804216"/>
            <a:chOff x="-106044" y="304484"/>
            <a:chExt cx="91440" cy="5804216"/>
          </a:xfrm>
        </p:grpSpPr>
        <p:cxnSp>
          <p:nvCxnSpPr>
            <p:cNvPr id="205" name="Straight Connector 204">
              <a:extLst>
                <a:ext uri="{FF2B5EF4-FFF2-40B4-BE49-F238E27FC236}">
                  <a16:creationId xmlns:a16="http://schemas.microsoft.com/office/drawing/2014/main" id="{52085DA4-FA3C-5517-7394-7B8C7198E8EC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 rot="5400000">
              <a:off x="-60324" y="258764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>
              <a:extLst>
                <a:ext uri="{FF2B5EF4-FFF2-40B4-BE49-F238E27FC236}">
                  <a16:creationId xmlns:a16="http://schemas.microsoft.com/office/drawing/2014/main" id="{B73C6FFB-4043-5FA4-B1B9-8A2CD4468FD2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 rot="5400000">
              <a:off x="-60324" y="6062980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9" name="Group 208">
              <a:extLst>
                <a:ext uri="{FF2B5EF4-FFF2-40B4-BE49-F238E27FC236}">
                  <a16:creationId xmlns:a16="http://schemas.microsoft.com/office/drawing/2014/main" id="{DE7F5164-5687-39B8-50AA-9C06AE869BD5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>
              <a:off x="-106044" y="1219200"/>
              <a:ext cx="91440" cy="419100"/>
              <a:chOff x="-106044" y="1219200"/>
              <a:chExt cx="91440" cy="419100"/>
            </a:xfrm>
          </p:grpSpPr>
          <p:cxnSp>
            <p:nvCxnSpPr>
              <p:cNvPr id="206" name="Straight Connector 205">
                <a:extLst>
                  <a:ext uri="{FF2B5EF4-FFF2-40B4-BE49-F238E27FC236}">
                    <a16:creationId xmlns:a16="http://schemas.microsoft.com/office/drawing/2014/main" id="{6D174423-67A1-6BA0-F32A-B87768D85638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5400000">
                <a:off x="-60324" y="1173480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8" name="Straight Connector 207">
                <a:extLst>
                  <a:ext uri="{FF2B5EF4-FFF2-40B4-BE49-F238E27FC236}">
                    <a16:creationId xmlns:a16="http://schemas.microsoft.com/office/drawing/2014/main" id="{DC407528-7F4C-9C51-0701-8674D84860BF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5400000">
                <a:off x="-60324" y="1592580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0" name="Group 209">
              <a:extLst>
                <a:ext uri="{FF2B5EF4-FFF2-40B4-BE49-F238E27FC236}">
                  <a16:creationId xmlns:a16="http://schemas.microsoft.com/office/drawing/2014/main" id="{744D8EC0-E0C8-6F33-8B33-9252682D5549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>
              <a:off x="-106044" y="5676900"/>
              <a:ext cx="91440" cy="431800"/>
              <a:chOff x="-106044" y="1206500"/>
              <a:chExt cx="91440" cy="431800"/>
            </a:xfrm>
          </p:grpSpPr>
          <p:cxnSp>
            <p:nvCxnSpPr>
              <p:cNvPr id="211" name="Straight Connector 210">
                <a:extLst>
                  <a:ext uri="{FF2B5EF4-FFF2-40B4-BE49-F238E27FC236}">
                    <a16:creationId xmlns:a16="http://schemas.microsoft.com/office/drawing/2014/main" id="{EBDB6D67-47F1-2ACB-B15E-CF83680C2CC5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5400000">
                <a:off x="-60324" y="1160780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2" name="Straight Connector 211">
                <a:extLst>
                  <a:ext uri="{FF2B5EF4-FFF2-40B4-BE49-F238E27FC236}">
                    <a16:creationId xmlns:a16="http://schemas.microsoft.com/office/drawing/2014/main" id="{A0172A1C-AD6A-BB6C-25B7-D91289B9E05E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5400000">
                <a:off x="-60324" y="1592580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14" name="Horizontal Markers Right">
            <a:extLst>
              <a:ext uri="{FF2B5EF4-FFF2-40B4-BE49-F238E27FC236}">
                <a16:creationId xmlns:a16="http://schemas.microsoft.com/office/drawing/2014/main" id="{0E15D8C4-ABC7-762F-EBD9-715AC935C45D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 flipH="1">
            <a:off x="12222840" y="304485"/>
            <a:ext cx="91440" cy="5804216"/>
            <a:chOff x="-106044" y="304484"/>
            <a:chExt cx="91440" cy="5804216"/>
          </a:xfrm>
        </p:grpSpPr>
        <p:cxnSp>
          <p:nvCxnSpPr>
            <p:cNvPr id="215" name="Straight Connector 214">
              <a:extLst>
                <a:ext uri="{FF2B5EF4-FFF2-40B4-BE49-F238E27FC236}">
                  <a16:creationId xmlns:a16="http://schemas.microsoft.com/office/drawing/2014/main" id="{8337C811-4542-2EE7-A070-0A11F64823E5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 rot="5400000">
              <a:off x="-60324" y="258764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Straight Connector 215">
              <a:extLst>
                <a:ext uri="{FF2B5EF4-FFF2-40B4-BE49-F238E27FC236}">
                  <a16:creationId xmlns:a16="http://schemas.microsoft.com/office/drawing/2014/main" id="{14A20C2E-8ED8-B0B7-BD57-C12A3BBCA501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 rot="5400000">
              <a:off x="-60324" y="6062980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17" name="Group 216">
              <a:extLst>
                <a:ext uri="{FF2B5EF4-FFF2-40B4-BE49-F238E27FC236}">
                  <a16:creationId xmlns:a16="http://schemas.microsoft.com/office/drawing/2014/main" id="{64E99BCD-4B6B-8A77-3E7B-C8AE755D6FF5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>
              <a:off x="-106044" y="1219200"/>
              <a:ext cx="91440" cy="419100"/>
              <a:chOff x="-106044" y="1219200"/>
              <a:chExt cx="91440" cy="419100"/>
            </a:xfrm>
          </p:grpSpPr>
          <p:cxnSp>
            <p:nvCxnSpPr>
              <p:cNvPr id="221" name="Straight Connector 220">
                <a:extLst>
                  <a:ext uri="{FF2B5EF4-FFF2-40B4-BE49-F238E27FC236}">
                    <a16:creationId xmlns:a16="http://schemas.microsoft.com/office/drawing/2014/main" id="{BDC21EB8-6195-9793-19F2-9F17FD159A22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5400000">
                <a:off x="-60324" y="1173480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2" name="Straight Connector 221">
                <a:extLst>
                  <a:ext uri="{FF2B5EF4-FFF2-40B4-BE49-F238E27FC236}">
                    <a16:creationId xmlns:a16="http://schemas.microsoft.com/office/drawing/2014/main" id="{1BEA6F92-D18B-7DDF-A672-BD40DB39AD40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5400000">
                <a:off x="-60324" y="1592580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8" name="Group 217">
              <a:extLst>
                <a:ext uri="{FF2B5EF4-FFF2-40B4-BE49-F238E27FC236}">
                  <a16:creationId xmlns:a16="http://schemas.microsoft.com/office/drawing/2014/main" id="{A9963F1F-494E-ED48-2599-10F3CF79B8EC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>
              <a:off x="-106044" y="5676900"/>
              <a:ext cx="91440" cy="431800"/>
              <a:chOff x="-106044" y="1206500"/>
              <a:chExt cx="91440" cy="431800"/>
            </a:xfrm>
          </p:grpSpPr>
          <p:cxnSp>
            <p:nvCxnSpPr>
              <p:cNvPr id="219" name="Straight Connector 218">
                <a:extLst>
                  <a:ext uri="{FF2B5EF4-FFF2-40B4-BE49-F238E27FC236}">
                    <a16:creationId xmlns:a16="http://schemas.microsoft.com/office/drawing/2014/main" id="{FD80CC2F-018A-E7FC-E743-CCA5B83720FB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5400000">
                <a:off x="-60324" y="1160780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Straight Connector 219">
                <a:extLst>
                  <a:ext uri="{FF2B5EF4-FFF2-40B4-BE49-F238E27FC236}">
                    <a16:creationId xmlns:a16="http://schemas.microsoft.com/office/drawing/2014/main" id="{3100CA45-B775-276A-5A43-FE5A99346451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5400000">
                <a:off x="-60324" y="1592580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A64E6BD6-E07D-2B19-17C8-0FC0C2471EF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4"/>
          </p:nvPr>
        </p:nvSpPr>
        <p:spPr>
          <a:xfrm>
            <a:off x="11495578" y="6485400"/>
            <a:ext cx="404321" cy="28295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3E04DF46-C0DC-4ADC-9A6F-918CC4703A4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pyright Line">
            <a:extLst>
              <a:ext uri="{FF2B5EF4-FFF2-40B4-BE49-F238E27FC236}">
                <a16:creationId xmlns:a16="http://schemas.microsoft.com/office/drawing/2014/main" id="{FE2C65CF-8B27-677A-7002-0C3FC6DBB22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10" y="6526851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>
                <a:solidFill>
                  <a:schemeClr val="tx1">
                    <a:lumMod val="40000"/>
                    <a:lumOff val="60000"/>
                  </a:schemeClr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pPr marL="0" marR="0" indent="0" algn="l" defTabSz="9141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>
                <a:solidFill>
                  <a:schemeClr val="tx1">
                    <a:lumMod val="40000"/>
                    <a:lumOff val="60000"/>
                  </a:schemeClr>
                </a:solidFill>
              </a:rPr>
              <a:t> Nielsen Consumer LLC. All Rights Reserved.</a:t>
            </a:r>
          </a:p>
        </p:txBody>
      </p:sp>
      <p:sp>
        <p:nvSpPr>
          <p:cNvPr id="23" name="Confidential disclaimer">
            <a:extLst>
              <a:ext uri="{FF2B5EF4-FFF2-40B4-BE49-F238E27FC236}">
                <a16:creationId xmlns:a16="http://schemas.microsoft.com/office/drawing/2014/main" id="{78A1FF65-2683-767F-2325-D99D81EAF5F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5F70E08D-819F-1B99-D7F7-BEB0CF6E832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3"/>
          </p:nvPr>
        </p:nvSpPr>
        <p:spPr>
          <a:xfrm>
            <a:off x="3251198" y="6485400"/>
            <a:ext cx="3716341" cy="282957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7CB195BE-558A-E9D1-BD0E-FE21F1324E8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"/>
          </p:nvPr>
        </p:nvSpPr>
        <p:spPr>
          <a:xfrm>
            <a:off x="2265363" y="6485400"/>
            <a:ext cx="757239" cy="28295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F42DF71F-30BE-44BA-A536-D8EF81D0364C}" type="datetime1">
              <a:rPr lang="en-GB" smtClean="0"/>
              <a:pPr/>
              <a:t>12/02/2026</a:t>
            </a:fld>
            <a:endParaRPr lang="en-GB"/>
          </a:p>
        </p:txBody>
      </p:sp>
      <p:cxnSp>
        <p:nvCxnSpPr>
          <p:cNvPr id="50" name="Base Rule">
            <a:extLst>
              <a:ext uri="{FF2B5EF4-FFF2-40B4-BE49-F238E27FC236}">
                <a16:creationId xmlns:a16="http://schemas.microsoft.com/office/drawing/2014/main" id="{8F7DBEB2-D3D4-C8B5-3434-A00B1C2AA7EE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292101" y="6395755"/>
            <a:ext cx="1160780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D708349F-2D5F-012D-30C6-BC9EF27CB84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/>
          </p:nvPr>
        </p:nvSpPr>
        <p:spPr>
          <a:xfrm>
            <a:off x="292100" y="1638300"/>
            <a:ext cx="11611336" cy="4038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Insert your copy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397E100-96BC-DBA8-0931-869A3CB0F64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292100" y="304801"/>
            <a:ext cx="11613315" cy="2655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Insert your slide title in Arial Bold 20pt</a:t>
            </a:r>
            <a:endParaRPr lang="en-GB"/>
          </a:p>
        </p:txBody>
      </p:sp>
      <p:pic>
        <p:nvPicPr>
          <p:cNvPr id="9" name="NIQ GFK Lockup">
            <a:extLst>
              <a:ext uri="{FF2B5EF4-FFF2-40B4-BE49-F238E27FC236}">
                <a16:creationId xmlns:a16="http://schemas.microsoft.com/office/drawing/2014/main" id="{820B2CC8-6A10-1A7D-AA80-20F852A3651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302627" y="6462285"/>
            <a:ext cx="906224" cy="329184"/>
          </a:xfrm>
          <a:prstGeom prst="rect">
            <a:avLst/>
          </a:prstGeom>
        </p:spPr>
      </p:pic>
      <p:pic>
        <p:nvPicPr>
          <p:cNvPr id="22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40901A86-02E1-3B2F-FACD-729B5AB8CC9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4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132" y="6495155"/>
            <a:ext cx="781433" cy="269593"/>
          </a:xfrm>
          <a:prstGeom prst="rect">
            <a:avLst/>
          </a:prstGeom>
        </p:spPr>
      </p:pic>
      <p:pic>
        <p:nvPicPr>
          <p:cNvPr id="11" name="NIQ Logo" hidden="1">
            <a:extLst>
              <a:ext uri="{FF2B5EF4-FFF2-40B4-BE49-F238E27FC236}">
                <a16:creationId xmlns:a16="http://schemas.microsoft.com/office/drawing/2014/main" id="{ACAE94BF-32EB-3237-6101-F4E7A582074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292101" y="6495100"/>
            <a:ext cx="645459" cy="274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413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72" r:id="rId1"/>
    <p:sldLayoutId id="2147484773" r:id="rId2"/>
    <p:sldLayoutId id="2147484774" r:id="rId3"/>
    <p:sldLayoutId id="2147484775" r:id="rId4"/>
    <p:sldLayoutId id="2147484776" r:id="rId5"/>
    <p:sldLayoutId id="2147484777" r:id="rId6"/>
    <p:sldLayoutId id="2147484778" r:id="rId7"/>
    <p:sldLayoutId id="2147484779" r:id="rId8"/>
    <p:sldLayoutId id="2147484780" r:id="rId9"/>
    <p:sldLayoutId id="2147484781" r:id="rId10"/>
    <p:sldLayoutId id="2147484782" r:id="rId11"/>
    <p:sldLayoutId id="2147484783" r:id="rId12"/>
    <p:sldLayoutId id="2147484784" r:id="rId13"/>
    <p:sldLayoutId id="2147484785" r:id="rId14"/>
    <p:sldLayoutId id="2147484786" r:id="rId15"/>
    <p:sldLayoutId id="2147484787" r:id="rId16"/>
    <p:sldLayoutId id="2147484788" r:id="rId17"/>
    <p:sldLayoutId id="2147484789" r:id="rId18"/>
    <p:sldLayoutId id="2147484790" r:id="rId19"/>
    <p:sldLayoutId id="2147484791" r:id="rId20"/>
    <p:sldLayoutId id="2147484792" r:id="rId21"/>
    <p:sldLayoutId id="2147484793" r:id="rId22"/>
    <p:sldLayoutId id="2147484794" r:id="rId23"/>
    <p:sldLayoutId id="2147484795" r:id="rId24"/>
    <p:sldLayoutId id="2147484796" r:id="rId25"/>
    <p:sldLayoutId id="2147484797" r:id="rId26"/>
    <p:sldLayoutId id="2147484798" r:id="rId27"/>
    <p:sldLayoutId id="2147484799" r:id="rId28"/>
    <p:sldLayoutId id="2147484800" r:id="rId29"/>
    <p:sldLayoutId id="2147484801" r:id="rId30"/>
    <p:sldLayoutId id="2147484802" r:id="rId31"/>
    <p:sldLayoutId id="2147484803" r:id="rId32"/>
    <p:sldLayoutId id="2147484804" r:id="rId33"/>
    <p:sldLayoutId id="2147484805" r:id="rId34"/>
    <p:sldLayoutId id="2147484806" r:id="rId35"/>
    <p:sldLayoutId id="2147484807" r:id="rId36"/>
    <p:sldLayoutId id="2147484809" r:id="rId37"/>
  </p:sldLayoutIdLst>
  <p:hf hdr="0" ftr="0" dt="0"/>
  <p:txStyles>
    <p:titleStyle>
      <a:lvl1pPr algn="l" defTabSz="914103" rtl="0" eaLnBrk="1" latinLnBrk="0" hangingPunct="1">
        <a:lnSpc>
          <a:spcPct val="90000"/>
        </a:lnSpc>
        <a:spcBef>
          <a:spcPct val="0"/>
        </a:spcBef>
        <a:buNone/>
        <a:defRPr sz="1999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395" indent="-171395" algn="l" defTabSz="914103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5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51" indent="-171395" algn="l" defTabSz="914103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42709" indent="-171395" algn="l" defTabSz="914103" rtl="0" eaLnBrk="1" latinLnBrk="0" hangingPunct="1">
        <a:lnSpc>
          <a:spcPct val="100000"/>
        </a:lnSpc>
        <a:spcBef>
          <a:spcPts val="7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85498" indent="-171395" algn="l" defTabSz="914103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154" indent="-171395" algn="l" defTabSz="914103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783" indent="-228526" algn="l" defTabSz="9141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834" indent="-228526" algn="l" defTabSz="9141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886" indent="-228526" algn="l" defTabSz="9141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937" indent="-228526" algn="l" defTabSz="9141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51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03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54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06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257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08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360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411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A4A3A4"/>
          </p15:clr>
        </p15:guide>
        <p15:guide id="2" pos="7680">
          <p15:clr>
            <a:srgbClr val="A4A3A4"/>
          </p15:clr>
        </p15:guide>
        <p15:guide id="3" pos="184">
          <p15:clr>
            <a:srgbClr val="A4A3A4"/>
          </p15:clr>
        </p15:guide>
        <p15:guide id="4" pos="3840">
          <p15:clr>
            <a:srgbClr val="A4A3A4"/>
          </p15:clr>
        </p15:guide>
        <p15:guide id="5" pos="7496">
          <p15:clr>
            <a:srgbClr val="A4A3A4"/>
          </p15:clr>
        </p15:guide>
        <p15:guide id="6" orient="horz">
          <p15:clr>
            <a:srgbClr val="A4A3A4"/>
          </p15:clr>
        </p15:guide>
        <p15:guide id="7" orient="horz" pos="4320">
          <p15:clr>
            <a:srgbClr val="A4A3A4"/>
          </p15:clr>
        </p15:guide>
        <p15:guide id="8" orient="horz" pos="192">
          <p15:clr>
            <a:srgbClr val="A4A3A4"/>
          </p15:clr>
        </p15:guide>
        <p15:guide id="9" orient="horz" pos="3968">
          <p15:clr>
            <a:srgbClr val="A4A3A4"/>
          </p15:clr>
        </p15:guide>
        <p15:guide id="10" orient="horz" pos="768">
          <p15:clr>
            <a:srgbClr val="A4A3A4"/>
          </p15:clr>
        </p15:guide>
        <p15:guide id="11" orient="horz" pos="3848">
          <p15:clr>
            <a:srgbClr val="A4A3A4"/>
          </p15:clr>
        </p15:guide>
        <p15:guide id="12" orient="horz" pos="1032">
          <p15:clr>
            <a:srgbClr val="A4A3A4"/>
          </p15:clr>
        </p15:guide>
        <p15:guide id="13" orient="horz" pos="3576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B40C439-C7CC-07BA-A2BC-9401E5801C41}"/>
              </a:ext>
            </a:extLst>
          </p:cNvPr>
          <p:cNvGraphicFramePr>
            <a:graphicFrameLocks noChangeAspect="1"/>
          </p:cNvGraphicFramePr>
          <p:nvPr>
            <p:custDataLst>
              <p:tags r:id="rId99"/>
            </p:custDataLst>
            <p:extLst>
              <p:ext uri="{D42A27DB-BD31-4B8C-83A1-F6EECF244321}">
                <p14:modId xmlns:p14="http://schemas.microsoft.com/office/powerpoint/2010/main" val="1489360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0" imgW="347" imgH="346" progId="TCLayout.ActiveDocument.1">
                  <p:embed/>
                </p:oleObj>
              </mc:Choice>
              <mc:Fallback>
                <p:oleObj name="think-cell Slide" r:id="rId100" imgW="347" imgH="34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40C439-C7CC-07BA-A2BC-9401E5801C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2" name="Column Markers Bottom">
            <a:extLst>
              <a:ext uri="{FF2B5EF4-FFF2-40B4-BE49-F238E27FC236}">
                <a16:creationId xmlns:a16="http://schemas.microsoft.com/office/drawing/2014/main" id="{E1D6B4B9-1099-AE79-D01E-0EAEC19E45AF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292100" y="6871945"/>
            <a:ext cx="11607801" cy="163023"/>
            <a:chOff x="292100" y="6871945"/>
            <a:chExt cx="11607801" cy="163023"/>
          </a:xfrm>
        </p:grpSpPr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BE110526-ADF0-FAFE-E6F6-7C0C9BCC4779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 rot="10800000">
              <a:off x="292100" y="6871945"/>
              <a:ext cx="11607801" cy="137160"/>
              <a:chOff x="292100" y="-165576"/>
              <a:chExt cx="11607801" cy="137160"/>
            </a:xfrm>
          </p:grpSpPr>
          <p:cxnSp>
            <p:nvCxnSpPr>
              <p:cNvPr id="153" name="Straight Connector 152">
                <a:extLst>
                  <a:ext uri="{FF2B5EF4-FFF2-40B4-BE49-F238E27FC236}">
                    <a16:creationId xmlns:a16="http://schemas.microsoft.com/office/drawing/2014/main" id="{80A4DF54-7035-6C14-2C30-2B436C500B8E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292100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>
                <a:extLst>
                  <a:ext uri="{FF2B5EF4-FFF2-40B4-BE49-F238E27FC236}">
                    <a16:creationId xmlns:a16="http://schemas.microsoft.com/office/drawing/2014/main" id="{670D1442-8E01-B2E8-926B-7888C14EFD17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1049338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>
                <a:extLst>
                  <a:ext uri="{FF2B5EF4-FFF2-40B4-BE49-F238E27FC236}">
                    <a16:creationId xmlns:a16="http://schemas.microsoft.com/office/drawing/2014/main" id="{90532B25-CA4D-3B6A-6E0F-1B2848BEE2A2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1277937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>
                <a:extLst>
                  <a:ext uri="{FF2B5EF4-FFF2-40B4-BE49-F238E27FC236}">
                    <a16:creationId xmlns:a16="http://schemas.microsoft.com/office/drawing/2014/main" id="{F267E6E1-987D-98AF-DF0F-3B2926D01225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2035175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>
                <a:extLst>
                  <a:ext uri="{FF2B5EF4-FFF2-40B4-BE49-F238E27FC236}">
                    <a16:creationId xmlns:a16="http://schemas.microsoft.com/office/drawing/2014/main" id="{D2A9C692-7128-365D-B823-06548244B596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2265363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>
                <a:extLst>
                  <a:ext uri="{FF2B5EF4-FFF2-40B4-BE49-F238E27FC236}">
                    <a16:creationId xmlns:a16="http://schemas.microsoft.com/office/drawing/2014/main" id="{04F05B7A-E93D-CFB9-B6F9-1B2BF080916F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3022601" y="-165576"/>
                <a:ext cx="0" cy="137160"/>
              </a:xfrm>
              <a:prstGeom prst="line">
                <a:avLst/>
              </a:prstGeom>
              <a:ln w="3175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>
                <a:extLst>
                  <a:ext uri="{FF2B5EF4-FFF2-40B4-BE49-F238E27FC236}">
                    <a16:creationId xmlns:a16="http://schemas.microsoft.com/office/drawing/2014/main" id="{1B89BC66-0F9A-1EC3-7665-B83A788EEA93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3251200" y="-165576"/>
                <a:ext cx="0" cy="137160"/>
              </a:xfrm>
              <a:prstGeom prst="line">
                <a:avLst/>
              </a:prstGeom>
              <a:ln w="3175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>
                <a:extLst>
                  <a:ext uri="{FF2B5EF4-FFF2-40B4-BE49-F238E27FC236}">
                    <a16:creationId xmlns:a16="http://schemas.microsoft.com/office/drawing/2014/main" id="{5FA024A8-3261-24D4-053C-69B151F55125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4008438" y="-165576"/>
                <a:ext cx="0" cy="137160"/>
              </a:xfrm>
              <a:prstGeom prst="line">
                <a:avLst/>
              </a:prstGeom>
              <a:ln w="3175">
                <a:solidFill>
                  <a:srgbClr val="FFC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>
                <a:extLst>
                  <a:ext uri="{FF2B5EF4-FFF2-40B4-BE49-F238E27FC236}">
                    <a16:creationId xmlns:a16="http://schemas.microsoft.com/office/drawing/2014/main" id="{156CB882-2C70-5A74-3737-0DACE12E6AB6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4237037" y="-165576"/>
                <a:ext cx="0" cy="137160"/>
              </a:xfrm>
              <a:prstGeom prst="line">
                <a:avLst/>
              </a:prstGeom>
              <a:ln w="3175">
                <a:solidFill>
                  <a:srgbClr val="FFC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>
                <a:extLst>
                  <a:ext uri="{FF2B5EF4-FFF2-40B4-BE49-F238E27FC236}">
                    <a16:creationId xmlns:a16="http://schemas.microsoft.com/office/drawing/2014/main" id="{1B48B91C-853B-5024-8ACD-DDD17A239487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4994275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>
                <a:extLst>
                  <a:ext uri="{FF2B5EF4-FFF2-40B4-BE49-F238E27FC236}">
                    <a16:creationId xmlns:a16="http://schemas.microsoft.com/office/drawing/2014/main" id="{2CE81E04-31BD-6D43-C55A-C91681E50947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5222874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>
                <a:extLst>
                  <a:ext uri="{FF2B5EF4-FFF2-40B4-BE49-F238E27FC236}">
                    <a16:creationId xmlns:a16="http://schemas.microsoft.com/office/drawing/2014/main" id="{7F8CDAA3-FD28-C355-23BC-499395BE300E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5980112" y="-165576"/>
                <a:ext cx="0" cy="137160"/>
              </a:xfrm>
              <a:prstGeom prst="line">
                <a:avLst/>
              </a:prstGeom>
              <a:ln w="3175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>
                <a:extLst>
                  <a:ext uri="{FF2B5EF4-FFF2-40B4-BE49-F238E27FC236}">
                    <a16:creationId xmlns:a16="http://schemas.microsoft.com/office/drawing/2014/main" id="{3D8E9710-60CE-3DA0-7382-C73A94CB0D80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6210300" y="-165576"/>
                <a:ext cx="0" cy="137160"/>
              </a:xfrm>
              <a:prstGeom prst="line">
                <a:avLst/>
              </a:prstGeom>
              <a:ln w="3175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>
                <a:extLst>
                  <a:ext uri="{FF2B5EF4-FFF2-40B4-BE49-F238E27FC236}">
                    <a16:creationId xmlns:a16="http://schemas.microsoft.com/office/drawing/2014/main" id="{733C6AA6-13D5-5435-C02F-8F0070698D66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6967538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>
                <a:extLst>
                  <a:ext uri="{FF2B5EF4-FFF2-40B4-BE49-F238E27FC236}">
                    <a16:creationId xmlns:a16="http://schemas.microsoft.com/office/drawing/2014/main" id="{B015AFE0-C364-2ADE-866F-ED48C44A349C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7196137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>
                <a:extLst>
                  <a:ext uri="{FF2B5EF4-FFF2-40B4-BE49-F238E27FC236}">
                    <a16:creationId xmlns:a16="http://schemas.microsoft.com/office/drawing/2014/main" id="{11395D59-3589-CE2B-EE20-7EAAF4EE0DD5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7953375" y="-165576"/>
                <a:ext cx="0" cy="137160"/>
              </a:xfrm>
              <a:prstGeom prst="line">
                <a:avLst/>
              </a:prstGeom>
              <a:ln w="3175">
                <a:solidFill>
                  <a:srgbClr val="FFC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>
                <a:extLst>
                  <a:ext uri="{FF2B5EF4-FFF2-40B4-BE49-F238E27FC236}">
                    <a16:creationId xmlns:a16="http://schemas.microsoft.com/office/drawing/2014/main" id="{5DA54A0A-00B3-66C0-4D16-2A52CAD39782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9169400" y="-165576"/>
                <a:ext cx="0" cy="137160"/>
              </a:xfrm>
              <a:prstGeom prst="line">
                <a:avLst/>
              </a:prstGeom>
              <a:ln w="3175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>
                <a:extLst>
                  <a:ext uri="{FF2B5EF4-FFF2-40B4-BE49-F238E27FC236}">
                    <a16:creationId xmlns:a16="http://schemas.microsoft.com/office/drawing/2014/main" id="{AF52679F-E0D0-984E-0A9D-11E933F01859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9926638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>
                <a:extLst>
                  <a:ext uri="{FF2B5EF4-FFF2-40B4-BE49-F238E27FC236}">
                    <a16:creationId xmlns:a16="http://schemas.microsoft.com/office/drawing/2014/main" id="{20C312C4-7307-2152-5E04-277863965440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10156826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>
                <a:extLst>
                  <a:ext uri="{FF2B5EF4-FFF2-40B4-BE49-F238E27FC236}">
                    <a16:creationId xmlns:a16="http://schemas.microsoft.com/office/drawing/2014/main" id="{DD4E9147-05ED-7705-CC1F-72D71C0F6C79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10914064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>
                <a:extLst>
                  <a:ext uri="{FF2B5EF4-FFF2-40B4-BE49-F238E27FC236}">
                    <a16:creationId xmlns:a16="http://schemas.microsoft.com/office/drawing/2014/main" id="{C20E3FFB-E227-153F-ABE1-FC87F5F732AA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11142663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>
                <a:extLst>
                  <a:ext uri="{FF2B5EF4-FFF2-40B4-BE49-F238E27FC236}">
                    <a16:creationId xmlns:a16="http://schemas.microsoft.com/office/drawing/2014/main" id="{3F423C1A-2AC0-2B62-7F6A-AA998E137B0C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11899901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>
                <a:extLst>
                  <a:ext uri="{FF2B5EF4-FFF2-40B4-BE49-F238E27FC236}">
                    <a16:creationId xmlns:a16="http://schemas.microsoft.com/office/drawing/2014/main" id="{E5B626B8-ACE5-10A8-AAA1-A34285F0A471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8181975" y="-165576"/>
                <a:ext cx="0" cy="137160"/>
              </a:xfrm>
              <a:prstGeom prst="line">
                <a:avLst/>
              </a:prstGeom>
              <a:ln w="3175">
                <a:solidFill>
                  <a:srgbClr val="FFC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>
                <a:extLst>
                  <a:ext uri="{FF2B5EF4-FFF2-40B4-BE49-F238E27FC236}">
                    <a16:creationId xmlns:a16="http://schemas.microsoft.com/office/drawing/2014/main" id="{B2923CDE-FDD7-7A51-817A-A07397D5F16B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8939213" y="-165576"/>
                <a:ext cx="0" cy="137160"/>
              </a:xfrm>
              <a:prstGeom prst="line">
                <a:avLst/>
              </a:prstGeom>
              <a:ln w="3175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7" name="TextBox 176">
              <a:extLst>
                <a:ext uri="{FF2B5EF4-FFF2-40B4-BE49-F238E27FC236}">
                  <a16:creationId xmlns:a16="http://schemas.microsoft.com/office/drawing/2014/main" id="{4B728ACB-14F7-C40A-473B-317C751CD181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3086414" y="6878002"/>
              <a:ext cx="99386" cy="1569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>
                <a:lnSpc>
                  <a:spcPct val="85000"/>
                </a:lnSpc>
              </a:pPr>
              <a:r>
                <a:rPr lang="en-US" sz="600">
                  <a:solidFill>
                    <a:srgbClr val="00B0F0"/>
                  </a:solidFill>
                </a:rPr>
                <a:t>4</a:t>
              </a:r>
              <a:br>
                <a:rPr lang="en-US" sz="600">
                  <a:solidFill>
                    <a:srgbClr val="00B0F0"/>
                  </a:solidFill>
                </a:rPr>
              </a:br>
              <a:r>
                <a:rPr lang="en-US" sz="600">
                  <a:solidFill>
                    <a:srgbClr val="00B0F0"/>
                  </a:solidFill>
                </a:rPr>
                <a:t>col</a:t>
              </a:r>
              <a:endParaRPr lang="en-US" sz="600" dirty="0">
                <a:solidFill>
                  <a:srgbClr val="00B0F0"/>
                </a:solidFill>
              </a:endParaRPr>
            </a:p>
          </p:txBody>
        </p:sp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F7BA58E8-87C4-8336-7BF2-D4A38EFF668B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9000792" y="6878002"/>
              <a:ext cx="99386" cy="1569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>
                <a:lnSpc>
                  <a:spcPct val="85000"/>
                </a:lnSpc>
              </a:pPr>
              <a:r>
                <a:rPr lang="en-US" sz="600">
                  <a:solidFill>
                    <a:srgbClr val="00B0F0"/>
                  </a:solidFill>
                </a:rPr>
                <a:t>4</a:t>
              </a:r>
              <a:br>
                <a:rPr lang="en-US" sz="600">
                  <a:solidFill>
                    <a:srgbClr val="00B0F0"/>
                  </a:solidFill>
                </a:rPr>
              </a:br>
              <a:r>
                <a:rPr lang="en-US" sz="600">
                  <a:solidFill>
                    <a:srgbClr val="00B0F0"/>
                  </a:solidFill>
                </a:rPr>
                <a:t>col</a:t>
              </a:r>
              <a:endParaRPr lang="en-US" sz="600" dirty="0">
                <a:solidFill>
                  <a:srgbClr val="00B0F0"/>
                </a:solidFill>
              </a:endParaRPr>
            </a:p>
          </p:txBody>
        </p:sp>
        <p:sp>
          <p:nvSpPr>
            <p:cNvPr id="179" name="TextBox 178">
              <a:extLst>
                <a:ext uri="{FF2B5EF4-FFF2-40B4-BE49-F238E27FC236}">
                  <a16:creationId xmlns:a16="http://schemas.microsoft.com/office/drawing/2014/main" id="{18E780D4-D62C-31AE-986F-E3882F4C3C30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6024488" y="6878002"/>
              <a:ext cx="149080" cy="1569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>
                <a:lnSpc>
                  <a:spcPct val="85000"/>
                </a:lnSpc>
              </a:pPr>
              <a:r>
                <a:rPr lang="en-US" sz="600">
                  <a:solidFill>
                    <a:srgbClr val="00B0F0"/>
                  </a:solidFill>
                </a:rPr>
                <a:t>2 / 4</a:t>
              </a:r>
              <a:br>
                <a:rPr lang="en-US" sz="600">
                  <a:solidFill>
                    <a:srgbClr val="00B0F0"/>
                  </a:solidFill>
                </a:rPr>
              </a:br>
              <a:r>
                <a:rPr lang="en-US" sz="600">
                  <a:solidFill>
                    <a:srgbClr val="00B0F0"/>
                  </a:solidFill>
                </a:rPr>
                <a:t>col</a:t>
              </a:r>
              <a:endParaRPr lang="en-US" sz="600" dirty="0">
                <a:solidFill>
                  <a:srgbClr val="00B0F0"/>
                </a:solidFill>
              </a:endParaRPr>
            </a:p>
          </p:txBody>
        </p:sp>
        <p:sp>
          <p:nvSpPr>
            <p:cNvPr id="180" name="TextBox 179">
              <a:extLst>
                <a:ext uri="{FF2B5EF4-FFF2-40B4-BE49-F238E27FC236}">
                  <a16:creationId xmlns:a16="http://schemas.microsoft.com/office/drawing/2014/main" id="{A341B576-F973-FF3B-9D70-757A51DED63E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4077661" y="6878002"/>
              <a:ext cx="99386" cy="1569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>
                <a:lnSpc>
                  <a:spcPct val="85000"/>
                </a:lnSpc>
              </a:pPr>
              <a:r>
                <a:rPr lang="en-US" sz="600">
                  <a:solidFill>
                    <a:srgbClr val="FFC000"/>
                  </a:solidFill>
                </a:rPr>
                <a:t>3</a:t>
              </a:r>
              <a:br>
                <a:rPr lang="en-US" sz="600">
                  <a:solidFill>
                    <a:srgbClr val="FFC000"/>
                  </a:solidFill>
                </a:rPr>
              </a:br>
              <a:r>
                <a:rPr lang="en-US" sz="600">
                  <a:solidFill>
                    <a:srgbClr val="FFC000"/>
                  </a:solidFill>
                </a:rPr>
                <a:t>col</a:t>
              </a:r>
              <a:endParaRPr lang="en-US" sz="600" dirty="0">
                <a:solidFill>
                  <a:srgbClr val="FFC000"/>
                </a:solidFill>
              </a:endParaRPr>
            </a:p>
          </p:txBody>
        </p:sp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D94C725E-2F75-A1A8-2A47-9AE54AFFDF90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8013366" y="6878002"/>
              <a:ext cx="99386" cy="1569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>
                <a:lnSpc>
                  <a:spcPct val="85000"/>
                </a:lnSpc>
              </a:pPr>
              <a:r>
                <a:rPr lang="en-US" sz="600">
                  <a:solidFill>
                    <a:srgbClr val="FFC000"/>
                  </a:solidFill>
                </a:rPr>
                <a:t>3</a:t>
              </a:r>
              <a:br>
                <a:rPr lang="en-US" sz="600">
                  <a:solidFill>
                    <a:srgbClr val="FFC000"/>
                  </a:solidFill>
                </a:rPr>
              </a:br>
              <a:r>
                <a:rPr lang="en-US" sz="600">
                  <a:solidFill>
                    <a:srgbClr val="FFC000"/>
                  </a:solidFill>
                </a:rPr>
                <a:t>col</a:t>
              </a:r>
              <a:endParaRPr lang="en-US" sz="600" dirty="0">
                <a:solidFill>
                  <a:srgbClr val="FFC000"/>
                </a:solidFill>
              </a:endParaRPr>
            </a:p>
          </p:txBody>
        </p:sp>
      </p:grpSp>
      <p:grpSp>
        <p:nvGrpSpPr>
          <p:cNvPr id="151" name="Column Markers Top">
            <a:extLst>
              <a:ext uri="{FF2B5EF4-FFF2-40B4-BE49-F238E27FC236}">
                <a16:creationId xmlns:a16="http://schemas.microsoft.com/office/drawing/2014/main" id="{D22D9BE6-0B65-1C47-03BF-D1AB953BE5D3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292100" y="-165576"/>
            <a:ext cx="11607801" cy="137160"/>
            <a:chOff x="292100" y="-165576"/>
            <a:chExt cx="11607801" cy="137160"/>
          </a:xfrm>
        </p:grpSpPr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A1C2DAF0-B0C5-3814-F177-4D283ED86E18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292100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760C7E0C-2513-2BF9-58C7-7ED275705160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1049338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DA8C53B7-FA46-2487-2FDF-B14532D4DC6F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1277937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32117F78-F20D-7784-AFAB-33B9E45C00F5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2035175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38C8718-4726-16BF-EE37-79212A3DCD73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2265363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DE7C7E9-FC71-BAE6-B8D3-3ABEBABB121B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3022601" y="-165576"/>
              <a:ext cx="0" cy="137160"/>
            </a:xfrm>
            <a:prstGeom prst="line">
              <a:avLst/>
            </a:prstGeom>
            <a:ln w="3175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6A00B385-516E-8D52-13A9-8C3600BF4FC3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3251200" y="-165576"/>
              <a:ext cx="0" cy="137160"/>
            </a:xfrm>
            <a:prstGeom prst="line">
              <a:avLst/>
            </a:prstGeom>
            <a:ln w="3175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97BEECB8-6E26-BD06-398F-0B566BF9BBDD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4008438" y="-165576"/>
              <a:ext cx="0" cy="137160"/>
            </a:xfrm>
            <a:prstGeom prst="line">
              <a:avLst/>
            </a:prstGeom>
            <a:ln w="3175">
              <a:solidFill>
                <a:srgbClr val="FFC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CEE70E6-06A0-448E-5213-9F480BBB2168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4237037" y="-165576"/>
              <a:ext cx="0" cy="137160"/>
            </a:xfrm>
            <a:prstGeom prst="line">
              <a:avLst/>
            </a:prstGeom>
            <a:ln w="3175">
              <a:solidFill>
                <a:srgbClr val="FFC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D99AAB26-4D5A-211F-CD30-4DF8B9DB561D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4994275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C2193421-A7B5-60F1-885A-86D1AAD4C1A6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5222874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AB5A5379-3BC9-60DA-11B7-BCC88BF63626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5980112" y="-165576"/>
              <a:ext cx="0" cy="137160"/>
            </a:xfrm>
            <a:prstGeom prst="line">
              <a:avLst/>
            </a:prstGeom>
            <a:ln w="3175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387343BE-0ACB-44CE-03AA-B3F4290A4B61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6210300" y="-165576"/>
              <a:ext cx="0" cy="137160"/>
            </a:xfrm>
            <a:prstGeom prst="line">
              <a:avLst/>
            </a:prstGeom>
            <a:ln w="3175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F30D142D-B1E9-9CBF-97EF-00A42B7BC5FE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6967538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732EA936-B37E-FA24-83D8-1DEE414B5F82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7196137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3BE1C96A-624D-767C-6715-0D9623297663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7953375" y="-165576"/>
              <a:ext cx="0" cy="137160"/>
            </a:xfrm>
            <a:prstGeom prst="line">
              <a:avLst/>
            </a:prstGeom>
            <a:ln w="3175">
              <a:solidFill>
                <a:srgbClr val="FFC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DBF0FBA6-1F05-149A-AD58-63F474363036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9169400" y="-165576"/>
              <a:ext cx="0" cy="137160"/>
            </a:xfrm>
            <a:prstGeom prst="line">
              <a:avLst/>
            </a:prstGeom>
            <a:ln w="3175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56C9AC2C-8889-C695-8160-7D43B07CBEBB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9926638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3521B7C-5C33-9A4C-FBD4-E8303128C409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10156826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31597926-2F92-C2A6-EC39-92172371F51E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10914064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1FE0C9B9-B779-6459-B1D3-0E89CB20C7A8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11142663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D7A92DD3-EDC2-277F-7A79-16F1FC1A8DD1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11899901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259978F6-C812-F2EB-2011-738453334C4C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8181975" y="-165576"/>
              <a:ext cx="0" cy="137160"/>
            </a:xfrm>
            <a:prstGeom prst="line">
              <a:avLst/>
            </a:prstGeom>
            <a:ln w="3175">
              <a:solidFill>
                <a:srgbClr val="FFC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974B9070-6CE7-2988-15D6-7BCD628C78AA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8939213" y="-165576"/>
              <a:ext cx="0" cy="137160"/>
            </a:xfrm>
            <a:prstGeom prst="line">
              <a:avLst/>
            </a:prstGeom>
            <a:ln w="3175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3" name="Horizontal Markers Left">
            <a:extLst>
              <a:ext uri="{FF2B5EF4-FFF2-40B4-BE49-F238E27FC236}">
                <a16:creationId xmlns:a16="http://schemas.microsoft.com/office/drawing/2014/main" id="{2E8F5572-A6C5-0D61-4663-94740861ECFF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-118744" y="304484"/>
            <a:ext cx="91440" cy="5804216"/>
            <a:chOff x="-106044" y="304484"/>
            <a:chExt cx="91440" cy="5804216"/>
          </a:xfrm>
        </p:grpSpPr>
        <p:cxnSp>
          <p:nvCxnSpPr>
            <p:cNvPr id="205" name="Straight Connector 204">
              <a:extLst>
                <a:ext uri="{FF2B5EF4-FFF2-40B4-BE49-F238E27FC236}">
                  <a16:creationId xmlns:a16="http://schemas.microsoft.com/office/drawing/2014/main" id="{52085DA4-FA3C-5517-7394-7B8C7198E8EC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 rot="5400000">
              <a:off x="-60324" y="258764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>
              <a:extLst>
                <a:ext uri="{FF2B5EF4-FFF2-40B4-BE49-F238E27FC236}">
                  <a16:creationId xmlns:a16="http://schemas.microsoft.com/office/drawing/2014/main" id="{B73C6FFB-4043-5FA4-B1B9-8A2CD4468FD2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 rot="5400000">
              <a:off x="-60324" y="6062980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9" name="Group 208">
              <a:extLst>
                <a:ext uri="{FF2B5EF4-FFF2-40B4-BE49-F238E27FC236}">
                  <a16:creationId xmlns:a16="http://schemas.microsoft.com/office/drawing/2014/main" id="{DE7F5164-5687-39B8-50AA-9C06AE869BD5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>
              <a:off x="-106044" y="1219200"/>
              <a:ext cx="91440" cy="419100"/>
              <a:chOff x="-106044" y="1219200"/>
              <a:chExt cx="91440" cy="419100"/>
            </a:xfrm>
          </p:grpSpPr>
          <p:cxnSp>
            <p:nvCxnSpPr>
              <p:cNvPr id="206" name="Straight Connector 205">
                <a:extLst>
                  <a:ext uri="{FF2B5EF4-FFF2-40B4-BE49-F238E27FC236}">
                    <a16:creationId xmlns:a16="http://schemas.microsoft.com/office/drawing/2014/main" id="{6D174423-67A1-6BA0-F32A-B87768D85638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5400000">
                <a:off x="-60324" y="1173480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8" name="Straight Connector 207">
                <a:extLst>
                  <a:ext uri="{FF2B5EF4-FFF2-40B4-BE49-F238E27FC236}">
                    <a16:creationId xmlns:a16="http://schemas.microsoft.com/office/drawing/2014/main" id="{DC407528-7F4C-9C51-0701-8674D84860BF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5400000">
                <a:off x="-60324" y="1592580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0" name="Group 209">
              <a:extLst>
                <a:ext uri="{FF2B5EF4-FFF2-40B4-BE49-F238E27FC236}">
                  <a16:creationId xmlns:a16="http://schemas.microsoft.com/office/drawing/2014/main" id="{744D8EC0-E0C8-6F33-8B33-9252682D5549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>
              <a:off x="-106044" y="5676900"/>
              <a:ext cx="91440" cy="431800"/>
              <a:chOff x="-106044" y="1206500"/>
              <a:chExt cx="91440" cy="431800"/>
            </a:xfrm>
          </p:grpSpPr>
          <p:cxnSp>
            <p:nvCxnSpPr>
              <p:cNvPr id="211" name="Straight Connector 210">
                <a:extLst>
                  <a:ext uri="{FF2B5EF4-FFF2-40B4-BE49-F238E27FC236}">
                    <a16:creationId xmlns:a16="http://schemas.microsoft.com/office/drawing/2014/main" id="{EBDB6D67-47F1-2ACB-B15E-CF83680C2CC5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5400000">
                <a:off x="-60324" y="1160780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2" name="Straight Connector 211">
                <a:extLst>
                  <a:ext uri="{FF2B5EF4-FFF2-40B4-BE49-F238E27FC236}">
                    <a16:creationId xmlns:a16="http://schemas.microsoft.com/office/drawing/2014/main" id="{A0172A1C-AD6A-BB6C-25B7-D91289B9E05E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5400000">
                <a:off x="-60324" y="1592580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14" name="Horizontal Markers Right">
            <a:extLst>
              <a:ext uri="{FF2B5EF4-FFF2-40B4-BE49-F238E27FC236}">
                <a16:creationId xmlns:a16="http://schemas.microsoft.com/office/drawing/2014/main" id="{0E15D8C4-ABC7-762F-EBD9-715AC935C45D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 flipH="1">
            <a:off x="12222840" y="304484"/>
            <a:ext cx="91440" cy="5804216"/>
            <a:chOff x="-106044" y="304484"/>
            <a:chExt cx="91440" cy="5804216"/>
          </a:xfrm>
        </p:grpSpPr>
        <p:cxnSp>
          <p:nvCxnSpPr>
            <p:cNvPr id="215" name="Straight Connector 214">
              <a:extLst>
                <a:ext uri="{FF2B5EF4-FFF2-40B4-BE49-F238E27FC236}">
                  <a16:creationId xmlns:a16="http://schemas.microsoft.com/office/drawing/2014/main" id="{8337C811-4542-2EE7-A070-0A11F64823E5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 rot="5400000">
              <a:off x="-60324" y="258764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Straight Connector 215">
              <a:extLst>
                <a:ext uri="{FF2B5EF4-FFF2-40B4-BE49-F238E27FC236}">
                  <a16:creationId xmlns:a16="http://schemas.microsoft.com/office/drawing/2014/main" id="{14A20C2E-8ED8-B0B7-BD57-C12A3BBCA501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 rot="5400000">
              <a:off x="-60324" y="6062980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17" name="Group 216">
              <a:extLst>
                <a:ext uri="{FF2B5EF4-FFF2-40B4-BE49-F238E27FC236}">
                  <a16:creationId xmlns:a16="http://schemas.microsoft.com/office/drawing/2014/main" id="{64E99BCD-4B6B-8A77-3E7B-C8AE755D6FF5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>
              <a:off x="-106044" y="1219200"/>
              <a:ext cx="91440" cy="419100"/>
              <a:chOff x="-106044" y="1219200"/>
              <a:chExt cx="91440" cy="419100"/>
            </a:xfrm>
          </p:grpSpPr>
          <p:cxnSp>
            <p:nvCxnSpPr>
              <p:cNvPr id="221" name="Straight Connector 220">
                <a:extLst>
                  <a:ext uri="{FF2B5EF4-FFF2-40B4-BE49-F238E27FC236}">
                    <a16:creationId xmlns:a16="http://schemas.microsoft.com/office/drawing/2014/main" id="{BDC21EB8-6195-9793-19F2-9F17FD159A22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5400000">
                <a:off x="-60324" y="1173480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2" name="Straight Connector 221">
                <a:extLst>
                  <a:ext uri="{FF2B5EF4-FFF2-40B4-BE49-F238E27FC236}">
                    <a16:creationId xmlns:a16="http://schemas.microsoft.com/office/drawing/2014/main" id="{1BEA6F92-D18B-7DDF-A672-BD40DB39AD40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5400000">
                <a:off x="-60324" y="1592580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8" name="Group 217">
              <a:extLst>
                <a:ext uri="{FF2B5EF4-FFF2-40B4-BE49-F238E27FC236}">
                  <a16:creationId xmlns:a16="http://schemas.microsoft.com/office/drawing/2014/main" id="{A9963F1F-494E-ED48-2599-10F3CF79B8EC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>
              <a:off x="-106044" y="5676900"/>
              <a:ext cx="91440" cy="431800"/>
              <a:chOff x="-106044" y="1206500"/>
              <a:chExt cx="91440" cy="431800"/>
            </a:xfrm>
          </p:grpSpPr>
          <p:cxnSp>
            <p:nvCxnSpPr>
              <p:cNvPr id="219" name="Straight Connector 218">
                <a:extLst>
                  <a:ext uri="{FF2B5EF4-FFF2-40B4-BE49-F238E27FC236}">
                    <a16:creationId xmlns:a16="http://schemas.microsoft.com/office/drawing/2014/main" id="{FD80CC2F-018A-E7FC-E743-CCA5B83720FB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5400000">
                <a:off x="-60324" y="1160780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Straight Connector 219">
                <a:extLst>
                  <a:ext uri="{FF2B5EF4-FFF2-40B4-BE49-F238E27FC236}">
                    <a16:creationId xmlns:a16="http://schemas.microsoft.com/office/drawing/2014/main" id="{3100CA45-B775-276A-5A43-FE5A99346451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5400000">
                <a:off x="-60324" y="1592580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A64E6BD6-E07D-2B19-17C8-0FC0C2471EF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4"/>
          </p:nvPr>
        </p:nvSpPr>
        <p:spPr>
          <a:xfrm>
            <a:off x="11495577" y="6485399"/>
            <a:ext cx="404321" cy="28295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pyright Line">
            <a:extLst>
              <a:ext uri="{FF2B5EF4-FFF2-40B4-BE49-F238E27FC236}">
                <a16:creationId xmlns:a16="http://schemas.microsoft.com/office/drawing/2014/main" id="{FE2C65CF-8B27-677A-7002-0C3FC6DBB22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9167809" y="6526850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Nielsen Consumer LLC. All Rights Reserved.</a:t>
            </a:r>
          </a:p>
        </p:txBody>
      </p:sp>
      <p:sp>
        <p:nvSpPr>
          <p:cNvPr id="23" name="Confidential disclaimer">
            <a:extLst>
              <a:ext uri="{FF2B5EF4-FFF2-40B4-BE49-F238E27FC236}">
                <a16:creationId xmlns:a16="http://schemas.microsoft.com/office/drawing/2014/main" id="{78A1FF65-2683-767F-2325-D99D81EAF5F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5F70E08D-819F-1B99-D7F7-BEB0CF6E832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3"/>
          </p:nvPr>
        </p:nvSpPr>
        <p:spPr>
          <a:xfrm>
            <a:off x="3251197" y="6485399"/>
            <a:ext cx="3716341" cy="282957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7CB195BE-558A-E9D1-BD0E-FE21F1324E8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"/>
          </p:nvPr>
        </p:nvSpPr>
        <p:spPr>
          <a:xfrm>
            <a:off x="2265363" y="6485399"/>
            <a:ext cx="757238" cy="28295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cxnSp>
        <p:nvCxnSpPr>
          <p:cNvPr id="50" name="Base Rule">
            <a:extLst>
              <a:ext uri="{FF2B5EF4-FFF2-40B4-BE49-F238E27FC236}">
                <a16:creationId xmlns:a16="http://schemas.microsoft.com/office/drawing/2014/main" id="{8F7DBEB2-D3D4-C8B5-3434-A00B1C2AA7EE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292100" y="6395755"/>
            <a:ext cx="1160780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D708349F-2D5F-012D-30C6-BC9EF27CB84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/>
          </p:nvPr>
        </p:nvSpPr>
        <p:spPr>
          <a:xfrm>
            <a:off x="292100" y="1638300"/>
            <a:ext cx="11611336" cy="4038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397E100-96BC-DBA8-0931-869A3CB0F64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292100" y="304800"/>
            <a:ext cx="11613314" cy="2655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  <p:pic>
        <p:nvPicPr>
          <p:cNvPr id="9" name="NIQ GFK Lockup" hidden="1">
            <a:extLst>
              <a:ext uri="{FF2B5EF4-FFF2-40B4-BE49-F238E27FC236}">
                <a16:creationId xmlns:a16="http://schemas.microsoft.com/office/drawing/2014/main" id="{820B2CC8-6A10-1A7D-AA80-20F852A3651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0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3"/>
              </a:ext>
            </a:extLst>
          </a:blip>
          <a:stretch>
            <a:fillRect/>
          </a:stretch>
        </p:blipFill>
        <p:spPr>
          <a:xfrm>
            <a:off x="302626" y="6462285"/>
            <a:ext cx="906224" cy="329184"/>
          </a:xfrm>
          <a:prstGeom prst="rect">
            <a:avLst/>
          </a:prstGeom>
        </p:spPr>
      </p:pic>
      <p:pic>
        <p:nvPicPr>
          <p:cNvPr id="22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40901A86-02E1-3B2F-FACD-729B5AB8CC9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0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130" y="6495154"/>
            <a:ext cx="781433" cy="269593"/>
          </a:xfrm>
          <a:prstGeom prst="rect">
            <a:avLst/>
          </a:prstGeom>
        </p:spPr>
      </p:pic>
      <p:pic>
        <p:nvPicPr>
          <p:cNvPr id="11" name="NIQ Logo">
            <a:extLst>
              <a:ext uri="{FF2B5EF4-FFF2-40B4-BE49-F238E27FC236}">
                <a16:creationId xmlns:a16="http://schemas.microsoft.com/office/drawing/2014/main" id="{ACAE94BF-32EB-3237-6101-F4E7A582074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0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6"/>
              </a:ext>
            </a:extLst>
          </a:blip>
          <a:stretch>
            <a:fillRect/>
          </a:stretch>
        </p:blipFill>
        <p:spPr>
          <a:xfrm>
            <a:off x="292100" y="6495101"/>
            <a:ext cx="645459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621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15" r:id="rId1"/>
    <p:sldLayoutId id="2147484816" r:id="rId2"/>
    <p:sldLayoutId id="2147484817" r:id="rId3"/>
    <p:sldLayoutId id="2147484818" r:id="rId4"/>
    <p:sldLayoutId id="2147484819" r:id="rId5"/>
    <p:sldLayoutId id="2147484820" r:id="rId6"/>
    <p:sldLayoutId id="2147484821" r:id="rId7"/>
    <p:sldLayoutId id="2147484822" r:id="rId8"/>
    <p:sldLayoutId id="2147484823" r:id="rId9"/>
    <p:sldLayoutId id="2147484824" r:id="rId10"/>
    <p:sldLayoutId id="2147484825" r:id="rId11"/>
    <p:sldLayoutId id="2147484826" r:id="rId12"/>
    <p:sldLayoutId id="2147484827" r:id="rId13"/>
    <p:sldLayoutId id="2147484828" r:id="rId14"/>
    <p:sldLayoutId id="2147484829" r:id="rId15"/>
    <p:sldLayoutId id="2147484830" r:id="rId16"/>
    <p:sldLayoutId id="2147484831" r:id="rId17"/>
    <p:sldLayoutId id="2147484832" r:id="rId18"/>
    <p:sldLayoutId id="2147484833" r:id="rId19"/>
    <p:sldLayoutId id="2147484834" r:id="rId20"/>
    <p:sldLayoutId id="2147484835" r:id="rId21"/>
    <p:sldLayoutId id="2147484836" r:id="rId22"/>
    <p:sldLayoutId id="2147484837" r:id="rId23"/>
    <p:sldLayoutId id="2147484838" r:id="rId24"/>
    <p:sldLayoutId id="2147484839" r:id="rId25"/>
    <p:sldLayoutId id="2147484840" r:id="rId26"/>
    <p:sldLayoutId id="2147484841" r:id="rId27"/>
    <p:sldLayoutId id="2147484842" r:id="rId28"/>
    <p:sldLayoutId id="2147484843" r:id="rId29"/>
    <p:sldLayoutId id="2147484844" r:id="rId30"/>
    <p:sldLayoutId id="2147484845" r:id="rId31"/>
    <p:sldLayoutId id="2147484846" r:id="rId32"/>
    <p:sldLayoutId id="2147484847" r:id="rId33"/>
    <p:sldLayoutId id="2147484848" r:id="rId34"/>
    <p:sldLayoutId id="2147484849" r:id="rId35"/>
    <p:sldLayoutId id="2147484850" r:id="rId36"/>
    <p:sldLayoutId id="2147484853" r:id="rId37"/>
    <p:sldLayoutId id="2147484854" r:id="rId38"/>
    <p:sldLayoutId id="2147484855" r:id="rId39"/>
    <p:sldLayoutId id="2147484856" r:id="rId40"/>
    <p:sldLayoutId id="2147484857" r:id="rId41"/>
    <p:sldLayoutId id="2147484858" r:id="rId42"/>
    <p:sldLayoutId id="2147484859" r:id="rId43"/>
    <p:sldLayoutId id="2147484860" r:id="rId44"/>
    <p:sldLayoutId id="2147484861" r:id="rId45"/>
    <p:sldLayoutId id="2147484862" r:id="rId46"/>
    <p:sldLayoutId id="2147484863" r:id="rId47"/>
    <p:sldLayoutId id="2147484864" r:id="rId48"/>
    <p:sldLayoutId id="2147484865" r:id="rId49"/>
    <p:sldLayoutId id="2147484866" r:id="rId50"/>
    <p:sldLayoutId id="2147484867" r:id="rId51"/>
    <p:sldLayoutId id="2147484868" r:id="rId52"/>
    <p:sldLayoutId id="2147484869" r:id="rId53"/>
    <p:sldLayoutId id="2147484870" r:id="rId54"/>
    <p:sldLayoutId id="2147484871" r:id="rId55"/>
    <p:sldLayoutId id="2147484872" r:id="rId56"/>
    <p:sldLayoutId id="2147484873" r:id="rId57"/>
    <p:sldLayoutId id="2147484874" r:id="rId58"/>
    <p:sldLayoutId id="2147484875" r:id="rId59"/>
    <p:sldLayoutId id="2147484876" r:id="rId60"/>
    <p:sldLayoutId id="2147484877" r:id="rId61"/>
    <p:sldLayoutId id="2147484878" r:id="rId62"/>
    <p:sldLayoutId id="2147484879" r:id="rId63"/>
    <p:sldLayoutId id="2147484880" r:id="rId64"/>
    <p:sldLayoutId id="2147484881" r:id="rId65"/>
    <p:sldLayoutId id="2147484882" r:id="rId66"/>
    <p:sldLayoutId id="2147484883" r:id="rId67"/>
    <p:sldLayoutId id="2147484884" r:id="rId68"/>
    <p:sldLayoutId id="2147484885" r:id="rId69"/>
    <p:sldLayoutId id="2147484886" r:id="rId70"/>
    <p:sldLayoutId id="2147484887" r:id="rId71"/>
    <p:sldLayoutId id="2147484888" r:id="rId72"/>
    <p:sldLayoutId id="2147484889" r:id="rId73"/>
    <p:sldLayoutId id="2147484890" r:id="rId74"/>
    <p:sldLayoutId id="2147484891" r:id="rId75"/>
    <p:sldLayoutId id="2147484892" r:id="rId76"/>
    <p:sldLayoutId id="2147484893" r:id="rId77"/>
    <p:sldLayoutId id="2147484894" r:id="rId78"/>
    <p:sldLayoutId id="2147484895" r:id="rId79"/>
    <p:sldLayoutId id="2147484896" r:id="rId80"/>
    <p:sldLayoutId id="2147484897" r:id="rId81"/>
    <p:sldLayoutId id="2147484898" r:id="rId82"/>
    <p:sldLayoutId id="2147484899" r:id="rId83"/>
    <p:sldLayoutId id="2147484900" r:id="rId84"/>
    <p:sldLayoutId id="2147484901" r:id="rId85"/>
    <p:sldLayoutId id="2147484902" r:id="rId86"/>
    <p:sldLayoutId id="2147484903" r:id="rId87"/>
    <p:sldLayoutId id="2147484904" r:id="rId88"/>
    <p:sldLayoutId id="2147484905" r:id="rId89"/>
    <p:sldLayoutId id="2147484906" r:id="rId90"/>
    <p:sldLayoutId id="2147484907" r:id="rId91"/>
    <p:sldLayoutId id="2147484908" r:id="rId92"/>
    <p:sldLayoutId id="2147484909" r:id="rId93"/>
    <p:sldLayoutId id="2147484910" r:id="rId94"/>
    <p:sldLayoutId id="2147484911" r:id="rId95"/>
    <p:sldLayoutId id="2147484912" r:id="rId96"/>
    <p:sldLayoutId id="2147484913" r:id="rId97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71450" algn="l" defTabSz="914400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indent="-171450" algn="l" defTabSz="914400" rtl="0" eaLnBrk="1" latinLnBrk="0" hangingPunct="1">
        <a:lnSpc>
          <a:spcPct val="100000"/>
        </a:lnSpc>
        <a:spcBef>
          <a:spcPts val="7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85850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1714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A4A3A4"/>
          </p15:clr>
        </p15:guide>
        <p15:guide id="2" pos="7680">
          <p15:clr>
            <a:srgbClr val="A4A3A4"/>
          </p15:clr>
        </p15:guide>
        <p15:guide id="3" pos="184">
          <p15:clr>
            <a:srgbClr val="A4A3A4"/>
          </p15:clr>
        </p15:guide>
        <p15:guide id="4" pos="3840">
          <p15:clr>
            <a:srgbClr val="A4A3A4"/>
          </p15:clr>
        </p15:guide>
        <p15:guide id="5" pos="7496">
          <p15:clr>
            <a:srgbClr val="A4A3A4"/>
          </p15:clr>
        </p15:guide>
        <p15:guide id="6" orient="horz">
          <p15:clr>
            <a:srgbClr val="A4A3A4"/>
          </p15:clr>
        </p15:guide>
        <p15:guide id="7" orient="horz" pos="4320">
          <p15:clr>
            <a:srgbClr val="A4A3A4"/>
          </p15:clr>
        </p15:guide>
        <p15:guide id="8" orient="horz" pos="192">
          <p15:clr>
            <a:srgbClr val="A4A3A4"/>
          </p15:clr>
        </p15:guide>
        <p15:guide id="9" orient="horz" pos="3968">
          <p15:clr>
            <a:srgbClr val="A4A3A4"/>
          </p15:clr>
        </p15:guide>
        <p15:guide id="10" orient="horz" pos="768">
          <p15:clr>
            <a:srgbClr val="A4A3A4"/>
          </p15:clr>
        </p15:guide>
        <p15:guide id="11" orient="horz" pos="3848">
          <p15:clr>
            <a:srgbClr val="A4A3A4"/>
          </p15:clr>
        </p15:guide>
        <p15:guide id="12" orient="horz" pos="1032">
          <p15:clr>
            <a:srgbClr val="A4A3A4"/>
          </p15:clr>
        </p15:guide>
        <p15:guide id="13" orient="horz" pos="3576">
          <p15:clr>
            <a:srgbClr val="A4A3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B40C439-C7CC-07BA-A2BC-9401E5801C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9"/>
            </p:custDataLst>
            <p:extLst>
              <p:ext uri="{D42A27DB-BD31-4B8C-83A1-F6EECF244321}">
                <p14:modId xmlns:p14="http://schemas.microsoft.com/office/powerpoint/2010/main" val="3264014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0" imgW="347" imgH="346" progId="TCLayout.ActiveDocument.1">
                  <p:embed/>
                </p:oleObj>
              </mc:Choice>
              <mc:Fallback>
                <p:oleObj name="think-cell Slide" r:id="rId100" imgW="347" imgH="34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40C439-C7CC-07BA-A2BC-9401E5801C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2" name="Column Markers Bottom">
            <a:extLst>
              <a:ext uri="{FF2B5EF4-FFF2-40B4-BE49-F238E27FC236}">
                <a16:creationId xmlns:a16="http://schemas.microsoft.com/office/drawing/2014/main" id="{E1D6B4B9-1099-AE79-D01E-0EAEC19E45AF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292100" y="6871945"/>
            <a:ext cx="11607801" cy="163023"/>
            <a:chOff x="292100" y="6871945"/>
            <a:chExt cx="11607801" cy="163023"/>
          </a:xfrm>
        </p:grpSpPr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BE110526-ADF0-FAFE-E6F6-7C0C9BCC4779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 rot="10800000">
              <a:off x="292100" y="6871945"/>
              <a:ext cx="11607801" cy="137160"/>
              <a:chOff x="292100" y="-165576"/>
              <a:chExt cx="11607801" cy="137160"/>
            </a:xfrm>
          </p:grpSpPr>
          <p:cxnSp>
            <p:nvCxnSpPr>
              <p:cNvPr id="153" name="Straight Connector 152">
                <a:extLst>
                  <a:ext uri="{FF2B5EF4-FFF2-40B4-BE49-F238E27FC236}">
                    <a16:creationId xmlns:a16="http://schemas.microsoft.com/office/drawing/2014/main" id="{80A4DF54-7035-6C14-2C30-2B436C500B8E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292100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>
                <a:extLst>
                  <a:ext uri="{FF2B5EF4-FFF2-40B4-BE49-F238E27FC236}">
                    <a16:creationId xmlns:a16="http://schemas.microsoft.com/office/drawing/2014/main" id="{670D1442-8E01-B2E8-926B-7888C14EFD17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1049338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>
                <a:extLst>
                  <a:ext uri="{FF2B5EF4-FFF2-40B4-BE49-F238E27FC236}">
                    <a16:creationId xmlns:a16="http://schemas.microsoft.com/office/drawing/2014/main" id="{90532B25-CA4D-3B6A-6E0F-1B2848BEE2A2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1277937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>
                <a:extLst>
                  <a:ext uri="{FF2B5EF4-FFF2-40B4-BE49-F238E27FC236}">
                    <a16:creationId xmlns:a16="http://schemas.microsoft.com/office/drawing/2014/main" id="{F267E6E1-987D-98AF-DF0F-3B2926D01225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2035175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>
                <a:extLst>
                  <a:ext uri="{FF2B5EF4-FFF2-40B4-BE49-F238E27FC236}">
                    <a16:creationId xmlns:a16="http://schemas.microsoft.com/office/drawing/2014/main" id="{D2A9C692-7128-365D-B823-06548244B596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2265363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>
                <a:extLst>
                  <a:ext uri="{FF2B5EF4-FFF2-40B4-BE49-F238E27FC236}">
                    <a16:creationId xmlns:a16="http://schemas.microsoft.com/office/drawing/2014/main" id="{04F05B7A-E93D-CFB9-B6F9-1B2BF080916F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3022601" y="-165576"/>
                <a:ext cx="0" cy="137160"/>
              </a:xfrm>
              <a:prstGeom prst="line">
                <a:avLst/>
              </a:prstGeom>
              <a:ln w="3175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>
                <a:extLst>
                  <a:ext uri="{FF2B5EF4-FFF2-40B4-BE49-F238E27FC236}">
                    <a16:creationId xmlns:a16="http://schemas.microsoft.com/office/drawing/2014/main" id="{1B89BC66-0F9A-1EC3-7665-B83A788EEA93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3251200" y="-165576"/>
                <a:ext cx="0" cy="137160"/>
              </a:xfrm>
              <a:prstGeom prst="line">
                <a:avLst/>
              </a:prstGeom>
              <a:ln w="3175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>
                <a:extLst>
                  <a:ext uri="{FF2B5EF4-FFF2-40B4-BE49-F238E27FC236}">
                    <a16:creationId xmlns:a16="http://schemas.microsoft.com/office/drawing/2014/main" id="{5FA024A8-3261-24D4-053C-69B151F55125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4008438" y="-165576"/>
                <a:ext cx="0" cy="137160"/>
              </a:xfrm>
              <a:prstGeom prst="line">
                <a:avLst/>
              </a:prstGeom>
              <a:ln w="3175">
                <a:solidFill>
                  <a:srgbClr val="FFC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>
                <a:extLst>
                  <a:ext uri="{FF2B5EF4-FFF2-40B4-BE49-F238E27FC236}">
                    <a16:creationId xmlns:a16="http://schemas.microsoft.com/office/drawing/2014/main" id="{156CB882-2C70-5A74-3737-0DACE12E6AB6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4237037" y="-165576"/>
                <a:ext cx="0" cy="137160"/>
              </a:xfrm>
              <a:prstGeom prst="line">
                <a:avLst/>
              </a:prstGeom>
              <a:ln w="3175">
                <a:solidFill>
                  <a:srgbClr val="FFC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>
                <a:extLst>
                  <a:ext uri="{FF2B5EF4-FFF2-40B4-BE49-F238E27FC236}">
                    <a16:creationId xmlns:a16="http://schemas.microsoft.com/office/drawing/2014/main" id="{1B48B91C-853B-5024-8ACD-DDD17A239487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4994275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>
                <a:extLst>
                  <a:ext uri="{FF2B5EF4-FFF2-40B4-BE49-F238E27FC236}">
                    <a16:creationId xmlns:a16="http://schemas.microsoft.com/office/drawing/2014/main" id="{2CE81E04-31BD-6D43-C55A-C91681E50947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5222874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>
                <a:extLst>
                  <a:ext uri="{FF2B5EF4-FFF2-40B4-BE49-F238E27FC236}">
                    <a16:creationId xmlns:a16="http://schemas.microsoft.com/office/drawing/2014/main" id="{7F8CDAA3-FD28-C355-23BC-499395BE300E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5980112" y="-165576"/>
                <a:ext cx="0" cy="137160"/>
              </a:xfrm>
              <a:prstGeom prst="line">
                <a:avLst/>
              </a:prstGeom>
              <a:ln w="3175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>
                <a:extLst>
                  <a:ext uri="{FF2B5EF4-FFF2-40B4-BE49-F238E27FC236}">
                    <a16:creationId xmlns:a16="http://schemas.microsoft.com/office/drawing/2014/main" id="{3D8E9710-60CE-3DA0-7382-C73A94CB0D80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6210300" y="-165576"/>
                <a:ext cx="0" cy="137160"/>
              </a:xfrm>
              <a:prstGeom prst="line">
                <a:avLst/>
              </a:prstGeom>
              <a:ln w="3175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>
                <a:extLst>
                  <a:ext uri="{FF2B5EF4-FFF2-40B4-BE49-F238E27FC236}">
                    <a16:creationId xmlns:a16="http://schemas.microsoft.com/office/drawing/2014/main" id="{733C6AA6-13D5-5435-C02F-8F0070698D66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6967538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>
                <a:extLst>
                  <a:ext uri="{FF2B5EF4-FFF2-40B4-BE49-F238E27FC236}">
                    <a16:creationId xmlns:a16="http://schemas.microsoft.com/office/drawing/2014/main" id="{B015AFE0-C364-2ADE-866F-ED48C44A349C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7196137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>
                <a:extLst>
                  <a:ext uri="{FF2B5EF4-FFF2-40B4-BE49-F238E27FC236}">
                    <a16:creationId xmlns:a16="http://schemas.microsoft.com/office/drawing/2014/main" id="{11395D59-3589-CE2B-EE20-7EAAF4EE0DD5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7953375" y="-165576"/>
                <a:ext cx="0" cy="137160"/>
              </a:xfrm>
              <a:prstGeom prst="line">
                <a:avLst/>
              </a:prstGeom>
              <a:ln w="3175">
                <a:solidFill>
                  <a:srgbClr val="FFC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>
                <a:extLst>
                  <a:ext uri="{FF2B5EF4-FFF2-40B4-BE49-F238E27FC236}">
                    <a16:creationId xmlns:a16="http://schemas.microsoft.com/office/drawing/2014/main" id="{5DA54A0A-00B3-66C0-4D16-2A52CAD39782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9169400" y="-165576"/>
                <a:ext cx="0" cy="137160"/>
              </a:xfrm>
              <a:prstGeom prst="line">
                <a:avLst/>
              </a:prstGeom>
              <a:ln w="3175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>
                <a:extLst>
                  <a:ext uri="{FF2B5EF4-FFF2-40B4-BE49-F238E27FC236}">
                    <a16:creationId xmlns:a16="http://schemas.microsoft.com/office/drawing/2014/main" id="{AF52679F-E0D0-984E-0A9D-11E933F01859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9926638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>
                <a:extLst>
                  <a:ext uri="{FF2B5EF4-FFF2-40B4-BE49-F238E27FC236}">
                    <a16:creationId xmlns:a16="http://schemas.microsoft.com/office/drawing/2014/main" id="{20C312C4-7307-2152-5E04-277863965440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10156826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>
                <a:extLst>
                  <a:ext uri="{FF2B5EF4-FFF2-40B4-BE49-F238E27FC236}">
                    <a16:creationId xmlns:a16="http://schemas.microsoft.com/office/drawing/2014/main" id="{DD4E9147-05ED-7705-CC1F-72D71C0F6C79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10914064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>
                <a:extLst>
                  <a:ext uri="{FF2B5EF4-FFF2-40B4-BE49-F238E27FC236}">
                    <a16:creationId xmlns:a16="http://schemas.microsoft.com/office/drawing/2014/main" id="{C20E3FFB-E227-153F-ABE1-FC87F5F732AA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11142663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>
                <a:extLst>
                  <a:ext uri="{FF2B5EF4-FFF2-40B4-BE49-F238E27FC236}">
                    <a16:creationId xmlns:a16="http://schemas.microsoft.com/office/drawing/2014/main" id="{3F423C1A-2AC0-2B62-7F6A-AA998E137B0C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11899901" y="-119856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>
                <a:extLst>
                  <a:ext uri="{FF2B5EF4-FFF2-40B4-BE49-F238E27FC236}">
                    <a16:creationId xmlns:a16="http://schemas.microsoft.com/office/drawing/2014/main" id="{E5B626B8-ACE5-10A8-AAA1-A34285F0A471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8181975" y="-165576"/>
                <a:ext cx="0" cy="137160"/>
              </a:xfrm>
              <a:prstGeom prst="line">
                <a:avLst/>
              </a:prstGeom>
              <a:ln w="3175">
                <a:solidFill>
                  <a:srgbClr val="FFC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>
                <a:extLst>
                  <a:ext uri="{FF2B5EF4-FFF2-40B4-BE49-F238E27FC236}">
                    <a16:creationId xmlns:a16="http://schemas.microsoft.com/office/drawing/2014/main" id="{B2923CDE-FDD7-7A51-817A-A07397D5F16B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8939213" y="-165576"/>
                <a:ext cx="0" cy="137160"/>
              </a:xfrm>
              <a:prstGeom prst="line">
                <a:avLst/>
              </a:prstGeom>
              <a:ln w="3175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7" name="TextBox 176">
              <a:extLst>
                <a:ext uri="{FF2B5EF4-FFF2-40B4-BE49-F238E27FC236}">
                  <a16:creationId xmlns:a16="http://schemas.microsoft.com/office/drawing/2014/main" id="{4B728ACB-14F7-C40A-473B-317C751CD181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3086414" y="6878002"/>
              <a:ext cx="99386" cy="1569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>
                <a:lnSpc>
                  <a:spcPct val="85000"/>
                </a:lnSpc>
              </a:pPr>
              <a:r>
                <a:rPr lang="en-US" sz="600">
                  <a:solidFill>
                    <a:srgbClr val="00B0F0"/>
                  </a:solidFill>
                </a:rPr>
                <a:t>4</a:t>
              </a:r>
              <a:br>
                <a:rPr lang="en-US" sz="600">
                  <a:solidFill>
                    <a:srgbClr val="00B0F0"/>
                  </a:solidFill>
                </a:rPr>
              </a:br>
              <a:r>
                <a:rPr lang="en-US" sz="600">
                  <a:solidFill>
                    <a:srgbClr val="00B0F0"/>
                  </a:solidFill>
                </a:rPr>
                <a:t>col</a:t>
              </a:r>
              <a:endParaRPr lang="en-US" sz="600" dirty="0">
                <a:solidFill>
                  <a:srgbClr val="00B0F0"/>
                </a:solidFill>
              </a:endParaRPr>
            </a:p>
          </p:txBody>
        </p:sp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F7BA58E8-87C4-8336-7BF2-D4A38EFF668B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9000792" y="6878002"/>
              <a:ext cx="99386" cy="1569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>
                <a:lnSpc>
                  <a:spcPct val="85000"/>
                </a:lnSpc>
              </a:pPr>
              <a:r>
                <a:rPr lang="en-US" sz="600">
                  <a:solidFill>
                    <a:srgbClr val="00B0F0"/>
                  </a:solidFill>
                </a:rPr>
                <a:t>4</a:t>
              </a:r>
              <a:br>
                <a:rPr lang="en-US" sz="600">
                  <a:solidFill>
                    <a:srgbClr val="00B0F0"/>
                  </a:solidFill>
                </a:rPr>
              </a:br>
              <a:r>
                <a:rPr lang="en-US" sz="600">
                  <a:solidFill>
                    <a:srgbClr val="00B0F0"/>
                  </a:solidFill>
                </a:rPr>
                <a:t>col</a:t>
              </a:r>
              <a:endParaRPr lang="en-US" sz="600" dirty="0">
                <a:solidFill>
                  <a:srgbClr val="00B0F0"/>
                </a:solidFill>
              </a:endParaRPr>
            </a:p>
          </p:txBody>
        </p:sp>
        <p:sp>
          <p:nvSpPr>
            <p:cNvPr id="179" name="TextBox 178">
              <a:extLst>
                <a:ext uri="{FF2B5EF4-FFF2-40B4-BE49-F238E27FC236}">
                  <a16:creationId xmlns:a16="http://schemas.microsoft.com/office/drawing/2014/main" id="{18E780D4-D62C-31AE-986F-E3882F4C3C30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6024488" y="6878002"/>
              <a:ext cx="149080" cy="1569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>
                <a:lnSpc>
                  <a:spcPct val="85000"/>
                </a:lnSpc>
              </a:pPr>
              <a:r>
                <a:rPr lang="en-US" sz="600">
                  <a:solidFill>
                    <a:srgbClr val="00B0F0"/>
                  </a:solidFill>
                </a:rPr>
                <a:t>2 / 4</a:t>
              </a:r>
              <a:br>
                <a:rPr lang="en-US" sz="600">
                  <a:solidFill>
                    <a:srgbClr val="00B0F0"/>
                  </a:solidFill>
                </a:rPr>
              </a:br>
              <a:r>
                <a:rPr lang="en-US" sz="600">
                  <a:solidFill>
                    <a:srgbClr val="00B0F0"/>
                  </a:solidFill>
                </a:rPr>
                <a:t>col</a:t>
              </a:r>
              <a:endParaRPr lang="en-US" sz="600" dirty="0">
                <a:solidFill>
                  <a:srgbClr val="00B0F0"/>
                </a:solidFill>
              </a:endParaRPr>
            </a:p>
          </p:txBody>
        </p:sp>
        <p:sp>
          <p:nvSpPr>
            <p:cNvPr id="180" name="TextBox 179">
              <a:extLst>
                <a:ext uri="{FF2B5EF4-FFF2-40B4-BE49-F238E27FC236}">
                  <a16:creationId xmlns:a16="http://schemas.microsoft.com/office/drawing/2014/main" id="{A341B576-F973-FF3B-9D70-757A51DED63E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4077661" y="6878002"/>
              <a:ext cx="99386" cy="1569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>
                <a:lnSpc>
                  <a:spcPct val="85000"/>
                </a:lnSpc>
              </a:pPr>
              <a:r>
                <a:rPr lang="en-US" sz="600">
                  <a:solidFill>
                    <a:srgbClr val="FFC000"/>
                  </a:solidFill>
                </a:rPr>
                <a:t>3</a:t>
              </a:r>
              <a:br>
                <a:rPr lang="en-US" sz="600">
                  <a:solidFill>
                    <a:srgbClr val="FFC000"/>
                  </a:solidFill>
                </a:rPr>
              </a:br>
              <a:r>
                <a:rPr lang="en-US" sz="600">
                  <a:solidFill>
                    <a:srgbClr val="FFC000"/>
                  </a:solidFill>
                </a:rPr>
                <a:t>col</a:t>
              </a:r>
              <a:endParaRPr lang="en-US" sz="600" dirty="0">
                <a:solidFill>
                  <a:srgbClr val="FFC000"/>
                </a:solidFill>
              </a:endParaRPr>
            </a:p>
          </p:txBody>
        </p:sp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D94C725E-2F75-A1A8-2A47-9AE54AFFDF90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8013366" y="6878002"/>
              <a:ext cx="99386" cy="1569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>
                <a:lnSpc>
                  <a:spcPct val="85000"/>
                </a:lnSpc>
              </a:pPr>
              <a:r>
                <a:rPr lang="en-US" sz="600">
                  <a:solidFill>
                    <a:srgbClr val="FFC000"/>
                  </a:solidFill>
                </a:rPr>
                <a:t>3</a:t>
              </a:r>
              <a:br>
                <a:rPr lang="en-US" sz="600">
                  <a:solidFill>
                    <a:srgbClr val="FFC000"/>
                  </a:solidFill>
                </a:rPr>
              </a:br>
              <a:r>
                <a:rPr lang="en-US" sz="600">
                  <a:solidFill>
                    <a:srgbClr val="FFC000"/>
                  </a:solidFill>
                </a:rPr>
                <a:t>col</a:t>
              </a:r>
              <a:endParaRPr lang="en-US" sz="600" dirty="0">
                <a:solidFill>
                  <a:srgbClr val="FFC000"/>
                </a:solidFill>
              </a:endParaRPr>
            </a:p>
          </p:txBody>
        </p:sp>
      </p:grpSp>
      <p:grpSp>
        <p:nvGrpSpPr>
          <p:cNvPr id="151" name="Column Markers Top">
            <a:extLst>
              <a:ext uri="{FF2B5EF4-FFF2-40B4-BE49-F238E27FC236}">
                <a16:creationId xmlns:a16="http://schemas.microsoft.com/office/drawing/2014/main" id="{D22D9BE6-0B65-1C47-03BF-D1AB953BE5D3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292100" y="-165576"/>
            <a:ext cx="11607801" cy="137160"/>
            <a:chOff x="292100" y="-165576"/>
            <a:chExt cx="11607801" cy="137160"/>
          </a:xfrm>
        </p:grpSpPr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A1C2DAF0-B0C5-3814-F177-4D283ED86E18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292100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760C7E0C-2513-2BF9-58C7-7ED275705160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1049338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DA8C53B7-FA46-2487-2FDF-B14532D4DC6F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1277937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32117F78-F20D-7784-AFAB-33B9E45C00F5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2035175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38C8718-4726-16BF-EE37-79212A3DCD73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2265363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DE7C7E9-FC71-BAE6-B8D3-3ABEBABB121B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3022601" y="-165576"/>
              <a:ext cx="0" cy="137160"/>
            </a:xfrm>
            <a:prstGeom prst="line">
              <a:avLst/>
            </a:prstGeom>
            <a:ln w="3175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6A00B385-516E-8D52-13A9-8C3600BF4FC3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3251200" y="-165576"/>
              <a:ext cx="0" cy="137160"/>
            </a:xfrm>
            <a:prstGeom prst="line">
              <a:avLst/>
            </a:prstGeom>
            <a:ln w="3175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97BEECB8-6E26-BD06-398F-0B566BF9BBDD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4008438" y="-165576"/>
              <a:ext cx="0" cy="137160"/>
            </a:xfrm>
            <a:prstGeom prst="line">
              <a:avLst/>
            </a:prstGeom>
            <a:ln w="3175">
              <a:solidFill>
                <a:srgbClr val="FFC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CEE70E6-06A0-448E-5213-9F480BBB2168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4237037" y="-165576"/>
              <a:ext cx="0" cy="137160"/>
            </a:xfrm>
            <a:prstGeom prst="line">
              <a:avLst/>
            </a:prstGeom>
            <a:ln w="3175">
              <a:solidFill>
                <a:srgbClr val="FFC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D99AAB26-4D5A-211F-CD30-4DF8B9DB561D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4994275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C2193421-A7B5-60F1-885A-86D1AAD4C1A6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5222874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AB5A5379-3BC9-60DA-11B7-BCC88BF63626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5980112" y="-165576"/>
              <a:ext cx="0" cy="137160"/>
            </a:xfrm>
            <a:prstGeom prst="line">
              <a:avLst/>
            </a:prstGeom>
            <a:ln w="3175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387343BE-0ACB-44CE-03AA-B3F4290A4B61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6210300" y="-165576"/>
              <a:ext cx="0" cy="137160"/>
            </a:xfrm>
            <a:prstGeom prst="line">
              <a:avLst/>
            </a:prstGeom>
            <a:ln w="3175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F30D142D-B1E9-9CBF-97EF-00A42B7BC5FE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6967538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732EA936-B37E-FA24-83D8-1DEE414B5F82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7196137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3BE1C96A-624D-767C-6715-0D9623297663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7953375" y="-165576"/>
              <a:ext cx="0" cy="137160"/>
            </a:xfrm>
            <a:prstGeom prst="line">
              <a:avLst/>
            </a:prstGeom>
            <a:ln w="3175">
              <a:solidFill>
                <a:srgbClr val="FFC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DBF0FBA6-1F05-149A-AD58-63F474363036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9169400" y="-165576"/>
              <a:ext cx="0" cy="137160"/>
            </a:xfrm>
            <a:prstGeom prst="line">
              <a:avLst/>
            </a:prstGeom>
            <a:ln w="3175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56C9AC2C-8889-C695-8160-7D43B07CBEBB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9926638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3521B7C-5C33-9A4C-FBD4-E8303128C409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10156826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31597926-2F92-C2A6-EC39-92172371F51E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10914064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1FE0C9B9-B779-6459-B1D3-0E89CB20C7A8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11142663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D7A92DD3-EDC2-277F-7A79-16F1FC1A8DD1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11899901" y="-119856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259978F6-C812-F2EB-2011-738453334C4C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8181975" y="-165576"/>
              <a:ext cx="0" cy="137160"/>
            </a:xfrm>
            <a:prstGeom prst="line">
              <a:avLst/>
            </a:prstGeom>
            <a:ln w="3175">
              <a:solidFill>
                <a:srgbClr val="FFC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974B9070-6CE7-2988-15D6-7BCD628C78AA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8939213" y="-165576"/>
              <a:ext cx="0" cy="137160"/>
            </a:xfrm>
            <a:prstGeom prst="line">
              <a:avLst/>
            </a:prstGeom>
            <a:ln w="3175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3" name="Horizontal Markers Left">
            <a:extLst>
              <a:ext uri="{FF2B5EF4-FFF2-40B4-BE49-F238E27FC236}">
                <a16:creationId xmlns:a16="http://schemas.microsoft.com/office/drawing/2014/main" id="{2E8F5572-A6C5-0D61-4663-94740861ECFF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-118744" y="304484"/>
            <a:ext cx="91440" cy="5804216"/>
            <a:chOff x="-106044" y="304484"/>
            <a:chExt cx="91440" cy="5804216"/>
          </a:xfrm>
        </p:grpSpPr>
        <p:cxnSp>
          <p:nvCxnSpPr>
            <p:cNvPr id="205" name="Straight Connector 204">
              <a:extLst>
                <a:ext uri="{FF2B5EF4-FFF2-40B4-BE49-F238E27FC236}">
                  <a16:creationId xmlns:a16="http://schemas.microsoft.com/office/drawing/2014/main" id="{52085DA4-FA3C-5517-7394-7B8C7198E8EC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 rot="5400000">
              <a:off x="-60324" y="258764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>
              <a:extLst>
                <a:ext uri="{FF2B5EF4-FFF2-40B4-BE49-F238E27FC236}">
                  <a16:creationId xmlns:a16="http://schemas.microsoft.com/office/drawing/2014/main" id="{B73C6FFB-4043-5FA4-B1B9-8A2CD4468FD2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 rot="5400000">
              <a:off x="-60324" y="6062980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9" name="Group 208">
              <a:extLst>
                <a:ext uri="{FF2B5EF4-FFF2-40B4-BE49-F238E27FC236}">
                  <a16:creationId xmlns:a16="http://schemas.microsoft.com/office/drawing/2014/main" id="{DE7F5164-5687-39B8-50AA-9C06AE869BD5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>
              <a:off x="-106044" y="1219200"/>
              <a:ext cx="91440" cy="419100"/>
              <a:chOff x="-106044" y="1219200"/>
              <a:chExt cx="91440" cy="419100"/>
            </a:xfrm>
          </p:grpSpPr>
          <p:cxnSp>
            <p:nvCxnSpPr>
              <p:cNvPr id="206" name="Straight Connector 205">
                <a:extLst>
                  <a:ext uri="{FF2B5EF4-FFF2-40B4-BE49-F238E27FC236}">
                    <a16:creationId xmlns:a16="http://schemas.microsoft.com/office/drawing/2014/main" id="{6D174423-67A1-6BA0-F32A-B87768D85638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5400000">
                <a:off x="-60324" y="1173480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8" name="Straight Connector 207">
                <a:extLst>
                  <a:ext uri="{FF2B5EF4-FFF2-40B4-BE49-F238E27FC236}">
                    <a16:creationId xmlns:a16="http://schemas.microsoft.com/office/drawing/2014/main" id="{DC407528-7F4C-9C51-0701-8674D84860BF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5400000">
                <a:off x="-60324" y="1592580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0" name="Group 209">
              <a:extLst>
                <a:ext uri="{FF2B5EF4-FFF2-40B4-BE49-F238E27FC236}">
                  <a16:creationId xmlns:a16="http://schemas.microsoft.com/office/drawing/2014/main" id="{744D8EC0-E0C8-6F33-8B33-9252682D5549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>
              <a:off x="-106044" y="5676900"/>
              <a:ext cx="91440" cy="431800"/>
              <a:chOff x="-106044" y="1206500"/>
              <a:chExt cx="91440" cy="431800"/>
            </a:xfrm>
          </p:grpSpPr>
          <p:cxnSp>
            <p:nvCxnSpPr>
              <p:cNvPr id="211" name="Straight Connector 210">
                <a:extLst>
                  <a:ext uri="{FF2B5EF4-FFF2-40B4-BE49-F238E27FC236}">
                    <a16:creationId xmlns:a16="http://schemas.microsoft.com/office/drawing/2014/main" id="{EBDB6D67-47F1-2ACB-B15E-CF83680C2CC5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5400000">
                <a:off x="-60324" y="1160780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2" name="Straight Connector 211">
                <a:extLst>
                  <a:ext uri="{FF2B5EF4-FFF2-40B4-BE49-F238E27FC236}">
                    <a16:creationId xmlns:a16="http://schemas.microsoft.com/office/drawing/2014/main" id="{A0172A1C-AD6A-BB6C-25B7-D91289B9E05E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5400000">
                <a:off x="-60324" y="1592580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14" name="Horizontal Markers Right">
            <a:extLst>
              <a:ext uri="{FF2B5EF4-FFF2-40B4-BE49-F238E27FC236}">
                <a16:creationId xmlns:a16="http://schemas.microsoft.com/office/drawing/2014/main" id="{0E15D8C4-ABC7-762F-EBD9-715AC935C45D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 flipH="1">
            <a:off x="12222840" y="304484"/>
            <a:ext cx="91440" cy="5804216"/>
            <a:chOff x="-106044" y="304484"/>
            <a:chExt cx="91440" cy="5804216"/>
          </a:xfrm>
        </p:grpSpPr>
        <p:cxnSp>
          <p:nvCxnSpPr>
            <p:cNvPr id="215" name="Straight Connector 214">
              <a:extLst>
                <a:ext uri="{FF2B5EF4-FFF2-40B4-BE49-F238E27FC236}">
                  <a16:creationId xmlns:a16="http://schemas.microsoft.com/office/drawing/2014/main" id="{8337C811-4542-2EE7-A070-0A11F64823E5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 rot="5400000">
              <a:off x="-60324" y="258764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Straight Connector 215">
              <a:extLst>
                <a:ext uri="{FF2B5EF4-FFF2-40B4-BE49-F238E27FC236}">
                  <a16:creationId xmlns:a16="http://schemas.microsoft.com/office/drawing/2014/main" id="{14A20C2E-8ED8-B0B7-BD57-C12A3BBCA501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 rot="5400000">
              <a:off x="-60324" y="6062980"/>
              <a:ext cx="0" cy="91440"/>
            </a:xfrm>
            <a:prstGeom prst="line">
              <a:avLst/>
            </a:prstGeom>
            <a:ln w="3175">
              <a:solidFill>
                <a:srgbClr val="B2B2B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17" name="Group 216">
              <a:extLst>
                <a:ext uri="{FF2B5EF4-FFF2-40B4-BE49-F238E27FC236}">
                  <a16:creationId xmlns:a16="http://schemas.microsoft.com/office/drawing/2014/main" id="{64E99BCD-4B6B-8A77-3E7B-C8AE755D6FF5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>
              <a:off x="-106044" y="1219200"/>
              <a:ext cx="91440" cy="419100"/>
              <a:chOff x="-106044" y="1219200"/>
              <a:chExt cx="91440" cy="419100"/>
            </a:xfrm>
          </p:grpSpPr>
          <p:cxnSp>
            <p:nvCxnSpPr>
              <p:cNvPr id="221" name="Straight Connector 220">
                <a:extLst>
                  <a:ext uri="{FF2B5EF4-FFF2-40B4-BE49-F238E27FC236}">
                    <a16:creationId xmlns:a16="http://schemas.microsoft.com/office/drawing/2014/main" id="{BDC21EB8-6195-9793-19F2-9F17FD159A22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5400000">
                <a:off x="-60324" y="1173480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2" name="Straight Connector 221">
                <a:extLst>
                  <a:ext uri="{FF2B5EF4-FFF2-40B4-BE49-F238E27FC236}">
                    <a16:creationId xmlns:a16="http://schemas.microsoft.com/office/drawing/2014/main" id="{1BEA6F92-D18B-7DDF-A672-BD40DB39AD40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5400000">
                <a:off x="-60324" y="1592580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8" name="Group 217">
              <a:extLst>
                <a:ext uri="{FF2B5EF4-FFF2-40B4-BE49-F238E27FC236}">
                  <a16:creationId xmlns:a16="http://schemas.microsoft.com/office/drawing/2014/main" id="{A9963F1F-494E-ED48-2599-10F3CF79B8EC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>
              <a:off x="-106044" y="5676900"/>
              <a:ext cx="91440" cy="431800"/>
              <a:chOff x="-106044" y="1206500"/>
              <a:chExt cx="91440" cy="431800"/>
            </a:xfrm>
          </p:grpSpPr>
          <p:cxnSp>
            <p:nvCxnSpPr>
              <p:cNvPr id="219" name="Straight Connector 218">
                <a:extLst>
                  <a:ext uri="{FF2B5EF4-FFF2-40B4-BE49-F238E27FC236}">
                    <a16:creationId xmlns:a16="http://schemas.microsoft.com/office/drawing/2014/main" id="{FD80CC2F-018A-E7FC-E743-CCA5B83720FB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5400000">
                <a:off x="-60324" y="1160780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Straight Connector 219">
                <a:extLst>
                  <a:ext uri="{FF2B5EF4-FFF2-40B4-BE49-F238E27FC236}">
                    <a16:creationId xmlns:a16="http://schemas.microsoft.com/office/drawing/2014/main" id="{3100CA45-B775-276A-5A43-FE5A99346451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 rot="5400000">
                <a:off x="-60324" y="1592580"/>
                <a:ext cx="0" cy="91440"/>
              </a:xfrm>
              <a:prstGeom prst="line">
                <a:avLst/>
              </a:prstGeom>
              <a:ln w="3175">
                <a:solidFill>
                  <a:srgbClr val="B2B2B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A64E6BD6-E07D-2B19-17C8-0FC0C2471EF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4"/>
          </p:nvPr>
        </p:nvSpPr>
        <p:spPr>
          <a:xfrm>
            <a:off x="11495577" y="6485399"/>
            <a:ext cx="404321" cy="28295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3E04DF46-C0DC-4ADC-9A6F-918CC4703A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pyright Line">
            <a:extLst>
              <a:ext uri="{FF2B5EF4-FFF2-40B4-BE49-F238E27FC236}">
                <a16:creationId xmlns:a16="http://schemas.microsoft.com/office/drawing/2014/main" id="{FE2C65CF-8B27-677A-7002-0C3FC6DBB22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167809" y="6526850"/>
            <a:ext cx="2268453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© </a:t>
            </a:r>
            <a:fld id="{92E70860-886D-4303-B2B5-BD1295E1FD39}" type="datetimeyyyy">
              <a:rPr lang="en-US" sz="70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r>
              <a:rPr lang="en-US" sz="7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Nielsen Consumer LLC. All Rights Reserved.</a:t>
            </a:r>
          </a:p>
        </p:txBody>
      </p:sp>
      <p:sp>
        <p:nvSpPr>
          <p:cNvPr id="23" name="Confidential disclaimer">
            <a:extLst>
              <a:ext uri="{FF2B5EF4-FFF2-40B4-BE49-F238E27FC236}">
                <a16:creationId xmlns:a16="http://schemas.microsoft.com/office/drawing/2014/main" id="{78A1FF65-2683-767F-2325-D99D81EAF5F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837949" y="6573016"/>
            <a:ext cx="110126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Confidential and proprietary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5F70E08D-819F-1B99-D7F7-BEB0CF6E832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3"/>
          </p:nvPr>
        </p:nvSpPr>
        <p:spPr>
          <a:xfrm>
            <a:off x="3251197" y="6485399"/>
            <a:ext cx="3716341" cy="282957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7CB195BE-558A-E9D1-BD0E-FE21F1324E8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"/>
          </p:nvPr>
        </p:nvSpPr>
        <p:spPr>
          <a:xfrm>
            <a:off x="2265363" y="6485399"/>
            <a:ext cx="757238" cy="28295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13/12/2022</a:t>
            </a:r>
            <a:endParaRPr lang="en-US" dirty="0"/>
          </a:p>
        </p:txBody>
      </p:sp>
      <p:cxnSp>
        <p:nvCxnSpPr>
          <p:cNvPr id="50" name="Base Rule">
            <a:extLst>
              <a:ext uri="{FF2B5EF4-FFF2-40B4-BE49-F238E27FC236}">
                <a16:creationId xmlns:a16="http://schemas.microsoft.com/office/drawing/2014/main" id="{8F7DBEB2-D3D4-C8B5-3434-A00B1C2AA7EE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292100" y="6395755"/>
            <a:ext cx="1160780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D708349F-2D5F-012D-30C6-BC9EF27CB84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/>
          </p:nvPr>
        </p:nvSpPr>
        <p:spPr>
          <a:xfrm>
            <a:off x="292100" y="1638300"/>
            <a:ext cx="11611336" cy="4038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Insert your copy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397E100-96BC-DBA8-0931-869A3CB0F64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292100" y="304800"/>
            <a:ext cx="11613314" cy="2655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Insert your slide title in Arial </a:t>
            </a:r>
            <a:r>
              <a:rPr lang="en-US"/>
              <a:t>Bold 20pt</a:t>
            </a:r>
            <a:endParaRPr lang="en-US" dirty="0"/>
          </a:p>
        </p:txBody>
      </p:sp>
      <p:pic>
        <p:nvPicPr>
          <p:cNvPr id="9" name="NIQ GFK Lockup" hidden="1">
            <a:extLst>
              <a:ext uri="{FF2B5EF4-FFF2-40B4-BE49-F238E27FC236}">
                <a16:creationId xmlns:a16="http://schemas.microsoft.com/office/drawing/2014/main" id="{820B2CC8-6A10-1A7D-AA80-20F852A3651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10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3"/>
              </a:ext>
            </a:extLst>
          </a:blip>
          <a:stretch>
            <a:fillRect/>
          </a:stretch>
        </p:blipFill>
        <p:spPr>
          <a:xfrm>
            <a:off x="302626" y="6462285"/>
            <a:ext cx="906224" cy="329184"/>
          </a:xfrm>
          <a:prstGeom prst="rect">
            <a:avLst/>
          </a:prstGeom>
        </p:spPr>
      </p:pic>
      <p:pic>
        <p:nvPicPr>
          <p:cNvPr id="22" name="NielsenIQ logo+wordmark" descr="A blue text on a black background&#10;&#10;Description automatically generated" hidden="1">
            <a:extLst>
              <a:ext uri="{FF2B5EF4-FFF2-40B4-BE49-F238E27FC236}">
                <a16:creationId xmlns:a16="http://schemas.microsoft.com/office/drawing/2014/main" id="{40901A86-02E1-3B2F-FACD-729B5AB8CC9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10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130" y="6495154"/>
            <a:ext cx="781433" cy="269593"/>
          </a:xfrm>
          <a:prstGeom prst="rect">
            <a:avLst/>
          </a:prstGeom>
        </p:spPr>
      </p:pic>
      <p:pic>
        <p:nvPicPr>
          <p:cNvPr id="11" name="NIQ Logo">
            <a:extLst>
              <a:ext uri="{FF2B5EF4-FFF2-40B4-BE49-F238E27FC236}">
                <a16:creationId xmlns:a16="http://schemas.microsoft.com/office/drawing/2014/main" id="{ACAE94BF-32EB-3237-6101-F4E7A582074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10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6"/>
              </a:ext>
            </a:extLst>
          </a:blip>
          <a:stretch>
            <a:fillRect/>
          </a:stretch>
        </p:blipFill>
        <p:spPr>
          <a:xfrm>
            <a:off x="292100" y="6495101"/>
            <a:ext cx="645459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8422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15" r:id="rId1"/>
    <p:sldLayoutId id="2147484916" r:id="rId2"/>
    <p:sldLayoutId id="2147484917" r:id="rId3"/>
    <p:sldLayoutId id="2147484918" r:id="rId4"/>
    <p:sldLayoutId id="2147484919" r:id="rId5"/>
    <p:sldLayoutId id="2147484920" r:id="rId6"/>
    <p:sldLayoutId id="2147484921" r:id="rId7"/>
    <p:sldLayoutId id="2147484922" r:id="rId8"/>
    <p:sldLayoutId id="2147484923" r:id="rId9"/>
    <p:sldLayoutId id="2147484924" r:id="rId10"/>
    <p:sldLayoutId id="2147484925" r:id="rId11"/>
    <p:sldLayoutId id="2147484926" r:id="rId12"/>
    <p:sldLayoutId id="2147484927" r:id="rId13"/>
    <p:sldLayoutId id="2147484928" r:id="rId14"/>
    <p:sldLayoutId id="2147484929" r:id="rId15"/>
    <p:sldLayoutId id="2147484930" r:id="rId16"/>
    <p:sldLayoutId id="2147484931" r:id="rId17"/>
    <p:sldLayoutId id="2147484932" r:id="rId18"/>
    <p:sldLayoutId id="2147484933" r:id="rId19"/>
    <p:sldLayoutId id="2147484934" r:id="rId20"/>
    <p:sldLayoutId id="2147484935" r:id="rId21"/>
    <p:sldLayoutId id="2147484936" r:id="rId22"/>
    <p:sldLayoutId id="2147484937" r:id="rId23"/>
    <p:sldLayoutId id="2147484938" r:id="rId24"/>
    <p:sldLayoutId id="2147484939" r:id="rId25"/>
    <p:sldLayoutId id="2147484940" r:id="rId26"/>
    <p:sldLayoutId id="2147484941" r:id="rId27"/>
    <p:sldLayoutId id="2147484942" r:id="rId28"/>
    <p:sldLayoutId id="2147484943" r:id="rId29"/>
    <p:sldLayoutId id="2147484944" r:id="rId30"/>
    <p:sldLayoutId id="2147484945" r:id="rId31"/>
    <p:sldLayoutId id="2147484946" r:id="rId32"/>
    <p:sldLayoutId id="2147484947" r:id="rId33"/>
    <p:sldLayoutId id="2147484948" r:id="rId34"/>
    <p:sldLayoutId id="2147484949" r:id="rId35"/>
    <p:sldLayoutId id="2147484950" r:id="rId36"/>
    <p:sldLayoutId id="2147484952" r:id="rId37"/>
    <p:sldLayoutId id="2147484953" r:id="rId38"/>
    <p:sldLayoutId id="2147484954" r:id="rId39"/>
    <p:sldLayoutId id="2147484955" r:id="rId40"/>
    <p:sldLayoutId id="2147484956" r:id="rId41"/>
    <p:sldLayoutId id="2147484957" r:id="rId42"/>
    <p:sldLayoutId id="2147484958" r:id="rId43"/>
    <p:sldLayoutId id="2147484959" r:id="rId44"/>
    <p:sldLayoutId id="2147484960" r:id="rId45"/>
    <p:sldLayoutId id="2147484961" r:id="rId46"/>
    <p:sldLayoutId id="2147484962" r:id="rId47"/>
    <p:sldLayoutId id="2147484963" r:id="rId48"/>
    <p:sldLayoutId id="2147484964" r:id="rId49"/>
    <p:sldLayoutId id="2147484965" r:id="rId50"/>
    <p:sldLayoutId id="2147484966" r:id="rId51"/>
    <p:sldLayoutId id="2147484967" r:id="rId52"/>
    <p:sldLayoutId id="2147484968" r:id="rId53"/>
    <p:sldLayoutId id="2147484969" r:id="rId54"/>
    <p:sldLayoutId id="2147484970" r:id="rId55"/>
    <p:sldLayoutId id="2147484971" r:id="rId56"/>
    <p:sldLayoutId id="2147484972" r:id="rId57"/>
    <p:sldLayoutId id="2147484973" r:id="rId58"/>
    <p:sldLayoutId id="2147484974" r:id="rId59"/>
    <p:sldLayoutId id="2147484975" r:id="rId60"/>
    <p:sldLayoutId id="2147484976" r:id="rId61"/>
    <p:sldLayoutId id="2147484977" r:id="rId62"/>
    <p:sldLayoutId id="2147484978" r:id="rId63"/>
    <p:sldLayoutId id="2147484979" r:id="rId64"/>
    <p:sldLayoutId id="2147484980" r:id="rId65"/>
    <p:sldLayoutId id="2147484981" r:id="rId66"/>
    <p:sldLayoutId id="2147484982" r:id="rId67"/>
    <p:sldLayoutId id="2147484983" r:id="rId68"/>
    <p:sldLayoutId id="2147484984" r:id="rId69"/>
    <p:sldLayoutId id="2147484985" r:id="rId70"/>
    <p:sldLayoutId id="2147484986" r:id="rId71"/>
    <p:sldLayoutId id="2147484987" r:id="rId72"/>
    <p:sldLayoutId id="2147484988" r:id="rId73"/>
    <p:sldLayoutId id="2147484989" r:id="rId74"/>
    <p:sldLayoutId id="2147484990" r:id="rId75"/>
    <p:sldLayoutId id="2147484991" r:id="rId76"/>
    <p:sldLayoutId id="2147484992" r:id="rId77"/>
    <p:sldLayoutId id="2147484993" r:id="rId78"/>
    <p:sldLayoutId id="2147484994" r:id="rId79"/>
    <p:sldLayoutId id="2147484995" r:id="rId80"/>
    <p:sldLayoutId id="2147484996" r:id="rId81"/>
    <p:sldLayoutId id="2147484997" r:id="rId82"/>
    <p:sldLayoutId id="2147484998" r:id="rId83"/>
    <p:sldLayoutId id="2147484999" r:id="rId84"/>
    <p:sldLayoutId id="2147485000" r:id="rId85"/>
    <p:sldLayoutId id="2147485001" r:id="rId86"/>
    <p:sldLayoutId id="2147485002" r:id="rId87"/>
    <p:sldLayoutId id="2147485003" r:id="rId88"/>
    <p:sldLayoutId id="2147485004" r:id="rId89"/>
    <p:sldLayoutId id="2147485005" r:id="rId90"/>
    <p:sldLayoutId id="2147485006" r:id="rId91"/>
    <p:sldLayoutId id="2147485007" r:id="rId92"/>
    <p:sldLayoutId id="2147485008" r:id="rId93"/>
    <p:sldLayoutId id="2147485009" r:id="rId94"/>
    <p:sldLayoutId id="2147485010" r:id="rId95"/>
    <p:sldLayoutId id="2147485011" r:id="rId96"/>
    <p:sldLayoutId id="2147485012" r:id="rId97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71450" algn="l" defTabSz="914400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indent="-171450" algn="l" defTabSz="914400" rtl="0" eaLnBrk="1" latinLnBrk="0" hangingPunct="1">
        <a:lnSpc>
          <a:spcPct val="100000"/>
        </a:lnSpc>
        <a:spcBef>
          <a:spcPts val="7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85850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1714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A4A3A4"/>
          </p15:clr>
        </p15:guide>
        <p15:guide id="2" pos="7680">
          <p15:clr>
            <a:srgbClr val="A4A3A4"/>
          </p15:clr>
        </p15:guide>
        <p15:guide id="3" pos="184">
          <p15:clr>
            <a:srgbClr val="A4A3A4"/>
          </p15:clr>
        </p15:guide>
        <p15:guide id="4" pos="3840">
          <p15:clr>
            <a:srgbClr val="A4A3A4"/>
          </p15:clr>
        </p15:guide>
        <p15:guide id="5" pos="7496">
          <p15:clr>
            <a:srgbClr val="A4A3A4"/>
          </p15:clr>
        </p15:guide>
        <p15:guide id="6" orient="horz">
          <p15:clr>
            <a:srgbClr val="A4A3A4"/>
          </p15:clr>
        </p15:guide>
        <p15:guide id="7" orient="horz" pos="4320">
          <p15:clr>
            <a:srgbClr val="A4A3A4"/>
          </p15:clr>
        </p15:guide>
        <p15:guide id="8" orient="horz" pos="192">
          <p15:clr>
            <a:srgbClr val="A4A3A4"/>
          </p15:clr>
        </p15:guide>
        <p15:guide id="9" orient="horz" pos="3968">
          <p15:clr>
            <a:srgbClr val="A4A3A4"/>
          </p15:clr>
        </p15:guide>
        <p15:guide id="10" orient="horz" pos="768">
          <p15:clr>
            <a:srgbClr val="A4A3A4"/>
          </p15:clr>
        </p15:guide>
        <p15:guide id="11" orient="horz" pos="3848">
          <p15:clr>
            <a:srgbClr val="A4A3A4"/>
          </p15:clr>
        </p15:guide>
        <p15:guide id="12" orient="horz" pos="1032">
          <p15:clr>
            <a:srgbClr val="A4A3A4"/>
          </p15:clr>
        </p15:guide>
        <p15:guide id="13" orient="horz" pos="3576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161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264.xml"/><Relationship Id="rId18" Type="http://schemas.openxmlformats.org/officeDocument/2006/relationships/tags" Target="../tags/tag269.xml"/><Relationship Id="rId26" Type="http://schemas.openxmlformats.org/officeDocument/2006/relationships/tags" Target="../tags/tag277.xml"/><Relationship Id="rId39" Type="http://schemas.openxmlformats.org/officeDocument/2006/relationships/chart" Target="../charts/chart1.xml"/><Relationship Id="rId21" Type="http://schemas.openxmlformats.org/officeDocument/2006/relationships/tags" Target="../tags/tag272.xml"/><Relationship Id="rId34" Type="http://schemas.openxmlformats.org/officeDocument/2006/relationships/tags" Target="../tags/tag285.xml"/><Relationship Id="rId42" Type="http://schemas.openxmlformats.org/officeDocument/2006/relationships/image" Target="../media/image68.emf"/><Relationship Id="rId7" Type="http://schemas.openxmlformats.org/officeDocument/2006/relationships/tags" Target="../tags/tag258.xml"/><Relationship Id="rId2" Type="http://schemas.openxmlformats.org/officeDocument/2006/relationships/tags" Target="../tags/tag253.xml"/><Relationship Id="rId16" Type="http://schemas.openxmlformats.org/officeDocument/2006/relationships/tags" Target="../tags/tag267.xml"/><Relationship Id="rId20" Type="http://schemas.openxmlformats.org/officeDocument/2006/relationships/tags" Target="../tags/tag271.xml"/><Relationship Id="rId29" Type="http://schemas.openxmlformats.org/officeDocument/2006/relationships/tags" Target="../tags/tag280.xml"/><Relationship Id="rId41" Type="http://schemas.openxmlformats.org/officeDocument/2006/relationships/image" Target="../media/image67.svg"/><Relationship Id="rId1" Type="http://schemas.openxmlformats.org/officeDocument/2006/relationships/tags" Target="../tags/tag252.xml"/><Relationship Id="rId6" Type="http://schemas.openxmlformats.org/officeDocument/2006/relationships/tags" Target="../tags/tag257.xml"/><Relationship Id="rId11" Type="http://schemas.openxmlformats.org/officeDocument/2006/relationships/tags" Target="../tags/tag262.xml"/><Relationship Id="rId24" Type="http://schemas.openxmlformats.org/officeDocument/2006/relationships/tags" Target="../tags/tag275.xml"/><Relationship Id="rId32" Type="http://schemas.openxmlformats.org/officeDocument/2006/relationships/tags" Target="../tags/tag283.xml"/><Relationship Id="rId37" Type="http://schemas.openxmlformats.org/officeDocument/2006/relationships/tags" Target="../tags/tag288.xml"/><Relationship Id="rId40" Type="http://schemas.openxmlformats.org/officeDocument/2006/relationships/image" Target="../media/image66.png"/><Relationship Id="rId5" Type="http://schemas.openxmlformats.org/officeDocument/2006/relationships/tags" Target="../tags/tag256.xml"/><Relationship Id="rId15" Type="http://schemas.openxmlformats.org/officeDocument/2006/relationships/tags" Target="../tags/tag266.xml"/><Relationship Id="rId23" Type="http://schemas.openxmlformats.org/officeDocument/2006/relationships/tags" Target="../tags/tag274.xml"/><Relationship Id="rId28" Type="http://schemas.openxmlformats.org/officeDocument/2006/relationships/tags" Target="../tags/tag279.xml"/><Relationship Id="rId36" Type="http://schemas.openxmlformats.org/officeDocument/2006/relationships/tags" Target="../tags/tag287.xml"/><Relationship Id="rId10" Type="http://schemas.openxmlformats.org/officeDocument/2006/relationships/tags" Target="../tags/tag261.xml"/><Relationship Id="rId19" Type="http://schemas.openxmlformats.org/officeDocument/2006/relationships/tags" Target="../tags/tag270.xml"/><Relationship Id="rId31" Type="http://schemas.openxmlformats.org/officeDocument/2006/relationships/tags" Target="../tags/tag282.xml"/><Relationship Id="rId4" Type="http://schemas.openxmlformats.org/officeDocument/2006/relationships/tags" Target="../tags/tag255.xml"/><Relationship Id="rId9" Type="http://schemas.openxmlformats.org/officeDocument/2006/relationships/tags" Target="../tags/tag260.xml"/><Relationship Id="rId14" Type="http://schemas.openxmlformats.org/officeDocument/2006/relationships/tags" Target="../tags/tag265.xml"/><Relationship Id="rId22" Type="http://schemas.openxmlformats.org/officeDocument/2006/relationships/tags" Target="../tags/tag273.xml"/><Relationship Id="rId27" Type="http://schemas.openxmlformats.org/officeDocument/2006/relationships/tags" Target="../tags/tag278.xml"/><Relationship Id="rId30" Type="http://schemas.openxmlformats.org/officeDocument/2006/relationships/tags" Target="../tags/tag281.xml"/><Relationship Id="rId35" Type="http://schemas.openxmlformats.org/officeDocument/2006/relationships/tags" Target="../tags/tag286.xml"/><Relationship Id="rId8" Type="http://schemas.openxmlformats.org/officeDocument/2006/relationships/tags" Target="../tags/tag259.xml"/><Relationship Id="rId3" Type="http://schemas.openxmlformats.org/officeDocument/2006/relationships/tags" Target="../tags/tag254.xml"/><Relationship Id="rId12" Type="http://schemas.openxmlformats.org/officeDocument/2006/relationships/tags" Target="../tags/tag263.xml"/><Relationship Id="rId17" Type="http://schemas.openxmlformats.org/officeDocument/2006/relationships/tags" Target="../tags/tag268.xml"/><Relationship Id="rId25" Type="http://schemas.openxmlformats.org/officeDocument/2006/relationships/tags" Target="../tags/tag276.xml"/><Relationship Id="rId33" Type="http://schemas.openxmlformats.org/officeDocument/2006/relationships/tags" Target="../tags/tag284.xml"/><Relationship Id="rId38" Type="http://schemas.openxmlformats.org/officeDocument/2006/relationships/slideLayout" Target="../slideLayouts/slideLayout144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301.xml"/><Relationship Id="rId18" Type="http://schemas.openxmlformats.org/officeDocument/2006/relationships/tags" Target="../tags/tag306.xml"/><Relationship Id="rId26" Type="http://schemas.openxmlformats.org/officeDocument/2006/relationships/tags" Target="../tags/tag314.xml"/><Relationship Id="rId21" Type="http://schemas.openxmlformats.org/officeDocument/2006/relationships/tags" Target="../tags/tag309.xml"/><Relationship Id="rId34" Type="http://schemas.openxmlformats.org/officeDocument/2006/relationships/slideLayout" Target="../slideLayouts/slideLayout144.xml"/><Relationship Id="rId7" Type="http://schemas.openxmlformats.org/officeDocument/2006/relationships/tags" Target="../tags/tag295.xml"/><Relationship Id="rId12" Type="http://schemas.openxmlformats.org/officeDocument/2006/relationships/tags" Target="../tags/tag300.xml"/><Relationship Id="rId17" Type="http://schemas.openxmlformats.org/officeDocument/2006/relationships/tags" Target="../tags/tag305.xml"/><Relationship Id="rId25" Type="http://schemas.openxmlformats.org/officeDocument/2006/relationships/tags" Target="../tags/tag313.xml"/><Relationship Id="rId33" Type="http://schemas.openxmlformats.org/officeDocument/2006/relationships/tags" Target="../tags/tag321.xml"/><Relationship Id="rId38" Type="http://schemas.openxmlformats.org/officeDocument/2006/relationships/image" Target="../media/image68.emf"/><Relationship Id="rId2" Type="http://schemas.openxmlformats.org/officeDocument/2006/relationships/tags" Target="../tags/tag290.xml"/><Relationship Id="rId16" Type="http://schemas.openxmlformats.org/officeDocument/2006/relationships/tags" Target="../tags/tag304.xml"/><Relationship Id="rId20" Type="http://schemas.openxmlformats.org/officeDocument/2006/relationships/tags" Target="../tags/tag308.xml"/><Relationship Id="rId29" Type="http://schemas.openxmlformats.org/officeDocument/2006/relationships/tags" Target="../tags/tag317.xml"/><Relationship Id="rId1" Type="http://schemas.openxmlformats.org/officeDocument/2006/relationships/tags" Target="../tags/tag289.xml"/><Relationship Id="rId6" Type="http://schemas.openxmlformats.org/officeDocument/2006/relationships/tags" Target="../tags/tag294.xml"/><Relationship Id="rId11" Type="http://schemas.openxmlformats.org/officeDocument/2006/relationships/tags" Target="../tags/tag299.xml"/><Relationship Id="rId24" Type="http://schemas.openxmlformats.org/officeDocument/2006/relationships/tags" Target="../tags/tag312.xml"/><Relationship Id="rId32" Type="http://schemas.openxmlformats.org/officeDocument/2006/relationships/tags" Target="../tags/tag320.xml"/><Relationship Id="rId37" Type="http://schemas.openxmlformats.org/officeDocument/2006/relationships/image" Target="../media/image69.svg"/><Relationship Id="rId5" Type="http://schemas.openxmlformats.org/officeDocument/2006/relationships/tags" Target="../tags/tag293.xml"/><Relationship Id="rId15" Type="http://schemas.openxmlformats.org/officeDocument/2006/relationships/tags" Target="../tags/tag303.xml"/><Relationship Id="rId23" Type="http://schemas.openxmlformats.org/officeDocument/2006/relationships/tags" Target="../tags/tag311.xml"/><Relationship Id="rId28" Type="http://schemas.openxmlformats.org/officeDocument/2006/relationships/tags" Target="../tags/tag316.xml"/><Relationship Id="rId36" Type="http://schemas.openxmlformats.org/officeDocument/2006/relationships/image" Target="../media/image66.png"/><Relationship Id="rId10" Type="http://schemas.openxmlformats.org/officeDocument/2006/relationships/tags" Target="../tags/tag298.xml"/><Relationship Id="rId19" Type="http://schemas.openxmlformats.org/officeDocument/2006/relationships/tags" Target="../tags/tag307.xml"/><Relationship Id="rId31" Type="http://schemas.openxmlformats.org/officeDocument/2006/relationships/tags" Target="../tags/tag319.xml"/><Relationship Id="rId4" Type="http://schemas.openxmlformats.org/officeDocument/2006/relationships/tags" Target="../tags/tag292.xml"/><Relationship Id="rId9" Type="http://schemas.openxmlformats.org/officeDocument/2006/relationships/tags" Target="../tags/tag297.xml"/><Relationship Id="rId14" Type="http://schemas.openxmlformats.org/officeDocument/2006/relationships/tags" Target="../tags/tag302.xml"/><Relationship Id="rId22" Type="http://schemas.openxmlformats.org/officeDocument/2006/relationships/tags" Target="../tags/tag310.xml"/><Relationship Id="rId27" Type="http://schemas.openxmlformats.org/officeDocument/2006/relationships/tags" Target="../tags/tag315.xml"/><Relationship Id="rId30" Type="http://schemas.openxmlformats.org/officeDocument/2006/relationships/tags" Target="../tags/tag318.xml"/><Relationship Id="rId35" Type="http://schemas.openxmlformats.org/officeDocument/2006/relationships/chart" Target="../charts/chart2.xml"/><Relationship Id="rId8" Type="http://schemas.openxmlformats.org/officeDocument/2006/relationships/tags" Target="../tags/tag296.xml"/><Relationship Id="rId3" Type="http://schemas.openxmlformats.org/officeDocument/2006/relationships/tags" Target="../tags/tag291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334.xml"/><Relationship Id="rId18" Type="http://schemas.openxmlformats.org/officeDocument/2006/relationships/tags" Target="../tags/tag339.xml"/><Relationship Id="rId26" Type="http://schemas.openxmlformats.org/officeDocument/2006/relationships/tags" Target="../tags/tag347.xml"/><Relationship Id="rId21" Type="http://schemas.openxmlformats.org/officeDocument/2006/relationships/tags" Target="../tags/tag342.xml"/><Relationship Id="rId34" Type="http://schemas.openxmlformats.org/officeDocument/2006/relationships/slideLayout" Target="../slideLayouts/slideLayout144.xml"/><Relationship Id="rId7" Type="http://schemas.openxmlformats.org/officeDocument/2006/relationships/tags" Target="../tags/tag328.xml"/><Relationship Id="rId12" Type="http://schemas.openxmlformats.org/officeDocument/2006/relationships/tags" Target="../tags/tag333.xml"/><Relationship Id="rId17" Type="http://schemas.openxmlformats.org/officeDocument/2006/relationships/tags" Target="../tags/tag338.xml"/><Relationship Id="rId25" Type="http://schemas.openxmlformats.org/officeDocument/2006/relationships/tags" Target="../tags/tag346.xml"/><Relationship Id="rId33" Type="http://schemas.openxmlformats.org/officeDocument/2006/relationships/tags" Target="../tags/tag354.xml"/><Relationship Id="rId38" Type="http://schemas.openxmlformats.org/officeDocument/2006/relationships/image" Target="../media/image68.emf"/><Relationship Id="rId2" Type="http://schemas.openxmlformats.org/officeDocument/2006/relationships/tags" Target="../tags/tag323.xml"/><Relationship Id="rId16" Type="http://schemas.openxmlformats.org/officeDocument/2006/relationships/tags" Target="../tags/tag337.xml"/><Relationship Id="rId20" Type="http://schemas.openxmlformats.org/officeDocument/2006/relationships/tags" Target="../tags/tag341.xml"/><Relationship Id="rId29" Type="http://schemas.openxmlformats.org/officeDocument/2006/relationships/tags" Target="../tags/tag350.xml"/><Relationship Id="rId1" Type="http://schemas.openxmlformats.org/officeDocument/2006/relationships/tags" Target="../tags/tag322.xml"/><Relationship Id="rId6" Type="http://schemas.openxmlformats.org/officeDocument/2006/relationships/tags" Target="../tags/tag327.xml"/><Relationship Id="rId11" Type="http://schemas.openxmlformats.org/officeDocument/2006/relationships/tags" Target="../tags/tag332.xml"/><Relationship Id="rId24" Type="http://schemas.openxmlformats.org/officeDocument/2006/relationships/tags" Target="../tags/tag345.xml"/><Relationship Id="rId32" Type="http://schemas.openxmlformats.org/officeDocument/2006/relationships/tags" Target="../tags/tag353.xml"/><Relationship Id="rId37" Type="http://schemas.openxmlformats.org/officeDocument/2006/relationships/image" Target="../media/image69.svg"/><Relationship Id="rId5" Type="http://schemas.openxmlformats.org/officeDocument/2006/relationships/tags" Target="../tags/tag326.xml"/><Relationship Id="rId15" Type="http://schemas.openxmlformats.org/officeDocument/2006/relationships/tags" Target="../tags/tag336.xml"/><Relationship Id="rId23" Type="http://schemas.openxmlformats.org/officeDocument/2006/relationships/tags" Target="../tags/tag344.xml"/><Relationship Id="rId28" Type="http://schemas.openxmlformats.org/officeDocument/2006/relationships/tags" Target="../tags/tag349.xml"/><Relationship Id="rId36" Type="http://schemas.openxmlformats.org/officeDocument/2006/relationships/image" Target="../media/image66.png"/><Relationship Id="rId10" Type="http://schemas.openxmlformats.org/officeDocument/2006/relationships/tags" Target="../tags/tag331.xml"/><Relationship Id="rId19" Type="http://schemas.openxmlformats.org/officeDocument/2006/relationships/tags" Target="../tags/tag340.xml"/><Relationship Id="rId31" Type="http://schemas.openxmlformats.org/officeDocument/2006/relationships/tags" Target="../tags/tag352.xml"/><Relationship Id="rId4" Type="http://schemas.openxmlformats.org/officeDocument/2006/relationships/tags" Target="../tags/tag325.xml"/><Relationship Id="rId9" Type="http://schemas.openxmlformats.org/officeDocument/2006/relationships/tags" Target="../tags/tag330.xml"/><Relationship Id="rId14" Type="http://schemas.openxmlformats.org/officeDocument/2006/relationships/tags" Target="../tags/tag335.xml"/><Relationship Id="rId22" Type="http://schemas.openxmlformats.org/officeDocument/2006/relationships/tags" Target="../tags/tag343.xml"/><Relationship Id="rId27" Type="http://schemas.openxmlformats.org/officeDocument/2006/relationships/tags" Target="../tags/tag348.xml"/><Relationship Id="rId30" Type="http://schemas.openxmlformats.org/officeDocument/2006/relationships/tags" Target="../tags/tag351.xml"/><Relationship Id="rId35" Type="http://schemas.openxmlformats.org/officeDocument/2006/relationships/chart" Target="../charts/chart3.xml"/><Relationship Id="rId8" Type="http://schemas.openxmlformats.org/officeDocument/2006/relationships/tags" Target="../tags/tag329.xml"/><Relationship Id="rId3" Type="http://schemas.openxmlformats.org/officeDocument/2006/relationships/tags" Target="../tags/tag3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E5C560-8074-96D9-A088-3E0338B782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7">
            <a:extLst>
              <a:ext uri="{FF2B5EF4-FFF2-40B4-BE49-F238E27FC236}">
                <a16:creationId xmlns:a16="http://schemas.microsoft.com/office/drawing/2014/main" id="{86D33234-728C-143B-023C-5F340EA9C02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ech &amp; Durables Trends</a:t>
            </a:r>
            <a:r>
              <a:rPr lang="el-GR" dirty="0"/>
              <a:t> </a:t>
            </a:r>
            <a:r>
              <a:rPr lang="en-US"/>
              <a:t>FY2025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5074F14-2922-2948-0801-FDD69B49B17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Greece Overview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F514C81-F33A-C3B1-C489-FD0CE7BBBE9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85433" y="6483994"/>
            <a:ext cx="404687" cy="284075"/>
          </a:xfrm>
        </p:spPr>
        <p:txBody>
          <a:bodyPr/>
          <a:lstStyle/>
          <a:p>
            <a:pPr marL="0" marR="0" lvl="0" indent="0" algn="r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04DF46-C0DC-4ADC-9A6F-918CC4703A43}" type="slidenum"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1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9" name="Picture Placeholder 8" descr="A person pointing at a computer screen&#10;&#10;AI-generated content may be incorrect.">
            <a:extLst>
              <a:ext uri="{FF2B5EF4-FFF2-40B4-BE49-F238E27FC236}">
                <a16:creationId xmlns:a16="http://schemas.microsoft.com/office/drawing/2014/main" id="{DF818334-DD28-E3D7-86DB-B1651D1DD78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94" r="17994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6009107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CD60E9-500E-D444-ABFF-2DAA41CA26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6644FC-390E-0D73-D12D-158B2B5FFE1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44732" y="6092116"/>
            <a:ext cx="11607800" cy="194127"/>
          </a:xfrm>
        </p:spPr>
        <p:txBody>
          <a:bodyPr/>
          <a:lstStyle/>
          <a:p>
            <a:r>
              <a:rPr lang="en-US" dirty="0"/>
              <a:t>Source: GfK Market Intelligence: Sales Tracking, Greece Coverage. Sales revenue growth 2025 vs 2024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221BF132-7513-AA64-61C5-487D288ED1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>
                <a:solidFill>
                  <a:schemeClr val="accent1"/>
                </a:solidFill>
              </a:rPr>
              <a:t>NielsenIQ</a:t>
            </a:r>
            <a:r>
              <a:rPr lang="en-US" sz="2400" dirty="0">
                <a:solidFill>
                  <a:schemeClr val="tx1">
                    <a:lumMod val="50000"/>
                  </a:schemeClr>
                </a:solidFill>
              </a:rPr>
              <a:t> | </a:t>
            </a:r>
            <a:r>
              <a:rPr lang="en-US" sz="2400" dirty="0"/>
              <a:t>Tech &amp; Durables Market in Greece: </a:t>
            </a:r>
            <a:r>
              <a:rPr lang="en-US" sz="2400" dirty="0">
                <a:solidFill>
                  <a:schemeClr val="tx1">
                    <a:lumMod val="50000"/>
                  </a:schemeClr>
                </a:solidFill>
              </a:rPr>
              <a:t>Decrease in T&amp;D YTD value (-3%) and demand </a:t>
            </a:r>
            <a:r>
              <a:rPr lang="el-GR" sz="2400" dirty="0">
                <a:solidFill>
                  <a:schemeClr val="tx1">
                    <a:lumMod val="50000"/>
                  </a:schemeClr>
                </a:solidFill>
              </a:rPr>
              <a:t>(</a:t>
            </a:r>
            <a:r>
              <a:rPr lang="en-US" sz="2400" dirty="0">
                <a:solidFill>
                  <a:schemeClr val="tx1">
                    <a:lumMod val="50000"/>
                  </a:schemeClr>
                </a:solidFill>
              </a:rPr>
              <a:t>-1</a:t>
            </a:r>
            <a:r>
              <a:rPr lang="el-GR" sz="2400" dirty="0">
                <a:solidFill>
                  <a:schemeClr val="tx1">
                    <a:lumMod val="50000"/>
                  </a:schemeClr>
                </a:solidFill>
              </a:rPr>
              <a:t>,</a:t>
            </a:r>
            <a:r>
              <a:rPr lang="en-US" sz="2400" dirty="0">
                <a:solidFill>
                  <a:schemeClr val="tx1">
                    <a:lumMod val="50000"/>
                  </a:schemeClr>
                </a:solidFill>
              </a:rPr>
              <a:t>4</a:t>
            </a:r>
            <a:r>
              <a:rPr lang="el-GR" sz="2400" dirty="0">
                <a:solidFill>
                  <a:schemeClr val="tx1">
                    <a:lumMod val="50000"/>
                  </a:schemeClr>
                </a:solidFill>
              </a:rPr>
              <a:t>%)</a:t>
            </a:r>
            <a:br>
              <a:rPr lang="el-GR" sz="2400" dirty="0">
                <a:solidFill>
                  <a:schemeClr val="tx1">
                    <a:lumMod val="50000"/>
                  </a:schemeClr>
                </a:solidFill>
              </a:rPr>
            </a:br>
            <a:endParaRPr lang="en-US" sz="2400" dirty="0"/>
          </a:p>
        </p:txBody>
      </p:sp>
      <p:graphicFrame>
        <p:nvGraphicFramePr>
          <p:cNvPr id="134" name="Chart Placeholder 12">
            <a:extLst>
              <a:ext uri="{FF2B5EF4-FFF2-40B4-BE49-F238E27FC236}">
                <a16:creationId xmlns:a16="http://schemas.microsoft.com/office/drawing/2014/main" id="{95A58221-C1EE-5C2B-CCEB-16772905BED2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3359508"/>
              </p:ext>
            </p:extLst>
          </p:nvPr>
        </p:nvGraphicFramePr>
        <p:xfrm>
          <a:off x="3575720" y="1941462"/>
          <a:ext cx="4792642" cy="3744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135" name="Oval 16">
            <a:extLst>
              <a:ext uri="{FF2B5EF4-FFF2-40B4-BE49-F238E27FC236}">
                <a16:creationId xmlns:a16="http://schemas.microsoft.com/office/drawing/2014/main" id="{B58F5A60-2F53-0FC0-AD35-C8D8B7D6705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616433" y="2457951"/>
            <a:ext cx="2736000" cy="2736000"/>
          </a:xfrm>
          <a:prstGeom prst="ellipse">
            <a:avLst/>
          </a:prstGeom>
          <a:solidFill>
            <a:srgbClr val="FFFFFF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none" lIns="119963" tIns="62383" rIns="119963" bIns="62383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b="1" kern="0" noProof="1">
                <a:solidFill>
                  <a:srgbClr val="EA5B0C"/>
                </a:solidFill>
              </a:rPr>
              <a:t>3 Bl €</a:t>
            </a:r>
            <a:endParaRPr kumimoji="0" lang="en-US" sz="3000" b="1" i="0" u="none" strike="noStrike" kern="0" cap="none" spc="0" normalizeH="0" baseline="0" noProof="1">
              <a:ln>
                <a:noFill/>
              </a:ln>
              <a:solidFill>
                <a:srgbClr val="EA5B0C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0" cap="none" spc="0" normalizeH="0" baseline="0" noProof="1">
                <a:ln>
                  <a:noFill/>
                </a:ln>
                <a:solidFill>
                  <a:srgbClr val="EA5B0C"/>
                </a:solidFill>
                <a:effectLst/>
                <a:uLnTx/>
                <a:uFillTx/>
                <a:ea typeface="+mn-ea"/>
                <a:cs typeface="+mn-cs"/>
              </a:rPr>
              <a:t>(-</a:t>
            </a:r>
            <a:r>
              <a:rPr lang="en-US" sz="3000" b="1" kern="0" noProof="1">
                <a:solidFill>
                  <a:srgbClr val="EA5B0C"/>
                </a:solidFill>
              </a:rPr>
              <a:t>3</a:t>
            </a:r>
            <a:r>
              <a:rPr kumimoji="0" lang="en-US" sz="3000" b="1" i="0" u="none" strike="noStrike" kern="0" cap="none" spc="0" normalizeH="0" baseline="0" noProof="1">
                <a:ln>
                  <a:noFill/>
                </a:ln>
                <a:solidFill>
                  <a:srgbClr val="EA5B0C"/>
                </a:solidFill>
                <a:effectLst/>
                <a:uLnTx/>
                <a:uFillTx/>
                <a:ea typeface="+mn-ea"/>
                <a:cs typeface="+mn-cs"/>
              </a:rPr>
              <a:t>%)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1">
                <a:ln>
                  <a:noFill/>
                </a:ln>
                <a:solidFill>
                  <a:srgbClr val="EA5B0C"/>
                </a:solidFill>
                <a:effectLst/>
                <a:uLnTx/>
                <a:uFillTx/>
                <a:ea typeface="+mn-ea"/>
                <a:cs typeface="+mn-cs"/>
              </a:rPr>
              <a:t>Total sales value EURO </a:t>
            </a:r>
            <a:br>
              <a:rPr kumimoji="0" lang="en-US" sz="1600" b="0" i="0" u="none" strike="noStrike" kern="0" cap="none" spc="0" normalizeH="0" baseline="0" noProof="1">
                <a:ln>
                  <a:noFill/>
                </a:ln>
                <a:solidFill>
                  <a:srgbClr val="EA5B0C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600" b="0" i="0" u="none" strike="noStrike" kern="0" cap="none" spc="0" normalizeH="0" baseline="0" noProof="1">
                <a:ln>
                  <a:noFill/>
                </a:ln>
                <a:solidFill>
                  <a:srgbClr val="EA5B0C"/>
                </a:solidFill>
                <a:effectLst/>
                <a:uLnTx/>
                <a:uFillTx/>
                <a:ea typeface="+mn-ea"/>
                <a:cs typeface="+mn-cs"/>
              </a:rPr>
              <a:t>and growth % YTD 2024</a:t>
            </a:r>
          </a:p>
        </p:txBody>
      </p:sp>
      <p:sp>
        <p:nvSpPr>
          <p:cNvPr id="141" name="Text Placeholder 1">
            <a:extLst>
              <a:ext uri="{FF2B5EF4-FFF2-40B4-BE49-F238E27FC236}">
                <a16:creationId xmlns:a16="http://schemas.microsoft.com/office/drawing/2014/main" id="{624DB880-F2F1-C9B9-281D-7C902F48A318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865365" y="2310709"/>
            <a:ext cx="3708000" cy="576000"/>
          </a:xfrm>
          <a:prstGeom prst="rect">
            <a:avLst/>
          </a:prstGeom>
          <a:noFill/>
          <a:ln w="9525">
            <a:noFill/>
          </a:ln>
        </p:spPr>
        <p:txBody>
          <a:bodyPr vert="horz" lIns="612000" tIns="108000" rIns="0" bIns="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defTabSz="1219170">
              <a:spcBef>
                <a:spcPts val="400"/>
              </a:spcBef>
              <a:defRPr/>
            </a:pPr>
            <a:r>
              <a:rPr sz="1400" b="1" dirty="0">
                <a:solidFill>
                  <a:srgbClr val="23A9B2"/>
                </a:solidFill>
                <a:latin typeface="+mn-lt"/>
                <a:cs typeface="Lato" panose="020F0502020204030203" pitchFamily="34" charset="0"/>
              </a:rPr>
              <a:t>IT &amp; Office Equipment</a:t>
            </a:r>
            <a:br>
              <a:rPr sz="1400" b="1" dirty="0">
                <a:solidFill>
                  <a:srgbClr val="40464A"/>
                </a:solidFill>
                <a:latin typeface="+mn-lt"/>
                <a:cs typeface="Lato" panose="020F0502020204030203" pitchFamily="34" charset="0"/>
              </a:rPr>
            </a:br>
            <a:r>
              <a:rPr sz="1400" b="1" dirty="0">
                <a:solidFill>
                  <a:srgbClr val="3B4145"/>
                </a:solidFill>
                <a:latin typeface="+mn-lt"/>
                <a:cs typeface="Lato" panose="020F0502020204030203" pitchFamily="34" charset="0"/>
              </a:rPr>
              <a:t>+</a:t>
            </a:r>
            <a:r>
              <a:rPr lang="en-US" sz="1400" b="1" dirty="0">
                <a:solidFill>
                  <a:srgbClr val="3B4145"/>
                </a:solidFill>
                <a:latin typeface="+mn-lt"/>
                <a:cs typeface="Lato" panose="020F0502020204030203" pitchFamily="34" charset="0"/>
              </a:rPr>
              <a:t>14</a:t>
            </a:r>
            <a:r>
              <a:rPr sz="1400" b="1" dirty="0">
                <a:solidFill>
                  <a:srgbClr val="3B4145"/>
                </a:solidFill>
                <a:latin typeface="+mn-lt"/>
                <a:cs typeface="Lato" panose="020F0502020204030203" pitchFamily="34" charset="0"/>
              </a:rPr>
              <a:t>,</a:t>
            </a:r>
            <a:r>
              <a:rPr lang="en-US" sz="1400" b="1" dirty="0">
                <a:solidFill>
                  <a:srgbClr val="3B4145"/>
                </a:solidFill>
                <a:latin typeface="+mn-lt"/>
                <a:cs typeface="Lato" panose="020F0502020204030203" pitchFamily="34" charset="0"/>
              </a:rPr>
              <a:t>2</a:t>
            </a:r>
            <a:r>
              <a:rPr sz="1400" b="1" dirty="0">
                <a:solidFill>
                  <a:srgbClr val="3B4145"/>
                </a:solidFill>
                <a:latin typeface="+mn-lt"/>
                <a:cs typeface="Lato" panose="020F0502020204030203" pitchFamily="34" charset="0"/>
              </a:rPr>
              <a:t>%</a:t>
            </a:r>
          </a:p>
        </p:txBody>
      </p:sp>
      <p:sp>
        <p:nvSpPr>
          <p:cNvPr id="142" name="Freeform 102">
            <a:extLst>
              <a:ext uri="{FF2B5EF4-FFF2-40B4-BE49-F238E27FC236}">
                <a16:creationId xmlns:a16="http://schemas.microsoft.com/office/drawing/2014/main" id="{5E790F6C-8B2F-589F-244A-68C5810DE49E}"/>
              </a:ext>
            </a:extLst>
          </p:cNvPr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785893" y="2384867"/>
            <a:ext cx="371578" cy="291939"/>
          </a:xfrm>
          <a:custGeom>
            <a:avLst/>
            <a:gdLst>
              <a:gd name="T0" fmla="*/ 2240 w 2240"/>
              <a:gd name="T1" fmla="*/ 1360 h 1760"/>
              <a:gd name="T2" fmla="*/ 2240 w 2240"/>
              <a:gd name="T3" fmla="*/ 1560 h 1760"/>
              <a:gd name="T4" fmla="*/ 2040 w 2240"/>
              <a:gd name="T5" fmla="*/ 1760 h 1760"/>
              <a:gd name="T6" fmla="*/ 200 w 2240"/>
              <a:gd name="T7" fmla="*/ 1760 h 1760"/>
              <a:gd name="T8" fmla="*/ 0 w 2240"/>
              <a:gd name="T9" fmla="*/ 1560 h 1760"/>
              <a:gd name="T10" fmla="*/ 0 w 2240"/>
              <a:gd name="T11" fmla="*/ 1360 h 1760"/>
              <a:gd name="T12" fmla="*/ 2240 w 2240"/>
              <a:gd name="T13" fmla="*/ 1360 h 1760"/>
              <a:gd name="T14" fmla="*/ 160 w 2240"/>
              <a:gd name="T15" fmla="*/ 1280 h 1760"/>
              <a:gd name="T16" fmla="*/ 160 w 2240"/>
              <a:gd name="T17" fmla="*/ 120 h 1760"/>
              <a:gd name="T18" fmla="*/ 280 w 2240"/>
              <a:gd name="T19" fmla="*/ 0 h 1760"/>
              <a:gd name="T20" fmla="*/ 1960 w 2240"/>
              <a:gd name="T21" fmla="*/ 0 h 1760"/>
              <a:gd name="T22" fmla="*/ 2080 w 2240"/>
              <a:gd name="T23" fmla="*/ 120 h 1760"/>
              <a:gd name="T24" fmla="*/ 2080 w 2240"/>
              <a:gd name="T25" fmla="*/ 1280 h 1760"/>
              <a:gd name="T26" fmla="*/ 2000 w 2240"/>
              <a:gd name="T27" fmla="*/ 1280 h 1760"/>
              <a:gd name="T28" fmla="*/ 2000 w 2240"/>
              <a:gd name="T29" fmla="*/ 120 h 1760"/>
              <a:gd name="T30" fmla="*/ 1960 w 2240"/>
              <a:gd name="T31" fmla="*/ 80 h 1760"/>
              <a:gd name="T32" fmla="*/ 280 w 2240"/>
              <a:gd name="T33" fmla="*/ 80 h 1760"/>
              <a:gd name="T34" fmla="*/ 240 w 2240"/>
              <a:gd name="T35" fmla="*/ 120 h 1760"/>
              <a:gd name="T36" fmla="*/ 240 w 2240"/>
              <a:gd name="T37" fmla="*/ 1280 h 1760"/>
              <a:gd name="T38" fmla="*/ 160 w 2240"/>
              <a:gd name="T39" fmla="*/ 1280 h 1760"/>
              <a:gd name="T40" fmla="*/ 960 w 2240"/>
              <a:gd name="T41" fmla="*/ 1600 h 1760"/>
              <a:gd name="T42" fmla="*/ 1280 w 2240"/>
              <a:gd name="T43" fmla="*/ 1600 h 1760"/>
              <a:gd name="T44" fmla="*/ 1320 w 2240"/>
              <a:gd name="T45" fmla="*/ 1560 h 1760"/>
              <a:gd name="T46" fmla="*/ 1280 w 2240"/>
              <a:gd name="T47" fmla="*/ 1520 h 1760"/>
              <a:gd name="T48" fmla="*/ 960 w 2240"/>
              <a:gd name="T49" fmla="*/ 1520 h 1760"/>
              <a:gd name="T50" fmla="*/ 920 w 2240"/>
              <a:gd name="T51" fmla="*/ 1560 h 1760"/>
              <a:gd name="T52" fmla="*/ 960 w 2240"/>
              <a:gd name="T53" fmla="*/ 1600 h 1760"/>
              <a:gd name="T54" fmla="*/ 320 w 2240"/>
              <a:gd name="T55" fmla="*/ 1280 h 1760"/>
              <a:gd name="T56" fmla="*/ 320 w 2240"/>
              <a:gd name="T57" fmla="*/ 160 h 1760"/>
              <a:gd name="T58" fmla="*/ 1920 w 2240"/>
              <a:gd name="T59" fmla="*/ 160 h 1760"/>
              <a:gd name="T60" fmla="*/ 1920 w 2240"/>
              <a:gd name="T61" fmla="*/ 1280 h 1760"/>
              <a:gd name="T62" fmla="*/ 320 w 2240"/>
              <a:gd name="T63" fmla="*/ 1280 h 1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240" h="1760">
                <a:moveTo>
                  <a:pt x="2240" y="1360"/>
                </a:moveTo>
                <a:cubicBezTo>
                  <a:pt x="2240" y="1560"/>
                  <a:pt x="2240" y="1560"/>
                  <a:pt x="2240" y="1560"/>
                </a:cubicBezTo>
                <a:cubicBezTo>
                  <a:pt x="2240" y="1670"/>
                  <a:pt x="2150" y="1760"/>
                  <a:pt x="2040" y="1760"/>
                </a:cubicBezTo>
                <a:cubicBezTo>
                  <a:pt x="200" y="1760"/>
                  <a:pt x="200" y="1760"/>
                  <a:pt x="200" y="1760"/>
                </a:cubicBezTo>
                <a:cubicBezTo>
                  <a:pt x="90" y="1760"/>
                  <a:pt x="0" y="1670"/>
                  <a:pt x="0" y="1560"/>
                </a:cubicBezTo>
                <a:cubicBezTo>
                  <a:pt x="0" y="1360"/>
                  <a:pt x="0" y="1360"/>
                  <a:pt x="0" y="1360"/>
                </a:cubicBezTo>
                <a:cubicBezTo>
                  <a:pt x="747" y="1360"/>
                  <a:pt x="1493" y="1360"/>
                  <a:pt x="2240" y="1360"/>
                </a:cubicBezTo>
                <a:close/>
                <a:moveTo>
                  <a:pt x="160" y="1280"/>
                </a:moveTo>
                <a:cubicBezTo>
                  <a:pt x="160" y="120"/>
                  <a:pt x="160" y="120"/>
                  <a:pt x="160" y="120"/>
                </a:cubicBezTo>
                <a:cubicBezTo>
                  <a:pt x="160" y="54"/>
                  <a:pt x="214" y="0"/>
                  <a:pt x="280" y="0"/>
                </a:cubicBezTo>
                <a:cubicBezTo>
                  <a:pt x="1960" y="0"/>
                  <a:pt x="1960" y="0"/>
                  <a:pt x="1960" y="0"/>
                </a:cubicBezTo>
                <a:cubicBezTo>
                  <a:pt x="2026" y="0"/>
                  <a:pt x="2080" y="54"/>
                  <a:pt x="2080" y="120"/>
                </a:cubicBezTo>
                <a:cubicBezTo>
                  <a:pt x="2080" y="1280"/>
                  <a:pt x="2080" y="1280"/>
                  <a:pt x="2080" y="1280"/>
                </a:cubicBezTo>
                <a:cubicBezTo>
                  <a:pt x="2000" y="1280"/>
                  <a:pt x="2000" y="1280"/>
                  <a:pt x="2000" y="1280"/>
                </a:cubicBezTo>
                <a:cubicBezTo>
                  <a:pt x="2000" y="120"/>
                  <a:pt x="2000" y="120"/>
                  <a:pt x="2000" y="120"/>
                </a:cubicBezTo>
                <a:cubicBezTo>
                  <a:pt x="2000" y="98"/>
                  <a:pt x="1982" y="80"/>
                  <a:pt x="1960" y="80"/>
                </a:cubicBezTo>
                <a:cubicBezTo>
                  <a:pt x="280" y="80"/>
                  <a:pt x="280" y="80"/>
                  <a:pt x="280" y="80"/>
                </a:cubicBezTo>
                <a:cubicBezTo>
                  <a:pt x="258" y="80"/>
                  <a:pt x="240" y="98"/>
                  <a:pt x="240" y="120"/>
                </a:cubicBezTo>
                <a:cubicBezTo>
                  <a:pt x="240" y="1280"/>
                  <a:pt x="240" y="1280"/>
                  <a:pt x="240" y="1280"/>
                </a:cubicBezTo>
                <a:lnTo>
                  <a:pt x="160" y="1280"/>
                </a:lnTo>
                <a:close/>
                <a:moveTo>
                  <a:pt x="960" y="1600"/>
                </a:moveTo>
                <a:cubicBezTo>
                  <a:pt x="1280" y="1600"/>
                  <a:pt x="1280" y="1600"/>
                  <a:pt x="1280" y="1600"/>
                </a:cubicBezTo>
                <a:cubicBezTo>
                  <a:pt x="1302" y="1600"/>
                  <a:pt x="1320" y="1582"/>
                  <a:pt x="1320" y="1560"/>
                </a:cubicBezTo>
                <a:cubicBezTo>
                  <a:pt x="1320" y="1538"/>
                  <a:pt x="1302" y="1520"/>
                  <a:pt x="1280" y="1520"/>
                </a:cubicBezTo>
                <a:cubicBezTo>
                  <a:pt x="960" y="1520"/>
                  <a:pt x="960" y="1520"/>
                  <a:pt x="960" y="1520"/>
                </a:cubicBezTo>
                <a:cubicBezTo>
                  <a:pt x="938" y="1520"/>
                  <a:pt x="920" y="1538"/>
                  <a:pt x="920" y="1560"/>
                </a:cubicBezTo>
                <a:cubicBezTo>
                  <a:pt x="920" y="1582"/>
                  <a:pt x="938" y="1600"/>
                  <a:pt x="960" y="1600"/>
                </a:cubicBezTo>
                <a:close/>
                <a:moveTo>
                  <a:pt x="320" y="1280"/>
                </a:moveTo>
                <a:cubicBezTo>
                  <a:pt x="320" y="160"/>
                  <a:pt x="320" y="160"/>
                  <a:pt x="320" y="160"/>
                </a:cubicBezTo>
                <a:cubicBezTo>
                  <a:pt x="1920" y="160"/>
                  <a:pt x="1920" y="160"/>
                  <a:pt x="1920" y="160"/>
                </a:cubicBezTo>
                <a:cubicBezTo>
                  <a:pt x="1920" y="1280"/>
                  <a:pt x="1920" y="1280"/>
                  <a:pt x="1920" y="1280"/>
                </a:cubicBezTo>
                <a:lnTo>
                  <a:pt x="320" y="1280"/>
                </a:lnTo>
                <a:close/>
              </a:path>
            </a:pathLst>
          </a:custGeom>
          <a:solidFill>
            <a:srgbClr val="23A9B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 Heavy"/>
            </a:endParaRPr>
          </a:p>
        </p:txBody>
      </p:sp>
      <p:grpSp>
        <p:nvGrpSpPr>
          <p:cNvPr id="143" name="Group 10">
            <a:extLst>
              <a:ext uri="{FF2B5EF4-FFF2-40B4-BE49-F238E27FC236}">
                <a16:creationId xmlns:a16="http://schemas.microsoft.com/office/drawing/2014/main" id="{979CB6D4-8C0F-9829-C767-58899505C39A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1083611" y="2672867"/>
            <a:ext cx="369326" cy="376392"/>
            <a:chOff x="423" y="-885"/>
            <a:chExt cx="4914" cy="5008"/>
          </a:xfrm>
          <a:solidFill>
            <a:srgbClr val="23A9B2"/>
          </a:solidFill>
        </p:grpSpPr>
        <p:sp>
          <p:nvSpPr>
            <p:cNvPr id="144" name="Freeform 11">
              <a:extLst>
                <a:ext uri="{FF2B5EF4-FFF2-40B4-BE49-F238E27FC236}">
                  <a16:creationId xmlns:a16="http://schemas.microsoft.com/office/drawing/2014/main" id="{552CFF45-54D9-AFF0-9839-393F94EDDE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" y="1005"/>
              <a:ext cx="4914" cy="3118"/>
            </a:xfrm>
            <a:custGeom>
              <a:avLst/>
              <a:gdLst>
                <a:gd name="T0" fmla="*/ 560 w 2080"/>
                <a:gd name="T1" fmla="*/ 1200 h 1320"/>
                <a:gd name="T2" fmla="*/ 960 w 2080"/>
                <a:gd name="T3" fmla="*/ 1200 h 1320"/>
                <a:gd name="T4" fmla="*/ 960 w 2080"/>
                <a:gd name="T5" fmla="*/ 1160 h 1320"/>
                <a:gd name="T6" fmla="*/ 1000 w 2080"/>
                <a:gd name="T7" fmla="*/ 1160 h 1320"/>
                <a:gd name="T8" fmla="*/ 1000 w 2080"/>
                <a:gd name="T9" fmla="*/ 1040 h 1320"/>
                <a:gd name="T10" fmla="*/ 200 w 2080"/>
                <a:gd name="T11" fmla="*/ 1040 h 1320"/>
                <a:gd name="T12" fmla="*/ 0 w 2080"/>
                <a:gd name="T13" fmla="*/ 840 h 1320"/>
                <a:gd name="T14" fmla="*/ 0 w 2080"/>
                <a:gd name="T15" fmla="*/ 200 h 1320"/>
                <a:gd name="T16" fmla="*/ 200 w 2080"/>
                <a:gd name="T17" fmla="*/ 0 h 1320"/>
                <a:gd name="T18" fmla="*/ 1880 w 2080"/>
                <a:gd name="T19" fmla="*/ 0 h 1320"/>
                <a:gd name="T20" fmla="*/ 2080 w 2080"/>
                <a:gd name="T21" fmla="*/ 200 h 1320"/>
                <a:gd name="T22" fmla="*/ 2080 w 2080"/>
                <a:gd name="T23" fmla="*/ 840 h 1320"/>
                <a:gd name="T24" fmla="*/ 1880 w 2080"/>
                <a:gd name="T25" fmla="*/ 1040 h 1320"/>
                <a:gd name="T26" fmla="*/ 1080 w 2080"/>
                <a:gd name="T27" fmla="*/ 1040 h 1320"/>
                <a:gd name="T28" fmla="*/ 1080 w 2080"/>
                <a:gd name="T29" fmla="*/ 1160 h 1320"/>
                <a:gd name="T30" fmla="*/ 1120 w 2080"/>
                <a:gd name="T31" fmla="*/ 1160 h 1320"/>
                <a:gd name="T32" fmla="*/ 1120 w 2080"/>
                <a:gd name="T33" fmla="*/ 1200 h 1320"/>
                <a:gd name="T34" fmla="*/ 1520 w 2080"/>
                <a:gd name="T35" fmla="*/ 1200 h 1320"/>
                <a:gd name="T36" fmla="*/ 1520 w 2080"/>
                <a:gd name="T37" fmla="*/ 1280 h 1320"/>
                <a:gd name="T38" fmla="*/ 1120 w 2080"/>
                <a:gd name="T39" fmla="*/ 1280 h 1320"/>
                <a:gd name="T40" fmla="*/ 1120 w 2080"/>
                <a:gd name="T41" fmla="*/ 1320 h 1320"/>
                <a:gd name="T42" fmla="*/ 960 w 2080"/>
                <a:gd name="T43" fmla="*/ 1320 h 1320"/>
                <a:gd name="T44" fmla="*/ 960 w 2080"/>
                <a:gd name="T45" fmla="*/ 1280 h 1320"/>
                <a:gd name="T46" fmla="*/ 560 w 2080"/>
                <a:gd name="T47" fmla="*/ 1280 h 1320"/>
                <a:gd name="T48" fmla="*/ 560 w 2080"/>
                <a:gd name="T49" fmla="*/ 1200 h 1320"/>
                <a:gd name="T50" fmla="*/ 560 w 2080"/>
                <a:gd name="T51" fmla="*/ 160 h 1320"/>
                <a:gd name="T52" fmla="*/ 480 w 2080"/>
                <a:gd name="T53" fmla="*/ 240 h 1320"/>
                <a:gd name="T54" fmla="*/ 560 w 2080"/>
                <a:gd name="T55" fmla="*/ 320 h 1320"/>
                <a:gd name="T56" fmla="*/ 640 w 2080"/>
                <a:gd name="T57" fmla="*/ 240 h 1320"/>
                <a:gd name="T58" fmla="*/ 560 w 2080"/>
                <a:gd name="T59" fmla="*/ 160 h 1320"/>
                <a:gd name="T60" fmla="*/ 320 w 2080"/>
                <a:gd name="T61" fmla="*/ 160 h 1320"/>
                <a:gd name="T62" fmla="*/ 240 w 2080"/>
                <a:gd name="T63" fmla="*/ 240 h 1320"/>
                <a:gd name="T64" fmla="*/ 320 w 2080"/>
                <a:gd name="T65" fmla="*/ 320 h 1320"/>
                <a:gd name="T66" fmla="*/ 400 w 2080"/>
                <a:gd name="T67" fmla="*/ 240 h 1320"/>
                <a:gd name="T68" fmla="*/ 320 w 2080"/>
                <a:gd name="T69" fmla="*/ 160 h 1320"/>
                <a:gd name="T70" fmla="*/ 440 w 2080"/>
                <a:gd name="T71" fmla="*/ 560 h 1320"/>
                <a:gd name="T72" fmla="*/ 320 w 2080"/>
                <a:gd name="T73" fmla="*/ 680 h 1320"/>
                <a:gd name="T74" fmla="*/ 320 w 2080"/>
                <a:gd name="T75" fmla="*/ 760 h 1320"/>
                <a:gd name="T76" fmla="*/ 440 w 2080"/>
                <a:gd name="T77" fmla="*/ 880 h 1320"/>
                <a:gd name="T78" fmla="*/ 1640 w 2080"/>
                <a:gd name="T79" fmla="*/ 880 h 1320"/>
                <a:gd name="T80" fmla="*/ 1760 w 2080"/>
                <a:gd name="T81" fmla="*/ 760 h 1320"/>
                <a:gd name="T82" fmla="*/ 1760 w 2080"/>
                <a:gd name="T83" fmla="*/ 680 h 1320"/>
                <a:gd name="T84" fmla="*/ 1640 w 2080"/>
                <a:gd name="T85" fmla="*/ 560 h 1320"/>
                <a:gd name="T86" fmla="*/ 440 w 2080"/>
                <a:gd name="T87" fmla="*/ 560 h 1320"/>
                <a:gd name="T88" fmla="*/ 400 w 2080"/>
                <a:gd name="T89" fmla="*/ 720 h 1320"/>
                <a:gd name="T90" fmla="*/ 1680 w 2080"/>
                <a:gd name="T91" fmla="*/ 720 h 1320"/>
                <a:gd name="T92" fmla="*/ 1680 w 2080"/>
                <a:gd name="T93" fmla="*/ 760 h 1320"/>
                <a:gd name="T94" fmla="*/ 1640 w 2080"/>
                <a:gd name="T95" fmla="*/ 800 h 1320"/>
                <a:gd name="T96" fmla="*/ 440 w 2080"/>
                <a:gd name="T97" fmla="*/ 800 h 1320"/>
                <a:gd name="T98" fmla="*/ 400 w 2080"/>
                <a:gd name="T99" fmla="*/ 760 h 1320"/>
                <a:gd name="T100" fmla="*/ 400 w 2080"/>
                <a:gd name="T101" fmla="*/ 720 h 1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80" h="1320">
                  <a:moveTo>
                    <a:pt x="560" y="1200"/>
                  </a:moveTo>
                  <a:cubicBezTo>
                    <a:pt x="960" y="1200"/>
                    <a:pt x="960" y="1200"/>
                    <a:pt x="960" y="1200"/>
                  </a:cubicBezTo>
                  <a:cubicBezTo>
                    <a:pt x="960" y="1160"/>
                    <a:pt x="960" y="1160"/>
                    <a:pt x="960" y="1160"/>
                  </a:cubicBezTo>
                  <a:cubicBezTo>
                    <a:pt x="1000" y="1160"/>
                    <a:pt x="1000" y="1160"/>
                    <a:pt x="1000" y="1160"/>
                  </a:cubicBezTo>
                  <a:cubicBezTo>
                    <a:pt x="1000" y="1040"/>
                    <a:pt x="1000" y="1040"/>
                    <a:pt x="1000" y="1040"/>
                  </a:cubicBezTo>
                  <a:cubicBezTo>
                    <a:pt x="200" y="1040"/>
                    <a:pt x="200" y="1040"/>
                    <a:pt x="200" y="1040"/>
                  </a:cubicBezTo>
                  <a:cubicBezTo>
                    <a:pt x="90" y="1040"/>
                    <a:pt x="0" y="950"/>
                    <a:pt x="0" y="840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0" y="90"/>
                    <a:pt x="90" y="0"/>
                    <a:pt x="200" y="0"/>
                  </a:cubicBezTo>
                  <a:cubicBezTo>
                    <a:pt x="1880" y="0"/>
                    <a:pt x="1880" y="0"/>
                    <a:pt x="1880" y="0"/>
                  </a:cubicBezTo>
                  <a:cubicBezTo>
                    <a:pt x="1990" y="0"/>
                    <a:pt x="2080" y="90"/>
                    <a:pt x="2080" y="200"/>
                  </a:cubicBezTo>
                  <a:cubicBezTo>
                    <a:pt x="2080" y="840"/>
                    <a:pt x="2080" y="840"/>
                    <a:pt x="2080" y="840"/>
                  </a:cubicBezTo>
                  <a:cubicBezTo>
                    <a:pt x="2080" y="950"/>
                    <a:pt x="1990" y="1040"/>
                    <a:pt x="1880" y="1040"/>
                  </a:cubicBezTo>
                  <a:cubicBezTo>
                    <a:pt x="1080" y="1040"/>
                    <a:pt x="1080" y="1040"/>
                    <a:pt x="1080" y="1040"/>
                  </a:cubicBezTo>
                  <a:cubicBezTo>
                    <a:pt x="1080" y="1160"/>
                    <a:pt x="1080" y="1160"/>
                    <a:pt x="1080" y="1160"/>
                  </a:cubicBezTo>
                  <a:cubicBezTo>
                    <a:pt x="1120" y="1160"/>
                    <a:pt x="1120" y="1160"/>
                    <a:pt x="1120" y="1160"/>
                  </a:cubicBezTo>
                  <a:cubicBezTo>
                    <a:pt x="1120" y="1200"/>
                    <a:pt x="1120" y="1200"/>
                    <a:pt x="1120" y="1200"/>
                  </a:cubicBezTo>
                  <a:cubicBezTo>
                    <a:pt x="1520" y="1200"/>
                    <a:pt x="1520" y="1200"/>
                    <a:pt x="1520" y="1200"/>
                  </a:cubicBezTo>
                  <a:cubicBezTo>
                    <a:pt x="1520" y="1280"/>
                    <a:pt x="1520" y="1280"/>
                    <a:pt x="1520" y="1280"/>
                  </a:cubicBezTo>
                  <a:cubicBezTo>
                    <a:pt x="1120" y="1280"/>
                    <a:pt x="1120" y="1280"/>
                    <a:pt x="1120" y="1280"/>
                  </a:cubicBezTo>
                  <a:cubicBezTo>
                    <a:pt x="1120" y="1320"/>
                    <a:pt x="1120" y="1320"/>
                    <a:pt x="1120" y="1320"/>
                  </a:cubicBezTo>
                  <a:cubicBezTo>
                    <a:pt x="1066" y="1320"/>
                    <a:pt x="1013" y="1320"/>
                    <a:pt x="960" y="1320"/>
                  </a:cubicBezTo>
                  <a:cubicBezTo>
                    <a:pt x="960" y="1280"/>
                    <a:pt x="960" y="1280"/>
                    <a:pt x="960" y="1280"/>
                  </a:cubicBezTo>
                  <a:cubicBezTo>
                    <a:pt x="560" y="1280"/>
                    <a:pt x="560" y="1280"/>
                    <a:pt x="560" y="1280"/>
                  </a:cubicBezTo>
                  <a:lnTo>
                    <a:pt x="560" y="1200"/>
                  </a:lnTo>
                  <a:close/>
                  <a:moveTo>
                    <a:pt x="560" y="160"/>
                  </a:moveTo>
                  <a:cubicBezTo>
                    <a:pt x="516" y="160"/>
                    <a:pt x="480" y="196"/>
                    <a:pt x="480" y="240"/>
                  </a:cubicBezTo>
                  <a:cubicBezTo>
                    <a:pt x="480" y="284"/>
                    <a:pt x="516" y="320"/>
                    <a:pt x="560" y="320"/>
                  </a:cubicBezTo>
                  <a:cubicBezTo>
                    <a:pt x="604" y="320"/>
                    <a:pt x="640" y="284"/>
                    <a:pt x="640" y="240"/>
                  </a:cubicBezTo>
                  <a:cubicBezTo>
                    <a:pt x="640" y="196"/>
                    <a:pt x="604" y="160"/>
                    <a:pt x="560" y="160"/>
                  </a:cubicBezTo>
                  <a:close/>
                  <a:moveTo>
                    <a:pt x="320" y="160"/>
                  </a:moveTo>
                  <a:cubicBezTo>
                    <a:pt x="276" y="160"/>
                    <a:pt x="240" y="196"/>
                    <a:pt x="240" y="240"/>
                  </a:cubicBezTo>
                  <a:cubicBezTo>
                    <a:pt x="240" y="284"/>
                    <a:pt x="276" y="320"/>
                    <a:pt x="320" y="320"/>
                  </a:cubicBezTo>
                  <a:cubicBezTo>
                    <a:pt x="364" y="320"/>
                    <a:pt x="400" y="284"/>
                    <a:pt x="400" y="240"/>
                  </a:cubicBezTo>
                  <a:cubicBezTo>
                    <a:pt x="400" y="196"/>
                    <a:pt x="364" y="160"/>
                    <a:pt x="320" y="160"/>
                  </a:cubicBezTo>
                  <a:close/>
                  <a:moveTo>
                    <a:pt x="440" y="560"/>
                  </a:moveTo>
                  <a:cubicBezTo>
                    <a:pt x="374" y="560"/>
                    <a:pt x="320" y="614"/>
                    <a:pt x="320" y="680"/>
                  </a:cubicBezTo>
                  <a:cubicBezTo>
                    <a:pt x="320" y="760"/>
                    <a:pt x="320" y="760"/>
                    <a:pt x="320" y="760"/>
                  </a:cubicBezTo>
                  <a:cubicBezTo>
                    <a:pt x="320" y="826"/>
                    <a:pt x="374" y="880"/>
                    <a:pt x="440" y="880"/>
                  </a:cubicBezTo>
                  <a:cubicBezTo>
                    <a:pt x="1640" y="880"/>
                    <a:pt x="1640" y="880"/>
                    <a:pt x="1640" y="880"/>
                  </a:cubicBezTo>
                  <a:cubicBezTo>
                    <a:pt x="1706" y="880"/>
                    <a:pt x="1760" y="826"/>
                    <a:pt x="1760" y="760"/>
                  </a:cubicBezTo>
                  <a:cubicBezTo>
                    <a:pt x="1760" y="680"/>
                    <a:pt x="1760" y="680"/>
                    <a:pt x="1760" y="680"/>
                  </a:cubicBezTo>
                  <a:cubicBezTo>
                    <a:pt x="1760" y="614"/>
                    <a:pt x="1706" y="560"/>
                    <a:pt x="1640" y="560"/>
                  </a:cubicBezTo>
                  <a:lnTo>
                    <a:pt x="440" y="560"/>
                  </a:lnTo>
                  <a:close/>
                  <a:moveTo>
                    <a:pt x="400" y="720"/>
                  </a:moveTo>
                  <a:cubicBezTo>
                    <a:pt x="1680" y="720"/>
                    <a:pt x="1680" y="720"/>
                    <a:pt x="1680" y="720"/>
                  </a:cubicBezTo>
                  <a:cubicBezTo>
                    <a:pt x="1680" y="760"/>
                    <a:pt x="1680" y="760"/>
                    <a:pt x="1680" y="760"/>
                  </a:cubicBezTo>
                  <a:cubicBezTo>
                    <a:pt x="1680" y="782"/>
                    <a:pt x="1662" y="800"/>
                    <a:pt x="1640" y="800"/>
                  </a:cubicBezTo>
                  <a:cubicBezTo>
                    <a:pt x="440" y="800"/>
                    <a:pt x="440" y="800"/>
                    <a:pt x="440" y="800"/>
                  </a:cubicBezTo>
                  <a:cubicBezTo>
                    <a:pt x="418" y="800"/>
                    <a:pt x="400" y="782"/>
                    <a:pt x="400" y="760"/>
                  </a:cubicBezTo>
                  <a:lnTo>
                    <a:pt x="400" y="7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3B4145"/>
                </a:solidFill>
                <a:effectLst/>
                <a:uLnTx/>
                <a:uFillTx/>
                <a:latin typeface="Lato Heavy"/>
              </a:endParaRPr>
            </a:p>
          </p:txBody>
        </p:sp>
        <p:sp>
          <p:nvSpPr>
            <p:cNvPr id="145" name="Freeform 12">
              <a:extLst>
                <a:ext uri="{FF2B5EF4-FFF2-40B4-BE49-F238E27FC236}">
                  <a16:creationId xmlns:a16="http://schemas.microsoft.com/office/drawing/2014/main" id="{C12D146F-4F2A-C961-5EC6-64F63C695A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68" y="-885"/>
              <a:ext cx="3024" cy="1701"/>
            </a:xfrm>
            <a:custGeom>
              <a:avLst/>
              <a:gdLst>
                <a:gd name="T0" fmla="*/ 567 w 3024"/>
                <a:gd name="T1" fmla="*/ 1323 h 1701"/>
                <a:gd name="T2" fmla="*/ 2457 w 3024"/>
                <a:gd name="T3" fmla="*/ 1323 h 1701"/>
                <a:gd name="T4" fmla="*/ 2457 w 3024"/>
                <a:gd name="T5" fmla="*/ 1512 h 1701"/>
                <a:gd name="T6" fmla="*/ 567 w 3024"/>
                <a:gd name="T7" fmla="*/ 1512 h 1701"/>
                <a:gd name="T8" fmla="*/ 567 w 3024"/>
                <a:gd name="T9" fmla="*/ 1323 h 1701"/>
                <a:gd name="T10" fmla="*/ 567 w 3024"/>
                <a:gd name="T11" fmla="*/ 945 h 1701"/>
                <a:gd name="T12" fmla="*/ 2457 w 3024"/>
                <a:gd name="T13" fmla="*/ 945 h 1701"/>
                <a:gd name="T14" fmla="*/ 2457 w 3024"/>
                <a:gd name="T15" fmla="*/ 1134 h 1701"/>
                <a:gd name="T16" fmla="*/ 567 w 3024"/>
                <a:gd name="T17" fmla="*/ 1134 h 1701"/>
                <a:gd name="T18" fmla="*/ 567 w 3024"/>
                <a:gd name="T19" fmla="*/ 945 h 1701"/>
                <a:gd name="T20" fmla="*/ 567 w 3024"/>
                <a:gd name="T21" fmla="*/ 567 h 1701"/>
                <a:gd name="T22" fmla="*/ 2457 w 3024"/>
                <a:gd name="T23" fmla="*/ 567 h 1701"/>
                <a:gd name="T24" fmla="*/ 2457 w 3024"/>
                <a:gd name="T25" fmla="*/ 756 h 1701"/>
                <a:gd name="T26" fmla="*/ 567 w 3024"/>
                <a:gd name="T27" fmla="*/ 756 h 1701"/>
                <a:gd name="T28" fmla="*/ 567 w 3024"/>
                <a:gd name="T29" fmla="*/ 567 h 1701"/>
                <a:gd name="T30" fmla="*/ 3024 w 3024"/>
                <a:gd name="T31" fmla="*/ 0 h 1701"/>
                <a:gd name="T32" fmla="*/ 3024 w 3024"/>
                <a:gd name="T33" fmla="*/ 1701 h 1701"/>
                <a:gd name="T34" fmla="*/ 2835 w 3024"/>
                <a:gd name="T35" fmla="*/ 1701 h 1701"/>
                <a:gd name="T36" fmla="*/ 2835 w 3024"/>
                <a:gd name="T37" fmla="*/ 189 h 1701"/>
                <a:gd name="T38" fmla="*/ 189 w 3024"/>
                <a:gd name="T39" fmla="*/ 189 h 1701"/>
                <a:gd name="T40" fmla="*/ 189 w 3024"/>
                <a:gd name="T41" fmla="*/ 1701 h 1701"/>
                <a:gd name="T42" fmla="*/ 0 w 3024"/>
                <a:gd name="T43" fmla="*/ 1701 h 1701"/>
                <a:gd name="T44" fmla="*/ 0 w 3024"/>
                <a:gd name="T45" fmla="*/ 0 h 1701"/>
                <a:gd name="T46" fmla="*/ 3024 w 3024"/>
                <a:gd name="T47" fmla="*/ 0 h 1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024" h="1701">
                  <a:moveTo>
                    <a:pt x="567" y="1323"/>
                  </a:moveTo>
                  <a:lnTo>
                    <a:pt x="2457" y="1323"/>
                  </a:lnTo>
                  <a:lnTo>
                    <a:pt x="2457" y="1512"/>
                  </a:lnTo>
                  <a:lnTo>
                    <a:pt x="567" y="1512"/>
                  </a:lnTo>
                  <a:lnTo>
                    <a:pt x="567" y="1323"/>
                  </a:lnTo>
                  <a:close/>
                  <a:moveTo>
                    <a:pt x="567" y="945"/>
                  </a:moveTo>
                  <a:lnTo>
                    <a:pt x="2457" y="945"/>
                  </a:lnTo>
                  <a:lnTo>
                    <a:pt x="2457" y="1134"/>
                  </a:lnTo>
                  <a:lnTo>
                    <a:pt x="567" y="1134"/>
                  </a:lnTo>
                  <a:lnTo>
                    <a:pt x="567" y="945"/>
                  </a:lnTo>
                  <a:close/>
                  <a:moveTo>
                    <a:pt x="567" y="567"/>
                  </a:moveTo>
                  <a:lnTo>
                    <a:pt x="2457" y="567"/>
                  </a:lnTo>
                  <a:lnTo>
                    <a:pt x="2457" y="756"/>
                  </a:lnTo>
                  <a:lnTo>
                    <a:pt x="567" y="756"/>
                  </a:lnTo>
                  <a:lnTo>
                    <a:pt x="567" y="567"/>
                  </a:lnTo>
                  <a:close/>
                  <a:moveTo>
                    <a:pt x="3024" y="0"/>
                  </a:moveTo>
                  <a:lnTo>
                    <a:pt x="3024" y="1701"/>
                  </a:lnTo>
                  <a:lnTo>
                    <a:pt x="2835" y="1701"/>
                  </a:lnTo>
                  <a:lnTo>
                    <a:pt x="2835" y="189"/>
                  </a:lnTo>
                  <a:lnTo>
                    <a:pt x="189" y="189"/>
                  </a:lnTo>
                  <a:lnTo>
                    <a:pt x="189" y="1701"/>
                  </a:lnTo>
                  <a:lnTo>
                    <a:pt x="0" y="1701"/>
                  </a:lnTo>
                  <a:lnTo>
                    <a:pt x="0" y="0"/>
                  </a:lnTo>
                  <a:lnTo>
                    <a:pt x="302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3B4145"/>
                </a:solidFill>
                <a:effectLst/>
                <a:uLnTx/>
                <a:uFillTx/>
                <a:latin typeface="Lato Heavy"/>
              </a:endParaRPr>
            </a:p>
          </p:txBody>
        </p:sp>
      </p:grpSp>
      <p:sp>
        <p:nvSpPr>
          <p:cNvPr id="146" name="Line 20">
            <a:extLst>
              <a:ext uri="{FF2B5EF4-FFF2-40B4-BE49-F238E27FC236}">
                <a16:creationId xmlns:a16="http://schemas.microsoft.com/office/drawing/2014/main" id="{65EF3748-0664-79BB-CCF0-F0E4BF3AD4AC}"/>
              </a:ext>
            </a:extLst>
          </p:cNvPr>
          <p:cNvSpPr>
            <a:spLocks noChangeShapeType="1"/>
          </p:cNvSpPr>
          <p:nvPr>
            <p:custDataLst>
              <p:tags r:id="rId6"/>
            </p:custDataLst>
          </p:nvPr>
        </p:nvSpPr>
        <p:spPr bwMode="gray">
          <a:xfrm>
            <a:off x="754912" y="2206872"/>
            <a:ext cx="3773070" cy="2254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 Heavy"/>
              <a:ea typeface="+mn-ea"/>
              <a:cs typeface="+mn-cs"/>
            </a:endParaRPr>
          </a:p>
        </p:txBody>
      </p:sp>
      <p:sp>
        <p:nvSpPr>
          <p:cNvPr id="147" name="Text Placeholder 1">
            <a:extLst>
              <a:ext uri="{FF2B5EF4-FFF2-40B4-BE49-F238E27FC236}">
                <a16:creationId xmlns:a16="http://schemas.microsoft.com/office/drawing/2014/main" id="{B51E5D06-FD41-C154-973C-659521C9B2D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729822" y="3365002"/>
            <a:ext cx="3708000" cy="576000"/>
          </a:xfrm>
          <a:prstGeom prst="rect">
            <a:avLst/>
          </a:prstGeom>
          <a:noFill/>
          <a:ln w="9525">
            <a:noFill/>
          </a:ln>
        </p:spPr>
        <p:txBody>
          <a:bodyPr vert="horz" lIns="612000" tIns="108000" rIns="0" bIns="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27A2E"/>
                </a:solidFill>
                <a:effectLst/>
                <a:uLnTx/>
                <a:uFillTx/>
                <a:latin typeface="+mn-lt"/>
                <a:ea typeface="+mn-ea"/>
                <a:cs typeface="Lato" panose="020F0502020204030203" pitchFamily="34" charset="0"/>
              </a:rPr>
              <a:t>Photo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7B4DB3"/>
                </a:solidFill>
                <a:effectLst/>
                <a:uLnTx/>
                <a:uFillTx/>
                <a:latin typeface="+mn-lt"/>
                <a:ea typeface="+mn-ea"/>
                <a:cs typeface="Lato" panose="020F0502020204030203" pitchFamily="34" charset="0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Lato" panose="020F0502020204030203" pitchFamily="34" charset="0"/>
              </a:rPr>
              <a:t>-0,2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B4145"/>
                </a:solidFill>
                <a:effectLst/>
                <a:uLnTx/>
                <a:uFillTx/>
                <a:latin typeface="+mn-lt"/>
                <a:ea typeface="+mn-ea"/>
                <a:cs typeface="Lato" panose="020F0502020204030203" pitchFamily="34" charset="0"/>
              </a:rPr>
              <a:t>%</a:t>
            </a:r>
          </a:p>
        </p:txBody>
      </p:sp>
      <p:sp>
        <p:nvSpPr>
          <p:cNvPr id="148" name="Freeform 26">
            <a:extLst>
              <a:ext uri="{FF2B5EF4-FFF2-40B4-BE49-F238E27FC236}">
                <a16:creationId xmlns:a16="http://schemas.microsoft.com/office/drawing/2014/main" id="{9898E0E1-4FB1-DEB6-49AD-79C056EB0007}"/>
              </a:ext>
            </a:extLst>
          </p:cNvPr>
          <p:cNvSpPr>
            <a:spLocks noChangeAspect="1" noEditPoints="1"/>
          </p:cNvSpPr>
          <p:nvPr>
            <p:custDataLst>
              <p:tags r:id="rId8"/>
            </p:custDataLst>
          </p:nvPr>
        </p:nvSpPr>
        <p:spPr bwMode="auto">
          <a:xfrm>
            <a:off x="783106" y="3535397"/>
            <a:ext cx="371578" cy="300119"/>
          </a:xfrm>
          <a:custGeom>
            <a:avLst/>
            <a:gdLst>
              <a:gd name="T0" fmla="*/ 560 w 2080"/>
              <a:gd name="T1" fmla="*/ 240 h 1680"/>
              <a:gd name="T2" fmla="*/ 640 w 2080"/>
              <a:gd name="T3" fmla="*/ 160 h 1680"/>
              <a:gd name="T4" fmla="*/ 800 w 2080"/>
              <a:gd name="T5" fmla="*/ 0 h 1680"/>
              <a:gd name="T6" fmla="*/ 1280 w 2080"/>
              <a:gd name="T7" fmla="*/ 0 h 1680"/>
              <a:gd name="T8" fmla="*/ 1440 w 2080"/>
              <a:gd name="T9" fmla="*/ 160 h 1680"/>
              <a:gd name="T10" fmla="*/ 1520 w 2080"/>
              <a:gd name="T11" fmla="*/ 240 h 1680"/>
              <a:gd name="T12" fmla="*/ 1920 w 2080"/>
              <a:gd name="T13" fmla="*/ 240 h 1680"/>
              <a:gd name="T14" fmla="*/ 2080 w 2080"/>
              <a:gd name="T15" fmla="*/ 400 h 1680"/>
              <a:gd name="T16" fmla="*/ 2080 w 2080"/>
              <a:gd name="T17" fmla="*/ 1520 h 1680"/>
              <a:gd name="T18" fmla="*/ 1920 w 2080"/>
              <a:gd name="T19" fmla="*/ 1680 h 1680"/>
              <a:gd name="T20" fmla="*/ 160 w 2080"/>
              <a:gd name="T21" fmla="*/ 1680 h 1680"/>
              <a:gd name="T22" fmla="*/ 0 w 2080"/>
              <a:gd name="T23" fmla="*/ 1520 h 1680"/>
              <a:gd name="T24" fmla="*/ 0 w 2080"/>
              <a:gd name="T25" fmla="*/ 400 h 1680"/>
              <a:gd name="T26" fmla="*/ 160 w 2080"/>
              <a:gd name="T27" fmla="*/ 240 h 1680"/>
              <a:gd name="T28" fmla="*/ 560 w 2080"/>
              <a:gd name="T29" fmla="*/ 240 h 1680"/>
              <a:gd name="T30" fmla="*/ 1400 w 2080"/>
              <a:gd name="T31" fmla="*/ 920 h 1680"/>
              <a:gd name="T32" fmla="*/ 1320 w 2080"/>
              <a:gd name="T33" fmla="*/ 920 h 1680"/>
              <a:gd name="T34" fmla="*/ 1040 w 2080"/>
              <a:gd name="T35" fmla="*/ 1200 h 1680"/>
              <a:gd name="T36" fmla="*/ 1040 w 2080"/>
              <a:gd name="T37" fmla="*/ 1280 h 1680"/>
              <a:gd name="T38" fmla="*/ 1400 w 2080"/>
              <a:gd name="T39" fmla="*/ 920 h 1680"/>
              <a:gd name="T40" fmla="*/ 800 w 2080"/>
              <a:gd name="T41" fmla="*/ 160 h 1680"/>
              <a:gd name="T42" fmla="*/ 800 w 2080"/>
              <a:gd name="T43" fmla="*/ 240 h 1680"/>
              <a:gd name="T44" fmla="*/ 1280 w 2080"/>
              <a:gd name="T45" fmla="*/ 240 h 1680"/>
              <a:gd name="T46" fmla="*/ 1280 w 2080"/>
              <a:gd name="T47" fmla="*/ 160 h 1680"/>
              <a:gd name="T48" fmla="*/ 800 w 2080"/>
              <a:gd name="T49" fmla="*/ 160 h 1680"/>
              <a:gd name="T50" fmla="*/ 1760 w 2080"/>
              <a:gd name="T51" fmla="*/ 440 h 1680"/>
              <a:gd name="T52" fmla="*/ 1640 w 2080"/>
              <a:gd name="T53" fmla="*/ 560 h 1680"/>
              <a:gd name="T54" fmla="*/ 1760 w 2080"/>
              <a:gd name="T55" fmla="*/ 680 h 1680"/>
              <a:gd name="T56" fmla="*/ 1880 w 2080"/>
              <a:gd name="T57" fmla="*/ 560 h 1680"/>
              <a:gd name="T58" fmla="*/ 1760 w 2080"/>
              <a:gd name="T59" fmla="*/ 440 h 1680"/>
              <a:gd name="T60" fmla="*/ 1040 w 2080"/>
              <a:gd name="T61" fmla="*/ 400 h 1680"/>
              <a:gd name="T62" fmla="*/ 520 w 2080"/>
              <a:gd name="T63" fmla="*/ 920 h 1680"/>
              <a:gd name="T64" fmla="*/ 1040 w 2080"/>
              <a:gd name="T65" fmla="*/ 1440 h 1680"/>
              <a:gd name="T66" fmla="*/ 1560 w 2080"/>
              <a:gd name="T67" fmla="*/ 920 h 1680"/>
              <a:gd name="T68" fmla="*/ 1040 w 2080"/>
              <a:gd name="T69" fmla="*/ 400 h 1680"/>
              <a:gd name="T70" fmla="*/ 1040 w 2080"/>
              <a:gd name="T71" fmla="*/ 480 h 1680"/>
              <a:gd name="T72" fmla="*/ 1480 w 2080"/>
              <a:gd name="T73" fmla="*/ 920 h 1680"/>
              <a:gd name="T74" fmla="*/ 1040 w 2080"/>
              <a:gd name="T75" fmla="*/ 1360 h 1680"/>
              <a:gd name="T76" fmla="*/ 600 w 2080"/>
              <a:gd name="T77" fmla="*/ 920 h 1680"/>
              <a:gd name="T78" fmla="*/ 1040 w 2080"/>
              <a:gd name="T79" fmla="*/ 480 h 1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080" h="1680">
                <a:moveTo>
                  <a:pt x="560" y="240"/>
                </a:moveTo>
                <a:cubicBezTo>
                  <a:pt x="604" y="240"/>
                  <a:pt x="640" y="204"/>
                  <a:pt x="640" y="160"/>
                </a:cubicBezTo>
                <a:cubicBezTo>
                  <a:pt x="640" y="72"/>
                  <a:pt x="712" y="0"/>
                  <a:pt x="800" y="0"/>
                </a:cubicBezTo>
                <a:cubicBezTo>
                  <a:pt x="1280" y="0"/>
                  <a:pt x="1280" y="0"/>
                  <a:pt x="1280" y="0"/>
                </a:cubicBezTo>
                <a:cubicBezTo>
                  <a:pt x="1368" y="0"/>
                  <a:pt x="1440" y="72"/>
                  <a:pt x="1440" y="160"/>
                </a:cubicBezTo>
                <a:cubicBezTo>
                  <a:pt x="1440" y="204"/>
                  <a:pt x="1476" y="240"/>
                  <a:pt x="1520" y="240"/>
                </a:cubicBezTo>
                <a:cubicBezTo>
                  <a:pt x="1920" y="240"/>
                  <a:pt x="1920" y="240"/>
                  <a:pt x="1920" y="240"/>
                </a:cubicBezTo>
                <a:cubicBezTo>
                  <a:pt x="2008" y="240"/>
                  <a:pt x="2080" y="312"/>
                  <a:pt x="2080" y="400"/>
                </a:cubicBezTo>
                <a:cubicBezTo>
                  <a:pt x="2080" y="1520"/>
                  <a:pt x="2080" y="1520"/>
                  <a:pt x="2080" y="1520"/>
                </a:cubicBezTo>
                <a:cubicBezTo>
                  <a:pt x="2080" y="1608"/>
                  <a:pt x="2008" y="1680"/>
                  <a:pt x="1920" y="1680"/>
                </a:cubicBezTo>
                <a:cubicBezTo>
                  <a:pt x="160" y="1680"/>
                  <a:pt x="160" y="1680"/>
                  <a:pt x="160" y="1680"/>
                </a:cubicBezTo>
                <a:cubicBezTo>
                  <a:pt x="72" y="1680"/>
                  <a:pt x="0" y="1608"/>
                  <a:pt x="0" y="1520"/>
                </a:cubicBezTo>
                <a:cubicBezTo>
                  <a:pt x="0" y="400"/>
                  <a:pt x="0" y="400"/>
                  <a:pt x="0" y="400"/>
                </a:cubicBezTo>
                <a:cubicBezTo>
                  <a:pt x="0" y="312"/>
                  <a:pt x="72" y="240"/>
                  <a:pt x="160" y="240"/>
                </a:cubicBezTo>
                <a:lnTo>
                  <a:pt x="560" y="240"/>
                </a:lnTo>
                <a:close/>
                <a:moveTo>
                  <a:pt x="1400" y="920"/>
                </a:moveTo>
                <a:cubicBezTo>
                  <a:pt x="1320" y="920"/>
                  <a:pt x="1320" y="920"/>
                  <a:pt x="1320" y="920"/>
                </a:cubicBezTo>
                <a:cubicBezTo>
                  <a:pt x="1320" y="1075"/>
                  <a:pt x="1195" y="1200"/>
                  <a:pt x="1040" y="1200"/>
                </a:cubicBezTo>
                <a:cubicBezTo>
                  <a:pt x="1040" y="1280"/>
                  <a:pt x="1040" y="1280"/>
                  <a:pt x="1040" y="1280"/>
                </a:cubicBezTo>
                <a:cubicBezTo>
                  <a:pt x="1239" y="1280"/>
                  <a:pt x="1400" y="1119"/>
                  <a:pt x="1400" y="920"/>
                </a:cubicBezTo>
                <a:close/>
                <a:moveTo>
                  <a:pt x="800" y="160"/>
                </a:moveTo>
                <a:cubicBezTo>
                  <a:pt x="800" y="240"/>
                  <a:pt x="800" y="240"/>
                  <a:pt x="800" y="240"/>
                </a:cubicBezTo>
                <a:cubicBezTo>
                  <a:pt x="1280" y="240"/>
                  <a:pt x="1280" y="240"/>
                  <a:pt x="1280" y="240"/>
                </a:cubicBezTo>
                <a:cubicBezTo>
                  <a:pt x="1280" y="160"/>
                  <a:pt x="1280" y="160"/>
                  <a:pt x="1280" y="160"/>
                </a:cubicBezTo>
                <a:lnTo>
                  <a:pt x="800" y="160"/>
                </a:lnTo>
                <a:close/>
                <a:moveTo>
                  <a:pt x="1760" y="440"/>
                </a:moveTo>
                <a:cubicBezTo>
                  <a:pt x="1694" y="440"/>
                  <a:pt x="1640" y="494"/>
                  <a:pt x="1640" y="560"/>
                </a:cubicBezTo>
                <a:cubicBezTo>
                  <a:pt x="1640" y="626"/>
                  <a:pt x="1694" y="680"/>
                  <a:pt x="1760" y="680"/>
                </a:cubicBezTo>
                <a:cubicBezTo>
                  <a:pt x="1826" y="680"/>
                  <a:pt x="1880" y="626"/>
                  <a:pt x="1880" y="560"/>
                </a:cubicBezTo>
                <a:cubicBezTo>
                  <a:pt x="1880" y="494"/>
                  <a:pt x="1826" y="440"/>
                  <a:pt x="1760" y="440"/>
                </a:cubicBezTo>
                <a:close/>
                <a:moveTo>
                  <a:pt x="1040" y="400"/>
                </a:moveTo>
                <a:cubicBezTo>
                  <a:pt x="753" y="400"/>
                  <a:pt x="520" y="633"/>
                  <a:pt x="520" y="920"/>
                </a:cubicBezTo>
                <a:cubicBezTo>
                  <a:pt x="520" y="1207"/>
                  <a:pt x="753" y="1440"/>
                  <a:pt x="1040" y="1440"/>
                </a:cubicBezTo>
                <a:cubicBezTo>
                  <a:pt x="1327" y="1440"/>
                  <a:pt x="1560" y="1207"/>
                  <a:pt x="1560" y="920"/>
                </a:cubicBezTo>
                <a:cubicBezTo>
                  <a:pt x="1560" y="633"/>
                  <a:pt x="1327" y="400"/>
                  <a:pt x="1040" y="400"/>
                </a:cubicBezTo>
                <a:close/>
                <a:moveTo>
                  <a:pt x="1040" y="480"/>
                </a:moveTo>
                <a:cubicBezTo>
                  <a:pt x="1283" y="480"/>
                  <a:pt x="1480" y="677"/>
                  <a:pt x="1480" y="920"/>
                </a:cubicBezTo>
                <a:cubicBezTo>
                  <a:pt x="1480" y="1163"/>
                  <a:pt x="1283" y="1360"/>
                  <a:pt x="1040" y="1360"/>
                </a:cubicBezTo>
                <a:cubicBezTo>
                  <a:pt x="797" y="1360"/>
                  <a:pt x="600" y="1163"/>
                  <a:pt x="600" y="920"/>
                </a:cubicBezTo>
                <a:cubicBezTo>
                  <a:pt x="600" y="677"/>
                  <a:pt x="797" y="480"/>
                  <a:pt x="1040" y="480"/>
                </a:cubicBezTo>
                <a:close/>
              </a:path>
            </a:pathLst>
          </a:custGeom>
          <a:solidFill>
            <a:srgbClr val="D0965C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B4145"/>
              </a:solidFill>
              <a:effectLst/>
              <a:uLnTx/>
              <a:uFillTx/>
              <a:latin typeface="Lato Heavy"/>
              <a:ea typeface="+mn-ea"/>
              <a:cs typeface="+mn-cs"/>
            </a:endParaRPr>
          </a:p>
        </p:txBody>
      </p:sp>
      <p:sp>
        <p:nvSpPr>
          <p:cNvPr id="151" name="Line 20">
            <a:extLst>
              <a:ext uri="{FF2B5EF4-FFF2-40B4-BE49-F238E27FC236}">
                <a16:creationId xmlns:a16="http://schemas.microsoft.com/office/drawing/2014/main" id="{D93559FD-23A8-2874-4A32-097E7D590E83}"/>
              </a:ext>
            </a:extLst>
          </p:cNvPr>
          <p:cNvSpPr>
            <a:spLocks noChangeShapeType="1"/>
          </p:cNvSpPr>
          <p:nvPr>
            <p:custDataLst>
              <p:tags r:id="rId9"/>
            </p:custDataLst>
          </p:nvPr>
        </p:nvSpPr>
        <p:spPr bwMode="gray">
          <a:xfrm>
            <a:off x="683096" y="3284984"/>
            <a:ext cx="3240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162" name="Text Placeholder 1">
            <a:extLst>
              <a:ext uri="{FF2B5EF4-FFF2-40B4-BE49-F238E27FC236}">
                <a16:creationId xmlns:a16="http://schemas.microsoft.com/office/drawing/2014/main" id="{BB2F0462-56DF-BFB9-E199-5353E6AE0CB1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675485" y="4351884"/>
            <a:ext cx="3708000" cy="576000"/>
          </a:xfrm>
          <a:prstGeom prst="rect">
            <a:avLst/>
          </a:prstGeom>
          <a:noFill/>
          <a:ln w="9525">
            <a:noFill/>
          </a:ln>
        </p:spPr>
        <p:txBody>
          <a:bodyPr vert="horz" lIns="612000" tIns="108000" rIns="0" bIns="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defTabSz="1219170">
              <a:spcBef>
                <a:spcPts val="400"/>
              </a:spcBef>
              <a:defRPr/>
            </a:pPr>
            <a:r>
              <a:rPr sz="1400" b="1" dirty="0">
                <a:solidFill>
                  <a:schemeClr val="bg1">
                    <a:lumMod val="65000"/>
                  </a:schemeClr>
                </a:solidFill>
                <a:latin typeface="+mn-lt"/>
                <a:cs typeface="Lato" panose="020F0502020204030203" pitchFamily="34" charset="0"/>
              </a:rPr>
              <a:t>Small Domestic Appliances</a:t>
            </a:r>
            <a:br>
              <a:rPr sz="1400" dirty="0">
                <a:solidFill>
                  <a:srgbClr val="3B4145"/>
                </a:solidFill>
                <a:latin typeface="+mn-lt"/>
                <a:cs typeface="Lato" panose="020F0502020204030203" pitchFamily="34" charset="0"/>
              </a:rPr>
            </a:br>
            <a:r>
              <a:rPr lang="el-GR" sz="1400" b="1" dirty="0">
                <a:solidFill>
                  <a:srgbClr val="3B4145"/>
                </a:solidFill>
                <a:latin typeface="+mn-lt"/>
                <a:cs typeface="Lato" panose="020F0502020204030203" pitchFamily="34" charset="0"/>
              </a:rPr>
              <a:t>-</a:t>
            </a:r>
            <a:r>
              <a:rPr lang="en-US" sz="1400" b="1" dirty="0">
                <a:solidFill>
                  <a:srgbClr val="3B4145"/>
                </a:solidFill>
                <a:latin typeface="+mn-lt"/>
                <a:cs typeface="Lato" panose="020F0502020204030203" pitchFamily="34" charset="0"/>
              </a:rPr>
              <a:t>8</a:t>
            </a:r>
            <a:r>
              <a:rPr sz="1400" b="1" dirty="0">
                <a:solidFill>
                  <a:srgbClr val="3B4145"/>
                </a:solidFill>
                <a:latin typeface="+mn-lt"/>
                <a:cs typeface="Lato" panose="020F0502020204030203" pitchFamily="34" charset="0"/>
              </a:rPr>
              <a:t>,</a:t>
            </a:r>
            <a:r>
              <a:rPr lang="en-US" sz="1400" b="1" dirty="0">
                <a:solidFill>
                  <a:srgbClr val="3B4145"/>
                </a:solidFill>
                <a:latin typeface="+mn-lt"/>
                <a:cs typeface="Lato" panose="020F0502020204030203" pitchFamily="34" charset="0"/>
              </a:rPr>
              <a:t>5</a:t>
            </a:r>
            <a:r>
              <a:rPr sz="1400" b="1" dirty="0">
                <a:solidFill>
                  <a:srgbClr val="3B4145"/>
                </a:solidFill>
                <a:latin typeface="+mn-lt"/>
                <a:cs typeface="Lato" panose="020F0502020204030203" pitchFamily="34" charset="0"/>
              </a:rPr>
              <a:t>%</a:t>
            </a:r>
          </a:p>
        </p:txBody>
      </p:sp>
      <p:grpSp>
        <p:nvGrpSpPr>
          <p:cNvPr id="163" name="Gruppieren 2">
            <a:extLst>
              <a:ext uri="{FF2B5EF4-FFF2-40B4-BE49-F238E27FC236}">
                <a16:creationId xmlns:a16="http://schemas.microsoft.com/office/drawing/2014/main" id="{9E7E81ED-44B5-A859-D1A9-32360A668E54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729822" y="4534880"/>
            <a:ext cx="391100" cy="346437"/>
            <a:chOff x="531222" y="5609738"/>
            <a:chExt cx="692218" cy="611999"/>
          </a:xfrm>
          <a:solidFill>
            <a:schemeClr val="bg1">
              <a:lumMod val="65000"/>
            </a:schemeClr>
          </a:solidFill>
        </p:grpSpPr>
        <p:grpSp>
          <p:nvGrpSpPr>
            <p:cNvPr id="164" name="Group 32">
              <a:extLst>
                <a:ext uri="{FF2B5EF4-FFF2-40B4-BE49-F238E27FC236}">
                  <a16:creationId xmlns:a16="http://schemas.microsoft.com/office/drawing/2014/main" id="{4553ACB3-2F08-219D-9A33-E7BC7DCC62CD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 bwMode="auto">
            <a:xfrm rot="21600000">
              <a:off x="531222" y="5609738"/>
              <a:ext cx="167035" cy="611999"/>
              <a:chOff x="2212" y="-294"/>
              <a:chExt cx="1339" cy="4906"/>
            </a:xfrm>
            <a:grpFill/>
          </p:grpSpPr>
          <p:sp>
            <p:nvSpPr>
              <p:cNvPr id="166" name="Freeform 33">
                <a:extLst>
                  <a:ext uri="{FF2B5EF4-FFF2-40B4-BE49-F238E27FC236}">
                    <a16:creationId xmlns:a16="http://schemas.microsoft.com/office/drawing/2014/main" id="{5401F04D-DD47-5677-5CB1-B4796E684B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2" y="4220"/>
                <a:ext cx="1339" cy="392"/>
              </a:xfrm>
              <a:custGeom>
                <a:avLst/>
                <a:gdLst>
                  <a:gd name="T0" fmla="*/ 490 w 567"/>
                  <a:gd name="T1" fmla="*/ 66 h 166"/>
                  <a:gd name="T2" fmla="*/ 438 w 567"/>
                  <a:gd name="T3" fmla="*/ 66 h 166"/>
                  <a:gd name="T4" fmla="*/ 438 w 567"/>
                  <a:gd name="T5" fmla="*/ 50 h 166"/>
                  <a:gd name="T6" fmla="*/ 361 w 567"/>
                  <a:gd name="T7" fmla="*/ 0 h 166"/>
                  <a:gd name="T8" fmla="*/ 340 w 567"/>
                  <a:gd name="T9" fmla="*/ 0 h 166"/>
                  <a:gd name="T10" fmla="*/ 303 w 567"/>
                  <a:gd name="T11" fmla="*/ 32 h 166"/>
                  <a:gd name="T12" fmla="*/ 264 w 567"/>
                  <a:gd name="T13" fmla="*/ 32 h 166"/>
                  <a:gd name="T14" fmla="*/ 228 w 567"/>
                  <a:gd name="T15" fmla="*/ 0 h 166"/>
                  <a:gd name="T16" fmla="*/ 206 w 567"/>
                  <a:gd name="T17" fmla="*/ 0 h 166"/>
                  <a:gd name="T18" fmla="*/ 129 w 567"/>
                  <a:gd name="T19" fmla="*/ 50 h 166"/>
                  <a:gd name="T20" fmla="*/ 129 w 567"/>
                  <a:gd name="T21" fmla="*/ 66 h 166"/>
                  <a:gd name="T22" fmla="*/ 77 w 567"/>
                  <a:gd name="T23" fmla="*/ 66 h 166"/>
                  <a:gd name="T24" fmla="*/ 0 w 567"/>
                  <a:gd name="T25" fmla="*/ 116 h 166"/>
                  <a:gd name="T26" fmla="*/ 0 w 567"/>
                  <a:gd name="T27" fmla="*/ 149 h 166"/>
                  <a:gd name="T28" fmla="*/ 26 w 567"/>
                  <a:gd name="T29" fmla="*/ 166 h 166"/>
                  <a:gd name="T30" fmla="*/ 541 w 567"/>
                  <a:gd name="T31" fmla="*/ 166 h 166"/>
                  <a:gd name="T32" fmla="*/ 567 w 567"/>
                  <a:gd name="T33" fmla="*/ 149 h 166"/>
                  <a:gd name="T34" fmla="*/ 567 w 567"/>
                  <a:gd name="T35" fmla="*/ 116 h 166"/>
                  <a:gd name="T36" fmla="*/ 490 w 567"/>
                  <a:gd name="T37" fmla="*/ 66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67" h="166">
                    <a:moveTo>
                      <a:pt x="490" y="66"/>
                    </a:moveTo>
                    <a:cubicBezTo>
                      <a:pt x="438" y="66"/>
                      <a:pt x="438" y="66"/>
                      <a:pt x="438" y="66"/>
                    </a:cubicBezTo>
                    <a:cubicBezTo>
                      <a:pt x="438" y="50"/>
                      <a:pt x="438" y="50"/>
                      <a:pt x="438" y="50"/>
                    </a:cubicBezTo>
                    <a:cubicBezTo>
                      <a:pt x="438" y="22"/>
                      <a:pt x="403" y="0"/>
                      <a:pt x="361" y="0"/>
                    </a:cubicBezTo>
                    <a:cubicBezTo>
                      <a:pt x="340" y="0"/>
                      <a:pt x="340" y="0"/>
                      <a:pt x="340" y="0"/>
                    </a:cubicBezTo>
                    <a:cubicBezTo>
                      <a:pt x="337" y="18"/>
                      <a:pt x="322" y="32"/>
                      <a:pt x="303" y="32"/>
                    </a:cubicBezTo>
                    <a:cubicBezTo>
                      <a:pt x="264" y="32"/>
                      <a:pt x="264" y="32"/>
                      <a:pt x="264" y="32"/>
                    </a:cubicBezTo>
                    <a:cubicBezTo>
                      <a:pt x="245" y="32"/>
                      <a:pt x="230" y="18"/>
                      <a:pt x="228" y="0"/>
                    </a:cubicBezTo>
                    <a:cubicBezTo>
                      <a:pt x="206" y="0"/>
                      <a:pt x="206" y="0"/>
                      <a:pt x="206" y="0"/>
                    </a:cubicBezTo>
                    <a:cubicBezTo>
                      <a:pt x="164" y="0"/>
                      <a:pt x="129" y="22"/>
                      <a:pt x="129" y="50"/>
                    </a:cubicBezTo>
                    <a:cubicBezTo>
                      <a:pt x="129" y="66"/>
                      <a:pt x="129" y="66"/>
                      <a:pt x="129" y="66"/>
                    </a:cubicBezTo>
                    <a:cubicBezTo>
                      <a:pt x="77" y="66"/>
                      <a:pt x="77" y="66"/>
                      <a:pt x="77" y="66"/>
                    </a:cubicBezTo>
                    <a:cubicBezTo>
                      <a:pt x="35" y="66"/>
                      <a:pt x="0" y="89"/>
                      <a:pt x="0" y="116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0" y="159"/>
                      <a:pt x="12" y="166"/>
                      <a:pt x="26" y="166"/>
                    </a:cubicBezTo>
                    <a:cubicBezTo>
                      <a:pt x="541" y="166"/>
                      <a:pt x="541" y="166"/>
                      <a:pt x="541" y="166"/>
                    </a:cubicBezTo>
                    <a:cubicBezTo>
                      <a:pt x="555" y="166"/>
                      <a:pt x="567" y="159"/>
                      <a:pt x="567" y="149"/>
                    </a:cubicBezTo>
                    <a:cubicBezTo>
                      <a:pt x="567" y="116"/>
                      <a:pt x="567" y="116"/>
                      <a:pt x="567" y="116"/>
                    </a:cubicBezTo>
                    <a:cubicBezTo>
                      <a:pt x="567" y="89"/>
                      <a:pt x="532" y="66"/>
                      <a:pt x="490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Heavy"/>
                </a:endParaRPr>
              </a:p>
            </p:txBody>
          </p:sp>
          <p:sp>
            <p:nvSpPr>
              <p:cNvPr id="167" name="Freeform 34">
                <a:extLst>
                  <a:ext uri="{FF2B5EF4-FFF2-40B4-BE49-F238E27FC236}">
                    <a16:creationId xmlns:a16="http://schemas.microsoft.com/office/drawing/2014/main" id="{937BA6CA-A36C-76C4-8641-B2CC264B9B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6" y="3804"/>
                <a:ext cx="172" cy="444"/>
              </a:xfrm>
              <a:custGeom>
                <a:avLst/>
                <a:gdLst>
                  <a:gd name="T0" fmla="*/ 17 w 73"/>
                  <a:gd name="T1" fmla="*/ 188 h 188"/>
                  <a:gd name="T2" fmla="*/ 56 w 73"/>
                  <a:gd name="T3" fmla="*/ 188 h 188"/>
                  <a:gd name="T4" fmla="*/ 73 w 73"/>
                  <a:gd name="T5" fmla="*/ 172 h 188"/>
                  <a:gd name="T6" fmla="*/ 73 w 73"/>
                  <a:gd name="T7" fmla="*/ 0 h 188"/>
                  <a:gd name="T8" fmla="*/ 0 w 73"/>
                  <a:gd name="T9" fmla="*/ 0 h 188"/>
                  <a:gd name="T10" fmla="*/ 0 w 73"/>
                  <a:gd name="T11" fmla="*/ 172 h 188"/>
                  <a:gd name="T12" fmla="*/ 17 w 73"/>
                  <a:gd name="T1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" h="188">
                    <a:moveTo>
                      <a:pt x="17" y="188"/>
                    </a:moveTo>
                    <a:cubicBezTo>
                      <a:pt x="56" y="188"/>
                      <a:pt x="56" y="188"/>
                      <a:pt x="56" y="188"/>
                    </a:cubicBezTo>
                    <a:cubicBezTo>
                      <a:pt x="65" y="188"/>
                      <a:pt x="73" y="181"/>
                      <a:pt x="73" y="172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72"/>
                      <a:pt x="0" y="172"/>
                      <a:pt x="0" y="172"/>
                    </a:cubicBezTo>
                    <a:cubicBezTo>
                      <a:pt x="0" y="181"/>
                      <a:pt x="8" y="188"/>
                      <a:pt x="17" y="1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Heavy"/>
                </a:endParaRPr>
              </a:p>
            </p:txBody>
          </p:sp>
          <p:sp>
            <p:nvSpPr>
              <p:cNvPr id="168" name="Freeform 35">
                <a:extLst>
                  <a:ext uri="{FF2B5EF4-FFF2-40B4-BE49-F238E27FC236}">
                    <a16:creationId xmlns:a16="http://schemas.microsoft.com/office/drawing/2014/main" id="{D5B7E68F-9A80-1B92-25B4-20F25887D8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0" y="1295"/>
                <a:ext cx="843" cy="2041"/>
              </a:xfrm>
              <a:custGeom>
                <a:avLst/>
                <a:gdLst>
                  <a:gd name="T0" fmla="*/ 49 w 357"/>
                  <a:gd name="T1" fmla="*/ 864 h 864"/>
                  <a:gd name="T2" fmla="*/ 67 w 357"/>
                  <a:gd name="T3" fmla="*/ 864 h 864"/>
                  <a:gd name="T4" fmla="*/ 67 w 357"/>
                  <a:gd name="T5" fmla="*/ 286 h 864"/>
                  <a:gd name="T6" fmla="*/ 128 w 357"/>
                  <a:gd name="T7" fmla="*/ 217 h 864"/>
                  <a:gd name="T8" fmla="*/ 229 w 357"/>
                  <a:gd name="T9" fmla="*/ 217 h 864"/>
                  <a:gd name="T10" fmla="*/ 290 w 357"/>
                  <a:gd name="T11" fmla="*/ 286 h 864"/>
                  <a:gd name="T12" fmla="*/ 290 w 357"/>
                  <a:gd name="T13" fmla="*/ 864 h 864"/>
                  <a:gd name="T14" fmla="*/ 308 w 357"/>
                  <a:gd name="T15" fmla="*/ 864 h 864"/>
                  <a:gd name="T16" fmla="*/ 357 w 357"/>
                  <a:gd name="T17" fmla="*/ 815 h 864"/>
                  <a:gd name="T18" fmla="*/ 357 w 357"/>
                  <a:gd name="T19" fmla="*/ 113 h 864"/>
                  <a:gd name="T20" fmla="*/ 308 w 357"/>
                  <a:gd name="T21" fmla="*/ 65 h 864"/>
                  <a:gd name="T22" fmla="*/ 283 w 357"/>
                  <a:gd name="T23" fmla="*/ 65 h 864"/>
                  <a:gd name="T24" fmla="*/ 283 w 357"/>
                  <a:gd name="T25" fmla="*/ 37 h 864"/>
                  <a:gd name="T26" fmla="*/ 236 w 357"/>
                  <a:gd name="T27" fmla="*/ 0 h 864"/>
                  <a:gd name="T28" fmla="*/ 121 w 357"/>
                  <a:gd name="T29" fmla="*/ 0 h 864"/>
                  <a:gd name="T30" fmla="*/ 74 w 357"/>
                  <a:gd name="T31" fmla="*/ 37 h 864"/>
                  <a:gd name="T32" fmla="*/ 74 w 357"/>
                  <a:gd name="T33" fmla="*/ 65 h 864"/>
                  <a:gd name="T34" fmla="*/ 49 w 357"/>
                  <a:gd name="T35" fmla="*/ 65 h 864"/>
                  <a:gd name="T36" fmla="*/ 0 w 357"/>
                  <a:gd name="T37" fmla="*/ 113 h 864"/>
                  <a:gd name="T38" fmla="*/ 0 w 357"/>
                  <a:gd name="T39" fmla="*/ 815 h 864"/>
                  <a:gd name="T40" fmla="*/ 49 w 357"/>
                  <a:gd name="T41" fmla="*/ 864 h 8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57" h="864">
                    <a:moveTo>
                      <a:pt x="49" y="864"/>
                    </a:moveTo>
                    <a:cubicBezTo>
                      <a:pt x="67" y="864"/>
                      <a:pt x="67" y="864"/>
                      <a:pt x="67" y="864"/>
                    </a:cubicBezTo>
                    <a:cubicBezTo>
                      <a:pt x="67" y="286"/>
                      <a:pt x="67" y="286"/>
                      <a:pt x="67" y="286"/>
                    </a:cubicBezTo>
                    <a:cubicBezTo>
                      <a:pt x="67" y="248"/>
                      <a:pt x="94" y="217"/>
                      <a:pt x="128" y="217"/>
                    </a:cubicBezTo>
                    <a:cubicBezTo>
                      <a:pt x="229" y="217"/>
                      <a:pt x="229" y="217"/>
                      <a:pt x="229" y="217"/>
                    </a:cubicBezTo>
                    <a:cubicBezTo>
                      <a:pt x="263" y="217"/>
                      <a:pt x="290" y="248"/>
                      <a:pt x="290" y="286"/>
                    </a:cubicBezTo>
                    <a:cubicBezTo>
                      <a:pt x="290" y="864"/>
                      <a:pt x="290" y="864"/>
                      <a:pt x="290" y="864"/>
                    </a:cubicBezTo>
                    <a:cubicBezTo>
                      <a:pt x="308" y="864"/>
                      <a:pt x="308" y="864"/>
                      <a:pt x="308" y="864"/>
                    </a:cubicBezTo>
                    <a:cubicBezTo>
                      <a:pt x="335" y="864"/>
                      <a:pt x="357" y="842"/>
                      <a:pt x="357" y="815"/>
                    </a:cubicBezTo>
                    <a:cubicBezTo>
                      <a:pt x="357" y="113"/>
                      <a:pt x="357" y="113"/>
                      <a:pt x="357" y="113"/>
                    </a:cubicBezTo>
                    <a:cubicBezTo>
                      <a:pt x="357" y="86"/>
                      <a:pt x="335" y="65"/>
                      <a:pt x="308" y="65"/>
                    </a:cubicBezTo>
                    <a:cubicBezTo>
                      <a:pt x="283" y="65"/>
                      <a:pt x="283" y="65"/>
                      <a:pt x="283" y="65"/>
                    </a:cubicBezTo>
                    <a:cubicBezTo>
                      <a:pt x="283" y="37"/>
                      <a:pt x="283" y="37"/>
                      <a:pt x="283" y="37"/>
                    </a:cubicBezTo>
                    <a:cubicBezTo>
                      <a:pt x="283" y="16"/>
                      <a:pt x="262" y="0"/>
                      <a:pt x="236" y="0"/>
                    </a:cubicBezTo>
                    <a:cubicBezTo>
                      <a:pt x="121" y="0"/>
                      <a:pt x="121" y="0"/>
                      <a:pt x="121" y="0"/>
                    </a:cubicBezTo>
                    <a:cubicBezTo>
                      <a:pt x="95" y="0"/>
                      <a:pt x="74" y="16"/>
                      <a:pt x="74" y="37"/>
                    </a:cubicBezTo>
                    <a:cubicBezTo>
                      <a:pt x="74" y="65"/>
                      <a:pt x="74" y="65"/>
                      <a:pt x="74" y="65"/>
                    </a:cubicBezTo>
                    <a:cubicBezTo>
                      <a:pt x="49" y="65"/>
                      <a:pt x="49" y="65"/>
                      <a:pt x="49" y="65"/>
                    </a:cubicBezTo>
                    <a:cubicBezTo>
                      <a:pt x="22" y="65"/>
                      <a:pt x="0" y="86"/>
                      <a:pt x="0" y="113"/>
                    </a:cubicBezTo>
                    <a:cubicBezTo>
                      <a:pt x="0" y="815"/>
                      <a:pt x="0" y="815"/>
                      <a:pt x="0" y="815"/>
                    </a:cubicBezTo>
                    <a:cubicBezTo>
                      <a:pt x="0" y="842"/>
                      <a:pt x="22" y="864"/>
                      <a:pt x="49" y="86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Heavy"/>
                </a:endParaRPr>
              </a:p>
            </p:txBody>
          </p:sp>
          <p:sp>
            <p:nvSpPr>
              <p:cNvPr id="169" name="Freeform 36">
                <a:extLst>
                  <a:ext uri="{FF2B5EF4-FFF2-40B4-BE49-F238E27FC236}">
                    <a16:creationId xmlns:a16="http://schemas.microsoft.com/office/drawing/2014/main" id="{F7D24D76-D630-24D1-747D-AA2EA51636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7" y="-294"/>
                <a:ext cx="290" cy="1542"/>
              </a:xfrm>
              <a:custGeom>
                <a:avLst/>
                <a:gdLst>
                  <a:gd name="T0" fmla="*/ 6 w 123"/>
                  <a:gd name="T1" fmla="*/ 84 h 653"/>
                  <a:gd name="T2" fmla="*/ 25 w 123"/>
                  <a:gd name="T3" fmla="*/ 198 h 653"/>
                  <a:gd name="T4" fmla="*/ 25 w 123"/>
                  <a:gd name="T5" fmla="*/ 653 h 653"/>
                  <a:gd name="T6" fmla="*/ 98 w 123"/>
                  <a:gd name="T7" fmla="*/ 653 h 653"/>
                  <a:gd name="T8" fmla="*/ 98 w 123"/>
                  <a:gd name="T9" fmla="*/ 198 h 653"/>
                  <a:gd name="T10" fmla="*/ 117 w 123"/>
                  <a:gd name="T11" fmla="*/ 84 h 653"/>
                  <a:gd name="T12" fmla="*/ 122 w 123"/>
                  <a:gd name="T13" fmla="*/ 57 h 653"/>
                  <a:gd name="T14" fmla="*/ 123 w 123"/>
                  <a:gd name="T15" fmla="*/ 38 h 653"/>
                  <a:gd name="T16" fmla="*/ 112 w 123"/>
                  <a:gd name="T17" fmla="*/ 0 h 653"/>
                  <a:gd name="T18" fmla="*/ 11 w 123"/>
                  <a:gd name="T19" fmla="*/ 0 h 653"/>
                  <a:gd name="T20" fmla="*/ 0 w 123"/>
                  <a:gd name="T21" fmla="*/ 38 h 653"/>
                  <a:gd name="T22" fmla="*/ 1 w 123"/>
                  <a:gd name="T23" fmla="*/ 57 h 653"/>
                  <a:gd name="T24" fmla="*/ 6 w 123"/>
                  <a:gd name="T25" fmla="*/ 84 h 6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3" h="653">
                    <a:moveTo>
                      <a:pt x="6" y="84"/>
                    </a:moveTo>
                    <a:cubicBezTo>
                      <a:pt x="25" y="198"/>
                      <a:pt x="25" y="198"/>
                      <a:pt x="25" y="198"/>
                    </a:cubicBezTo>
                    <a:cubicBezTo>
                      <a:pt x="25" y="653"/>
                      <a:pt x="25" y="653"/>
                      <a:pt x="25" y="653"/>
                    </a:cubicBezTo>
                    <a:cubicBezTo>
                      <a:pt x="98" y="653"/>
                      <a:pt x="98" y="653"/>
                      <a:pt x="98" y="653"/>
                    </a:cubicBezTo>
                    <a:cubicBezTo>
                      <a:pt x="98" y="198"/>
                      <a:pt x="98" y="198"/>
                      <a:pt x="98" y="198"/>
                    </a:cubicBezTo>
                    <a:cubicBezTo>
                      <a:pt x="117" y="84"/>
                      <a:pt x="117" y="84"/>
                      <a:pt x="117" y="84"/>
                    </a:cubicBezTo>
                    <a:cubicBezTo>
                      <a:pt x="122" y="57"/>
                      <a:pt x="122" y="57"/>
                      <a:pt x="122" y="57"/>
                    </a:cubicBezTo>
                    <a:cubicBezTo>
                      <a:pt x="123" y="51"/>
                      <a:pt x="123" y="44"/>
                      <a:pt x="123" y="38"/>
                    </a:cubicBezTo>
                    <a:cubicBezTo>
                      <a:pt x="123" y="17"/>
                      <a:pt x="118" y="0"/>
                      <a:pt x="112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17"/>
                      <a:pt x="0" y="38"/>
                    </a:cubicBezTo>
                    <a:cubicBezTo>
                      <a:pt x="0" y="45"/>
                      <a:pt x="0" y="51"/>
                      <a:pt x="1" y="57"/>
                    </a:cubicBezTo>
                    <a:lnTo>
                      <a:pt x="6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Heavy"/>
                </a:endParaRPr>
              </a:p>
            </p:txBody>
          </p:sp>
          <p:sp>
            <p:nvSpPr>
              <p:cNvPr id="170" name="Freeform 37">
                <a:extLst>
                  <a:ext uri="{FF2B5EF4-FFF2-40B4-BE49-F238E27FC236}">
                    <a16:creationId xmlns:a16="http://schemas.microsoft.com/office/drawing/2014/main" id="{D2A441CA-A0ED-CC38-4170-80B145E417C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66" y="1855"/>
                <a:ext cx="432" cy="1902"/>
              </a:xfrm>
              <a:custGeom>
                <a:avLst/>
                <a:gdLst>
                  <a:gd name="T0" fmla="*/ 183 w 183"/>
                  <a:gd name="T1" fmla="*/ 756 h 805"/>
                  <a:gd name="T2" fmla="*/ 183 w 183"/>
                  <a:gd name="T3" fmla="*/ 49 h 805"/>
                  <a:gd name="T4" fmla="*/ 142 w 183"/>
                  <a:gd name="T5" fmla="*/ 0 h 805"/>
                  <a:gd name="T6" fmla="*/ 41 w 183"/>
                  <a:gd name="T7" fmla="*/ 0 h 805"/>
                  <a:gd name="T8" fmla="*/ 0 w 183"/>
                  <a:gd name="T9" fmla="*/ 49 h 805"/>
                  <a:gd name="T10" fmla="*/ 0 w 183"/>
                  <a:gd name="T11" fmla="*/ 756 h 805"/>
                  <a:gd name="T12" fmla="*/ 41 w 183"/>
                  <a:gd name="T13" fmla="*/ 805 h 805"/>
                  <a:gd name="T14" fmla="*/ 142 w 183"/>
                  <a:gd name="T15" fmla="*/ 805 h 805"/>
                  <a:gd name="T16" fmla="*/ 183 w 183"/>
                  <a:gd name="T17" fmla="*/ 756 h 805"/>
                  <a:gd name="T18" fmla="*/ 92 w 183"/>
                  <a:gd name="T19" fmla="*/ 279 h 805"/>
                  <a:gd name="T20" fmla="*/ 45 w 183"/>
                  <a:gd name="T21" fmla="*/ 232 h 805"/>
                  <a:gd name="T22" fmla="*/ 92 w 183"/>
                  <a:gd name="T23" fmla="*/ 186 h 805"/>
                  <a:gd name="T24" fmla="*/ 138 w 183"/>
                  <a:gd name="T25" fmla="*/ 232 h 805"/>
                  <a:gd name="T26" fmla="*/ 92 w 183"/>
                  <a:gd name="T27" fmla="*/ 279 h 8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3" h="805">
                    <a:moveTo>
                      <a:pt x="183" y="756"/>
                    </a:moveTo>
                    <a:cubicBezTo>
                      <a:pt x="183" y="49"/>
                      <a:pt x="183" y="49"/>
                      <a:pt x="183" y="49"/>
                    </a:cubicBezTo>
                    <a:cubicBezTo>
                      <a:pt x="183" y="22"/>
                      <a:pt x="165" y="0"/>
                      <a:pt x="142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18" y="0"/>
                      <a:pt x="0" y="22"/>
                      <a:pt x="0" y="49"/>
                    </a:cubicBezTo>
                    <a:cubicBezTo>
                      <a:pt x="0" y="756"/>
                      <a:pt x="0" y="756"/>
                      <a:pt x="0" y="756"/>
                    </a:cubicBezTo>
                    <a:cubicBezTo>
                      <a:pt x="0" y="783"/>
                      <a:pt x="18" y="805"/>
                      <a:pt x="41" y="805"/>
                    </a:cubicBezTo>
                    <a:cubicBezTo>
                      <a:pt x="142" y="805"/>
                      <a:pt x="142" y="805"/>
                      <a:pt x="142" y="805"/>
                    </a:cubicBezTo>
                    <a:cubicBezTo>
                      <a:pt x="165" y="805"/>
                      <a:pt x="183" y="783"/>
                      <a:pt x="183" y="756"/>
                    </a:cubicBezTo>
                    <a:close/>
                    <a:moveTo>
                      <a:pt x="92" y="279"/>
                    </a:moveTo>
                    <a:cubicBezTo>
                      <a:pt x="66" y="279"/>
                      <a:pt x="45" y="258"/>
                      <a:pt x="45" y="232"/>
                    </a:cubicBezTo>
                    <a:cubicBezTo>
                      <a:pt x="45" y="207"/>
                      <a:pt x="66" y="186"/>
                      <a:pt x="92" y="186"/>
                    </a:cubicBezTo>
                    <a:cubicBezTo>
                      <a:pt x="117" y="186"/>
                      <a:pt x="138" y="207"/>
                      <a:pt x="138" y="232"/>
                    </a:cubicBezTo>
                    <a:cubicBezTo>
                      <a:pt x="138" y="258"/>
                      <a:pt x="117" y="279"/>
                      <a:pt x="92" y="27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Heavy"/>
                </a:endParaRPr>
              </a:p>
            </p:txBody>
          </p:sp>
          <p:sp>
            <p:nvSpPr>
              <p:cNvPr id="171" name="Oval 38">
                <a:extLst>
                  <a:ext uri="{FF2B5EF4-FFF2-40B4-BE49-F238E27FC236}">
                    <a16:creationId xmlns:a16="http://schemas.microsoft.com/office/drawing/2014/main" id="{69649B13-A31B-4F67-272B-438EDC2970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6" y="2356"/>
                <a:ext cx="92" cy="9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Heavy"/>
                </a:endParaRPr>
              </a:p>
            </p:txBody>
          </p:sp>
        </p:grpSp>
        <p:sp>
          <p:nvSpPr>
            <p:cNvPr id="165" name="Freeform 91">
              <a:extLst>
                <a:ext uri="{FF2B5EF4-FFF2-40B4-BE49-F238E27FC236}">
                  <a16:creationId xmlns:a16="http://schemas.microsoft.com/office/drawing/2014/main" id="{91E0678C-871F-19BB-7BAE-F2E0295537D8}"/>
                </a:ext>
              </a:extLst>
            </p:cNvPr>
            <p:cNvSpPr>
              <a:spLocks noChangeAspect="1" noEditPoints="1"/>
            </p:cNvSpPr>
            <p:nvPr>
              <p:custDataLst>
                <p:tags r:id="rId37"/>
              </p:custDataLst>
            </p:nvPr>
          </p:nvSpPr>
          <p:spPr bwMode="auto">
            <a:xfrm>
              <a:off x="740741" y="5634555"/>
              <a:ext cx="482699" cy="570599"/>
            </a:xfrm>
            <a:custGeom>
              <a:avLst/>
              <a:gdLst>
                <a:gd name="T0" fmla="*/ 400 w 1760"/>
                <a:gd name="T1" fmla="*/ 0 h 2080"/>
                <a:gd name="T2" fmla="*/ 1520 w 1760"/>
                <a:gd name="T3" fmla="*/ 0 h 2080"/>
                <a:gd name="T4" fmla="*/ 1760 w 1760"/>
                <a:gd name="T5" fmla="*/ 240 h 2080"/>
                <a:gd name="T6" fmla="*/ 1760 w 1760"/>
                <a:gd name="T7" fmla="*/ 2080 h 2080"/>
                <a:gd name="T8" fmla="*/ 160 w 1760"/>
                <a:gd name="T9" fmla="*/ 2080 h 2080"/>
                <a:gd name="T10" fmla="*/ 160 w 1760"/>
                <a:gd name="T11" fmla="*/ 2000 h 2080"/>
                <a:gd name="T12" fmla="*/ 400 w 1760"/>
                <a:gd name="T13" fmla="*/ 1760 h 2080"/>
                <a:gd name="T14" fmla="*/ 1240 w 1760"/>
                <a:gd name="T15" fmla="*/ 1760 h 2080"/>
                <a:gd name="T16" fmla="*/ 1280 w 1760"/>
                <a:gd name="T17" fmla="*/ 1720 h 2080"/>
                <a:gd name="T18" fmla="*/ 1280 w 1760"/>
                <a:gd name="T19" fmla="*/ 680 h 2080"/>
                <a:gd name="T20" fmla="*/ 1240 w 1760"/>
                <a:gd name="T21" fmla="*/ 640 h 2080"/>
                <a:gd name="T22" fmla="*/ 400 w 1760"/>
                <a:gd name="T23" fmla="*/ 640 h 2080"/>
                <a:gd name="T24" fmla="*/ 160 w 1760"/>
                <a:gd name="T25" fmla="*/ 400 h 2080"/>
                <a:gd name="T26" fmla="*/ 160 w 1760"/>
                <a:gd name="T27" fmla="*/ 240 h 2080"/>
                <a:gd name="T28" fmla="*/ 400 w 1760"/>
                <a:gd name="T29" fmla="*/ 0 h 2080"/>
                <a:gd name="T30" fmla="*/ 1200 w 1760"/>
                <a:gd name="T31" fmla="*/ 1168 h 2080"/>
                <a:gd name="T32" fmla="*/ 1000 w 1760"/>
                <a:gd name="T33" fmla="*/ 1623 h 2080"/>
                <a:gd name="T34" fmla="*/ 1000 w 1760"/>
                <a:gd name="T35" fmla="*/ 1680 h 2080"/>
                <a:gd name="T36" fmla="*/ 480 w 1760"/>
                <a:gd name="T37" fmla="*/ 1680 h 2080"/>
                <a:gd name="T38" fmla="*/ 480 w 1760"/>
                <a:gd name="T39" fmla="*/ 1624 h 2080"/>
                <a:gd name="T40" fmla="*/ 312 w 1760"/>
                <a:gd name="T41" fmla="*/ 1464 h 2080"/>
                <a:gd name="T42" fmla="*/ 168 w 1760"/>
                <a:gd name="T43" fmla="*/ 1444 h 2080"/>
                <a:gd name="T44" fmla="*/ 0 w 1760"/>
                <a:gd name="T45" fmla="*/ 1260 h 2080"/>
                <a:gd name="T46" fmla="*/ 180 w 1760"/>
                <a:gd name="T47" fmla="*/ 1080 h 2080"/>
                <a:gd name="T48" fmla="*/ 240 w 1760"/>
                <a:gd name="T49" fmla="*/ 1080 h 2080"/>
                <a:gd name="T50" fmla="*/ 240 w 1760"/>
                <a:gd name="T51" fmla="*/ 960 h 2080"/>
                <a:gd name="T52" fmla="*/ 1200 w 1760"/>
                <a:gd name="T53" fmla="*/ 960 h 2080"/>
                <a:gd name="T54" fmla="*/ 1200 w 1760"/>
                <a:gd name="T55" fmla="*/ 1168 h 2080"/>
                <a:gd name="T56" fmla="*/ 1120 w 1760"/>
                <a:gd name="T57" fmla="*/ 1168 h 2080"/>
                <a:gd name="T58" fmla="*/ 1120 w 1760"/>
                <a:gd name="T59" fmla="*/ 1040 h 2080"/>
                <a:gd name="T60" fmla="*/ 320 w 1760"/>
                <a:gd name="T61" fmla="*/ 1040 h 2080"/>
                <a:gd name="T62" fmla="*/ 320 w 1760"/>
                <a:gd name="T63" fmla="*/ 1160 h 2080"/>
                <a:gd name="T64" fmla="*/ 180 w 1760"/>
                <a:gd name="T65" fmla="*/ 1160 h 2080"/>
                <a:gd name="T66" fmla="*/ 80 w 1760"/>
                <a:gd name="T67" fmla="*/ 1260 h 2080"/>
                <a:gd name="T68" fmla="*/ 173 w 1760"/>
                <a:gd name="T69" fmla="*/ 1364 h 2080"/>
                <a:gd name="T70" fmla="*/ 352 w 1760"/>
                <a:gd name="T71" fmla="*/ 1392 h 2080"/>
                <a:gd name="T72" fmla="*/ 368 w 1760"/>
                <a:gd name="T73" fmla="*/ 1398 h 2080"/>
                <a:gd name="T74" fmla="*/ 538 w 1760"/>
                <a:gd name="T75" fmla="*/ 1564 h 2080"/>
                <a:gd name="T76" fmla="*/ 560 w 1760"/>
                <a:gd name="T77" fmla="*/ 1576 h 2080"/>
                <a:gd name="T78" fmla="*/ 560 w 1760"/>
                <a:gd name="T79" fmla="*/ 1600 h 2080"/>
                <a:gd name="T80" fmla="*/ 920 w 1760"/>
                <a:gd name="T81" fmla="*/ 1600 h 2080"/>
                <a:gd name="T82" fmla="*/ 920 w 1760"/>
                <a:gd name="T83" fmla="*/ 1576 h 2080"/>
                <a:gd name="T84" fmla="*/ 942 w 1760"/>
                <a:gd name="T85" fmla="*/ 1564 h 2080"/>
                <a:gd name="T86" fmla="*/ 1120 w 1760"/>
                <a:gd name="T87" fmla="*/ 1168 h 2080"/>
                <a:gd name="T88" fmla="*/ 1040 w 1760"/>
                <a:gd name="T89" fmla="*/ 680 h 2080"/>
                <a:gd name="T90" fmla="*/ 1040 w 1760"/>
                <a:gd name="T91" fmla="*/ 692 h 2080"/>
                <a:gd name="T92" fmla="*/ 940 w 1760"/>
                <a:gd name="T93" fmla="*/ 810 h 2080"/>
                <a:gd name="T94" fmla="*/ 800 w 1760"/>
                <a:gd name="T95" fmla="*/ 834 h 2080"/>
                <a:gd name="T96" fmla="*/ 800 w 1760"/>
                <a:gd name="T97" fmla="*/ 880 h 2080"/>
                <a:gd name="T98" fmla="*/ 640 w 1760"/>
                <a:gd name="T99" fmla="*/ 880 h 2080"/>
                <a:gd name="T100" fmla="*/ 640 w 1760"/>
                <a:gd name="T101" fmla="*/ 834 h 2080"/>
                <a:gd name="T102" fmla="*/ 500 w 1760"/>
                <a:gd name="T103" fmla="*/ 810 h 2080"/>
                <a:gd name="T104" fmla="*/ 400 w 1760"/>
                <a:gd name="T105" fmla="*/ 692 h 2080"/>
                <a:gd name="T106" fmla="*/ 400 w 1760"/>
                <a:gd name="T107" fmla="*/ 680 h 2080"/>
                <a:gd name="T108" fmla="*/ 1040 w 1760"/>
                <a:gd name="T109" fmla="*/ 680 h 2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60" h="2080">
                  <a:moveTo>
                    <a:pt x="400" y="0"/>
                  </a:moveTo>
                  <a:cubicBezTo>
                    <a:pt x="1520" y="0"/>
                    <a:pt x="1520" y="0"/>
                    <a:pt x="1520" y="0"/>
                  </a:cubicBezTo>
                  <a:cubicBezTo>
                    <a:pt x="1652" y="0"/>
                    <a:pt x="1760" y="108"/>
                    <a:pt x="1760" y="240"/>
                  </a:cubicBezTo>
                  <a:cubicBezTo>
                    <a:pt x="1760" y="2080"/>
                    <a:pt x="1760" y="2080"/>
                    <a:pt x="1760" y="2080"/>
                  </a:cubicBezTo>
                  <a:cubicBezTo>
                    <a:pt x="160" y="2080"/>
                    <a:pt x="160" y="2080"/>
                    <a:pt x="160" y="2080"/>
                  </a:cubicBezTo>
                  <a:cubicBezTo>
                    <a:pt x="160" y="2000"/>
                    <a:pt x="160" y="2000"/>
                    <a:pt x="160" y="2000"/>
                  </a:cubicBezTo>
                  <a:cubicBezTo>
                    <a:pt x="160" y="1868"/>
                    <a:pt x="268" y="1760"/>
                    <a:pt x="400" y="1760"/>
                  </a:cubicBezTo>
                  <a:cubicBezTo>
                    <a:pt x="1240" y="1760"/>
                    <a:pt x="1240" y="1760"/>
                    <a:pt x="1240" y="1760"/>
                  </a:cubicBezTo>
                  <a:cubicBezTo>
                    <a:pt x="1262" y="1760"/>
                    <a:pt x="1280" y="1742"/>
                    <a:pt x="1280" y="1720"/>
                  </a:cubicBezTo>
                  <a:cubicBezTo>
                    <a:pt x="1280" y="680"/>
                    <a:pt x="1280" y="680"/>
                    <a:pt x="1280" y="680"/>
                  </a:cubicBezTo>
                  <a:cubicBezTo>
                    <a:pt x="1280" y="658"/>
                    <a:pt x="1262" y="640"/>
                    <a:pt x="1240" y="640"/>
                  </a:cubicBezTo>
                  <a:cubicBezTo>
                    <a:pt x="400" y="640"/>
                    <a:pt x="400" y="640"/>
                    <a:pt x="400" y="640"/>
                  </a:cubicBezTo>
                  <a:cubicBezTo>
                    <a:pt x="268" y="640"/>
                    <a:pt x="160" y="532"/>
                    <a:pt x="160" y="400"/>
                  </a:cubicBezTo>
                  <a:cubicBezTo>
                    <a:pt x="160" y="240"/>
                    <a:pt x="160" y="240"/>
                    <a:pt x="160" y="240"/>
                  </a:cubicBezTo>
                  <a:cubicBezTo>
                    <a:pt x="160" y="108"/>
                    <a:pt x="268" y="0"/>
                    <a:pt x="400" y="0"/>
                  </a:cubicBezTo>
                  <a:close/>
                  <a:moveTo>
                    <a:pt x="1200" y="1168"/>
                  </a:moveTo>
                  <a:cubicBezTo>
                    <a:pt x="1200" y="1334"/>
                    <a:pt x="1149" y="1529"/>
                    <a:pt x="1000" y="1623"/>
                  </a:cubicBezTo>
                  <a:cubicBezTo>
                    <a:pt x="1000" y="1680"/>
                    <a:pt x="1000" y="1680"/>
                    <a:pt x="1000" y="1680"/>
                  </a:cubicBezTo>
                  <a:cubicBezTo>
                    <a:pt x="480" y="1680"/>
                    <a:pt x="480" y="1680"/>
                    <a:pt x="480" y="1680"/>
                  </a:cubicBezTo>
                  <a:cubicBezTo>
                    <a:pt x="480" y="1624"/>
                    <a:pt x="480" y="1624"/>
                    <a:pt x="480" y="1624"/>
                  </a:cubicBezTo>
                  <a:cubicBezTo>
                    <a:pt x="414" y="1586"/>
                    <a:pt x="350" y="1530"/>
                    <a:pt x="312" y="1464"/>
                  </a:cubicBezTo>
                  <a:cubicBezTo>
                    <a:pt x="267" y="1452"/>
                    <a:pt x="214" y="1447"/>
                    <a:pt x="168" y="1444"/>
                  </a:cubicBezTo>
                  <a:cubicBezTo>
                    <a:pt x="70" y="1438"/>
                    <a:pt x="0" y="1357"/>
                    <a:pt x="0" y="1260"/>
                  </a:cubicBezTo>
                  <a:cubicBezTo>
                    <a:pt x="0" y="1161"/>
                    <a:pt x="81" y="1080"/>
                    <a:pt x="180" y="1080"/>
                  </a:cubicBezTo>
                  <a:cubicBezTo>
                    <a:pt x="240" y="1080"/>
                    <a:pt x="240" y="1080"/>
                    <a:pt x="240" y="1080"/>
                  </a:cubicBezTo>
                  <a:cubicBezTo>
                    <a:pt x="240" y="960"/>
                    <a:pt x="240" y="960"/>
                    <a:pt x="240" y="960"/>
                  </a:cubicBezTo>
                  <a:cubicBezTo>
                    <a:pt x="1200" y="960"/>
                    <a:pt x="1200" y="960"/>
                    <a:pt x="1200" y="960"/>
                  </a:cubicBezTo>
                  <a:lnTo>
                    <a:pt x="1200" y="1168"/>
                  </a:lnTo>
                  <a:close/>
                  <a:moveTo>
                    <a:pt x="1120" y="1168"/>
                  </a:moveTo>
                  <a:cubicBezTo>
                    <a:pt x="1120" y="1040"/>
                    <a:pt x="1120" y="1040"/>
                    <a:pt x="1120" y="1040"/>
                  </a:cubicBezTo>
                  <a:cubicBezTo>
                    <a:pt x="320" y="1040"/>
                    <a:pt x="320" y="1040"/>
                    <a:pt x="320" y="1040"/>
                  </a:cubicBezTo>
                  <a:cubicBezTo>
                    <a:pt x="320" y="1160"/>
                    <a:pt x="320" y="1160"/>
                    <a:pt x="320" y="1160"/>
                  </a:cubicBezTo>
                  <a:cubicBezTo>
                    <a:pt x="180" y="1160"/>
                    <a:pt x="180" y="1160"/>
                    <a:pt x="180" y="1160"/>
                  </a:cubicBezTo>
                  <a:cubicBezTo>
                    <a:pt x="125" y="1160"/>
                    <a:pt x="80" y="1205"/>
                    <a:pt x="80" y="1260"/>
                  </a:cubicBezTo>
                  <a:cubicBezTo>
                    <a:pt x="80" y="1315"/>
                    <a:pt x="117" y="1361"/>
                    <a:pt x="173" y="1364"/>
                  </a:cubicBezTo>
                  <a:cubicBezTo>
                    <a:pt x="229" y="1368"/>
                    <a:pt x="299" y="1374"/>
                    <a:pt x="352" y="1392"/>
                  </a:cubicBezTo>
                  <a:cubicBezTo>
                    <a:pt x="368" y="1398"/>
                    <a:pt x="368" y="1398"/>
                    <a:pt x="368" y="1398"/>
                  </a:cubicBezTo>
                  <a:cubicBezTo>
                    <a:pt x="406" y="1473"/>
                    <a:pt x="463" y="1527"/>
                    <a:pt x="538" y="1564"/>
                  </a:cubicBezTo>
                  <a:cubicBezTo>
                    <a:pt x="560" y="1576"/>
                    <a:pt x="560" y="1576"/>
                    <a:pt x="560" y="1576"/>
                  </a:cubicBezTo>
                  <a:cubicBezTo>
                    <a:pt x="560" y="1600"/>
                    <a:pt x="560" y="1600"/>
                    <a:pt x="560" y="1600"/>
                  </a:cubicBezTo>
                  <a:cubicBezTo>
                    <a:pt x="920" y="1600"/>
                    <a:pt x="920" y="1600"/>
                    <a:pt x="920" y="1600"/>
                  </a:cubicBezTo>
                  <a:cubicBezTo>
                    <a:pt x="920" y="1576"/>
                    <a:pt x="920" y="1576"/>
                    <a:pt x="920" y="1576"/>
                  </a:cubicBezTo>
                  <a:cubicBezTo>
                    <a:pt x="942" y="1564"/>
                    <a:pt x="942" y="1564"/>
                    <a:pt x="942" y="1564"/>
                  </a:cubicBezTo>
                  <a:cubicBezTo>
                    <a:pt x="1078" y="1497"/>
                    <a:pt x="1120" y="1306"/>
                    <a:pt x="1120" y="1168"/>
                  </a:cubicBezTo>
                  <a:close/>
                  <a:moveTo>
                    <a:pt x="1040" y="680"/>
                  </a:moveTo>
                  <a:cubicBezTo>
                    <a:pt x="1040" y="692"/>
                    <a:pt x="1040" y="692"/>
                    <a:pt x="1040" y="692"/>
                  </a:cubicBezTo>
                  <a:cubicBezTo>
                    <a:pt x="1040" y="751"/>
                    <a:pt x="998" y="801"/>
                    <a:pt x="940" y="810"/>
                  </a:cubicBezTo>
                  <a:cubicBezTo>
                    <a:pt x="928" y="812"/>
                    <a:pt x="800" y="834"/>
                    <a:pt x="800" y="834"/>
                  </a:cubicBezTo>
                  <a:cubicBezTo>
                    <a:pt x="800" y="880"/>
                    <a:pt x="800" y="880"/>
                    <a:pt x="800" y="880"/>
                  </a:cubicBezTo>
                  <a:cubicBezTo>
                    <a:pt x="747" y="880"/>
                    <a:pt x="693" y="880"/>
                    <a:pt x="640" y="880"/>
                  </a:cubicBezTo>
                  <a:cubicBezTo>
                    <a:pt x="640" y="834"/>
                    <a:pt x="640" y="834"/>
                    <a:pt x="640" y="834"/>
                  </a:cubicBezTo>
                  <a:cubicBezTo>
                    <a:pt x="640" y="834"/>
                    <a:pt x="512" y="812"/>
                    <a:pt x="500" y="810"/>
                  </a:cubicBezTo>
                  <a:cubicBezTo>
                    <a:pt x="442" y="801"/>
                    <a:pt x="400" y="751"/>
                    <a:pt x="400" y="692"/>
                  </a:cubicBezTo>
                  <a:cubicBezTo>
                    <a:pt x="400" y="680"/>
                    <a:pt x="400" y="680"/>
                    <a:pt x="400" y="680"/>
                  </a:cubicBezTo>
                  <a:cubicBezTo>
                    <a:pt x="602" y="680"/>
                    <a:pt x="838" y="680"/>
                    <a:pt x="1040" y="68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Heavy"/>
              </a:endParaRPr>
            </a:p>
          </p:txBody>
        </p:sp>
      </p:grpSp>
      <p:sp>
        <p:nvSpPr>
          <p:cNvPr id="172" name="Line 20">
            <a:extLst>
              <a:ext uri="{FF2B5EF4-FFF2-40B4-BE49-F238E27FC236}">
                <a16:creationId xmlns:a16="http://schemas.microsoft.com/office/drawing/2014/main" id="{D5B5C006-0F8C-ED85-ABEB-D57AC0F0DD76}"/>
              </a:ext>
            </a:extLst>
          </p:cNvPr>
          <p:cNvSpPr>
            <a:spLocks noChangeShapeType="1"/>
          </p:cNvSpPr>
          <p:nvPr>
            <p:custDataLst>
              <p:tags r:id="rId12"/>
            </p:custDataLst>
          </p:nvPr>
        </p:nvSpPr>
        <p:spPr bwMode="gray">
          <a:xfrm flipV="1">
            <a:off x="713741" y="4285401"/>
            <a:ext cx="3436234" cy="3229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182" name="Text Placeholder 1">
            <a:extLst>
              <a:ext uri="{FF2B5EF4-FFF2-40B4-BE49-F238E27FC236}">
                <a16:creationId xmlns:a16="http://schemas.microsoft.com/office/drawing/2014/main" id="{0EE82C5B-1A64-2061-FC03-E912C61D66AA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623392" y="5341110"/>
            <a:ext cx="2974673" cy="576000"/>
          </a:xfrm>
          <a:prstGeom prst="rect">
            <a:avLst/>
          </a:prstGeom>
          <a:noFill/>
          <a:ln w="9525">
            <a:noFill/>
          </a:ln>
        </p:spPr>
        <p:txBody>
          <a:bodyPr vert="horz" lIns="612000" tIns="108000" rIns="0" bIns="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defTabSz="1219170">
              <a:spcBef>
                <a:spcPts val="400"/>
              </a:spcBef>
              <a:defRPr/>
            </a:pPr>
            <a:r>
              <a:rPr sz="1400" b="1" dirty="0">
                <a:solidFill>
                  <a:srgbClr val="AA213F"/>
                </a:solidFill>
                <a:latin typeface="+mn-lt"/>
                <a:cs typeface="Lato" panose="020F0502020204030203" pitchFamily="34" charset="0"/>
              </a:rPr>
              <a:t>Telecom</a:t>
            </a:r>
            <a:br>
              <a:rPr sz="1400" b="1" dirty="0">
                <a:solidFill>
                  <a:srgbClr val="F2A33C"/>
                </a:solidFill>
                <a:latin typeface="+mn-lt"/>
                <a:cs typeface="Lato" panose="020F0502020204030203" pitchFamily="34" charset="0"/>
              </a:rPr>
            </a:br>
            <a:r>
              <a:rPr sz="1400" b="1" dirty="0">
                <a:solidFill>
                  <a:srgbClr val="3B4145"/>
                </a:solidFill>
                <a:latin typeface="+mn-lt"/>
                <a:cs typeface="Lato" panose="020F0502020204030203" pitchFamily="34" charset="0"/>
              </a:rPr>
              <a:t>-</a:t>
            </a:r>
            <a:r>
              <a:rPr lang="en-US" sz="1400" b="1" dirty="0">
                <a:solidFill>
                  <a:srgbClr val="3B4145"/>
                </a:solidFill>
                <a:latin typeface="+mn-lt"/>
                <a:cs typeface="Lato" panose="020F0502020204030203" pitchFamily="34" charset="0"/>
              </a:rPr>
              <a:t>0</a:t>
            </a:r>
            <a:r>
              <a:rPr sz="1400" b="1" dirty="0">
                <a:solidFill>
                  <a:srgbClr val="3B4145"/>
                </a:solidFill>
                <a:latin typeface="+mn-lt"/>
                <a:cs typeface="Lato" panose="020F0502020204030203" pitchFamily="34" charset="0"/>
              </a:rPr>
              <a:t>,</a:t>
            </a:r>
            <a:r>
              <a:rPr lang="en-US" sz="1400" b="1" dirty="0">
                <a:solidFill>
                  <a:srgbClr val="3B4145"/>
                </a:solidFill>
                <a:latin typeface="+mn-lt"/>
                <a:cs typeface="Lato" panose="020F0502020204030203" pitchFamily="34" charset="0"/>
              </a:rPr>
              <a:t>1</a:t>
            </a:r>
            <a:r>
              <a:rPr sz="1400" b="1" dirty="0">
                <a:solidFill>
                  <a:srgbClr val="3B4145"/>
                </a:solidFill>
                <a:latin typeface="+mn-lt"/>
                <a:cs typeface="Lato" panose="020F0502020204030203" pitchFamily="34" charset="0"/>
              </a:rPr>
              <a:t>%</a:t>
            </a:r>
          </a:p>
          <a:p>
            <a:pPr defTabSz="1219170">
              <a:spcBef>
                <a:spcPts val="400"/>
              </a:spcBef>
              <a:defRPr/>
            </a:pPr>
            <a:endParaRPr sz="1400" dirty="0">
              <a:solidFill>
                <a:srgbClr val="3B4145"/>
              </a:solidFill>
              <a:latin typeface="+mn-lt"/>
              <a:cs typeface="Lato" panose="020F0502020204030203" pitchFamily="34" charset="0"/>
            </a:endParaRPr>
          </a:p>
        </p:txBody>
      </p:sp>
      <p:grpSp>
        <p:nvGrpSpPr>
          <p:cNvPr id="183" name="Group 341">
            <a:extLst>
              <a:ext uri="{FF2B5EF4-FFF2-40B4-BE49-F238E27FC236}">
                <a16:creationId xmlns:a16="http://schemas.microsoft.com/office/drawing/2014/main" id="{BB810A44-ABBA-927A-AC89-277319A5A58A}"/>
              </a:ext>
            </a:extLst>
          </p:cNvPr>
          <p:cNvGrpSpPr/>
          <p:nvPr>
            <p:custDataLst>
              <p:tags r:id="rId14"/>
            </p:custDataLst>
          </p:nvPr>
        </p:nvGrpSpPr>
        <p:grpSpPr>
          <a:xfrm>
            <a:off x="747301" y="5397137"/>
            <a:ext cx="273818" cy="528072"/>
            <a:chOff x="2987780" y="987480"/>
            <a:chExt cx="298709" cy="576080"/>
          </a:xfrm>
          <a:solidFill>
            <a:srgbClr val="C00000"/>
          </a:solidFill>
        </p:grpSpPr>
        <p:sp>
          <p:nvSpPr>
            <p:cNvPr id="184" name="Freeform: Shape 324">
              <a:extLst>
                <a:ext uri="{FF2B5EF4-FFF2-40B4-BE49-F238E27FC236}">
                  <a16:creationId xmlns:a16="http://schemas.microsoft.com/office/drawing/2014/main" id="{E9B8DA0F-8E8E-8C97-8E97-51768FFEAD4A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>
            <a:xfrm>
              <a:off x="2987780" y="987480"/>
              <a:ext cx="298709" cy="576080"/>
            </a:xfrm>
            <a:custGeom>
              <a:avLst/>
              <a:gdLst>
                <a:gd name="connsiteX0" fmla="*/ 181731 w 185710"/>
                <a:gd name="connsiteY0" fmla="*/ 0 h 358155"/>
                <a:gd name="connsiteX1" fmla="*/ 144589 w 185710"/>
                <a:gd name="connsiteY1" fmla="*/ 0 h 358155"/>
                <a:gd name="connsiteX2" fmla="*/ 53060 w 185710"/>
                <a:gd name="connsiteY2" fmla="*/ 0 h 358155"/>
                <a:gd name="connsiteX3" fmla="*/ 15918 w 185710"/>
                <a:gd name="connsiteY3" fmla="*/ 0 h 358155"/>
                <a:gd name="connsiteX4" fmla="*/ 0 w 185710"/>
                <a:gd name="connsiteY4" fmla="*/ 15918 h 358155"/>
                <a:gd name="connsiteX5" fmla="*/ 0 w 185710"/>
                <a:gd name="connsiteY5" fmla="*/ 348869 h 358155"/>
                <a:gd name="connsiteX6" fmla="*/ 15918 w 185710"/>
                <a:gd name="connsiteY6" fmla="*/ 364788 h 358155"/>
                <a:gd name="connsiteX7" fmla="*/ 181731 w 185710"/>
                <a:gd name="connsiteY7" fmla="*/ 364788 h 358155"/>
                <a:gd name="connsiteX8" fmla="*/ 197649 w 185710"/>
                <a:gd name="connsiteY8" fmla="*/ 348869 h 358155"/>
                <a:gd name="connsiteX9" fmla="*/ 197649 w 185710"/>
                <a:gd name="connsiteY9" fmla="*/ 15918 h 358155"/>
                <a:gd name="connsiteX10" fmla="*/ 181731 w 185710"/>
                <a:gd name="connsiteY10" fmla="*/ 0 h 358155"/>
                <a:gd name="connsiteX11" fmla="*/ 76937 w 185710"/>
                <a:gd name="connsiteY11" fmla="*/ 11938 h 358155"/>
                <a:gd name="connsiteX12" fmla="*/ 79590 w 185710"/>
                <a:gd name="connsiteY12" fmla="*/ 9285 h 358155"/>
                <a:gd name="connsiteX13" fmla="*/ 116732 w 185710"/>
                <a:gd name="connsiteY13" fmla="*/ 9285 h 358155"/>
                <a:gd name="connsiteX14" fmla="*/ 119385 w 185710"/>
                <a:gd name="connsiteY14" fmla="*/ 11938 h 358155"/>
                <a:gd name="connsiteX15" fmla="*/ 119385 w 185710"/>
                <a:gd name="connsiteY15" fmla="*/ 13265 h 358155"/>
                <a:gd name="connsiteX16" fmla="*/ 116732 w 185710"/>
                <a:gd name="connsiteY16" fmla="*/ 15918 h 358155"/>
                <a:gd name="connsiteX17" fmla="*/ 79590 w 185710"/>
                <a:gd name="connsiteY17" fmla="*/ 15918 h 358155"/>
                <a:gd name="connsiteX18" fmla="*/ 76937 w 185710"/>
                <a:gd name="connsiteY18" fmla="*/ 11938 h 358155"/>
                <a:gd name="connsiteX19" fmla="*/ 76937 w 185710"/>
                <a:gd name="connsiteY19" fmla="*/ 11938 h 358155"/>
                <a:gd name="connsiteX20" fmla="*/ 63672 w 185710"/>
                <a:gd name="connsiteY20" fmla="*/ 6633 h 358155"/>
                <a:gd name="connsiteX21" fmla="*/ 68978 w 185710"/>
                <a:gd name="connsiteY21" fmla="*/ 11938 h 358155"/>
                <a:gd name="connsiteX22" fmla="*/ 63672 w 185710"/>
                <a:gd name="connsiteY22" fmla="*/ 17245 h 358155"/>
                <a:gd name="connsiteX23" fmla="*/ 58366 w 185710"/>
                <a:gd name="connsiteY23" fmla="*/ 11938 h 358155"/>
                <a:gd name="connsiteX24" fmla="*/ 63672 w 185710"/>
                <a:gd name="connsiteY24" fmla="*/ 6633 h 358155"/>
                <a:gd name="connsiteX25" fmla="*/ 119385 w 185710"/>
                <a:gd name="connsiteY25" fmla="*/ 350196 h 358155"/>
                <a:gd name="connsiteX26" fmla="*/ 112753 w 185710"/>
                <a:gd name="connsiteY26" fmla="*/ 356829 h 358155"/>
                <a:gd name="connsiteX27" fmla="*/ 84896 w 185710"/>
                <a:gd name="connsiteY27" fmla="*/ 356829 h 358155"/>
                <a:gd name="connsiteX28" fmla="*/ 78264 w 185710"/>
                <a:gd name="connsiteY28" fmla="*/ 350196 h 358155"/>
                <a:gd name="connsiteX29" fmla="*/ 78264 w 185710"/>
                <a:gd name="connsiteY29" fmla="*/ 347543 h 358155"/>
                <a:gd name="connsiteX30" fmla="*/ 84896 w 185710"/>
                <a:gd name="connsiteY30" fmla="*/ 340911 h 358155"/>
                <a:gd name="connsiteX31" fmla="*/ 112753 w 185710"/>
                <a:gd name="connsiteY31" fmla="*/ 340911 h 358155"/>
                <a:gd name="connsiteX32" fmla="*/ 119385 w 185710"/>
                <a:gd name="connsiteY32" fmla="*/ 347543 h 358155"/>
                <a:gd name="connsiteX33" fmla="*/ 119385 w 185710"/>
                <a:gd name="connsiteY33" fmla="*/ 350196 h 358155"/>
                <a:gd name="connsiteX34" fmla="*/ 187037 w 185710"/>
                <a:gd name="connsiteY34" fmla="*/ 331625 h 358155"/>
                <a:gd name="connsiteX35" fmla="*/ 176425 w 185710"/>
                <a:gd name="connsiteY35" fmla="*/ 335604 h 358155"/>
                <a:gd name="connsiteX36" fmla="*/ 17245 w 185710"/>
                <a:gd name="connsiteY36" fmla="*/ 335604 h 358155"/>
                <a:gd name="connsiteX37" fmla="*/ 10612 w 185710"/>
                <a:gd name="connsiteY37" fmla="*/ 330299 h 358155"/>
                <a:gd name="connsiteX38" fmla="*/ 10612 w 185710"/>
                <a:gd name="connsiteY38" fmla="*/ 17245 h 358155"/>
                <a:gd name="connsiteX39" fmla="*/ 15918 w 185710"/>
                <a:gd name="connsiteY39" fmla="*/ 10612 h 358155"/>
                <a:gd name="connsiteX40" fmla="*/ 53060 w 185710"/>
                <a:gd name="connsiteY40" fmla="*/ 10612 h 358155"/>
                <a:gd name="connsiteX41" fmla="*/ 53060 w 185710"/>
                <a:gd name="connsiteY41" fmla="*/ 10612 h 358155"/>
                <a:gd name="connsiteX42" fmla="*/ 63672 w 185710"/>
                <a:gd name="connsiteY42" fmla="*/ 22550 h 358155"/>
                <a:gd name="connsiteX43" fmla="*/ 135303 w 185710"/>
                <a:gd name="connsiteY43" fmla="*/ 22550 h 358155"/>
                <a:gd name="connsiteX44" fmla="*/ 145915 w 185710"/>
                <a:gd name="connsiteY44" fmla="*/ 11938 h 358155"/>
                <a:gd name="connsiteX45" fmla="*/ 145915 w 185710"/>
                <a:gd name="connsiteY45" fmla="*/ 11938 h 358155"/>
                <a:gd name="connsiteX46" fmla="*/ 183057 w 185710"/>
                <a:gd name="connsiteY46" fmla="*/ 11938 h 358155"/>
                <a:gd name="connsiteX47" fmla="*/ 188363 w 185710"/>
                <a:gd name="connsiteY47" fmla="*/ 19898 h 358155"/>
                <a:gd name="connsiteX48" fmla="*/ 188363 w 185710"/>
                <a:gd name="connsiteY48" fmla="*/ 331625 h 35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85710" h="358155">
                  <a:moveTo>
                    <a:pt x="181731" y="0"/>
                  </a:moveTo>
                  <a:lnTo>
                    <a:pt x="144589" y="0"/>
                  </a:lnTo>
                  <a:lnTo>
                    <a:pt x="53060" y="0"/>
                  </a:lnTo>
                  <a:lnTo>
                    <a:pt x="15918" y="0"/>
                  </a:lnTo>
                  <a:cubicBezTo>
                    <a:pt x="6633" y="0"/>
                    <a:pt x="0" y="6633"/>
                    <a:pt x="0" y="15918"/>
                  </a:cubicBezTo>
                  <a:lnTo>
                    <a:pt x="0" y="348869"/>
                  </a:lnTo>
                  <a:cubicBezTo>
                    <a:pt x="0" y="358155"/>
                    <a:pt x="6633" y="364788"/>
                    <a:pt x="15918" y="364788"/>
                  </a:cubicBezTo>
                  <a:lnTo>
                    <a:pt x="181731" y="364788"/>
                  </a:lnTo>
                  <a:cubicBezTo>
                    <a:pt x="191016" y="364788"/>
                    <a:pt x="197649" y="358155"/>
                    <a:pt x="197649" y="348869"/>
                  </a:cubicBezTo>
                  <a:lnTo>
                    <a:pt x="197649" y="15918"/>
                  </a:lnTo>
                  <a:cubicBezTo>
                    <a:pt x="197649" y="7959"/>
                    <a:pt x="191016" y="0"/>
                    <a:pt x="181731" y="0"/>
                  </a:cubicBezTo>
                  <a:close/>
                  <a:moveTo>
                    <a:pt x="76937" y="11938"/>
                  </a:moveTo>
                  <a:cubicBezTo>
                    <a:pt x="76937" y="10612"/>
                    <a:pt x="78264" y="9285"/>
                    <a:pt x="79590" y="9285"/>
                  </a:cubicBezTo>
                  <a:lnTo>
                    <a:pt x="116732" y="9285"/>
                  </a:lnTo>
                  <a:cubicBezTo>
                    <a:pt x="118058" y="9285"/>
                    <a:pt x="119385" y="10612"/>
                    <a:pt x="119385" y="11938"/>
                  </a:cubicBezTo>
                  <a:lnTo>
                    <a:pt x="119385" y="13265"/>
                  </a:lnTo>
                  <a:cubicBezTo>
                    <a:pt x="119385" y="14591"/>
                    <a:pt x="118058" y="15918"/>
                    <a:pt x="116732" y="15918"/>
                  </a:cubicBezTo>
                  <a:lnTo>
                    <a:pt x="79590" y="15918"/>
                  </a:lnTo>
                  <a:cubicBezTo>
                    <a:pt x="78264" y="15918"/>
                    <a:pt x="76937" y="14591"/>
                    <a:pt x="76937" y="11938"/>
                  </a:cubicBezTo>
                  <a:lnTo>
                    <a:pt x="76937" y="11938"/>
                  </a:lnTo>
                  <a:close/>
                  <a:moveTo>
                    <a:pt x="63672" y="6633"/>
                  </a:moveTo>
                  <a:cubicBezTo>
                    <a:pt x="66325" y="6633"/>
                    <a:pt x="68978" y="9285"/>
                    <a:pt x="68978" y="11938"/>
                  </a:cubicBezTo>
                  <a:cubicBezTo>
                    <a:pt x="68978" y="14591"/>
                    <a:pt x="66325" y="17245"/>
                    <a:pt x="63672" y="17245"/>
                  </a:cubicBezTo>
                  <a:cubicBezTo>
                    <a:pt x="61019" y="17245"/>
                    <a:pt x="58366" y="14591"/>
                    <a:pt x="58366" y="11938"/>
                  </a:cubicBezTo>
                  <a:cubicBezTo>
                    <a:pt x="58366" y="9285"/>
                    <a:pt x="61019" y="6633"/>
                    <a:pt x="63672" y="6633"/>
                  </a:cubicBezTo>
                  <a:close/>
                  <a:moveTo>
                    <a:pt x="119385" y="350196"/>
                  </a:moveTo>
                  <a:cubicBezTo>
                    <a:pt x="119385" y="354176"/>
                    <a:pt x="116732" y="356829"/>
                    <a:pt x="112753" y="356829"/>
                  </a:cubicBezTo>
                  <a:lnTo>
                    <a:pt x="84896" y="356829"/>
                  </a:lnTo>
                  <a:cubicBezTo>
                    <a:pt x="80917" y="356829"/>
                    <a:pt x="78264" y="354176"/>
                    <a:pt x="78264" y="350196"/>
                  </a:cubicBezTo>
                  <a:lnTo>
                    <a:pt x="78264" y="347543"/>
                  </a:lnTo>
                  <a:cubicBezTo>
                    <a:pt x="78264" y="343564"/>
                    <a:pt x="80917" y="340911"/>
                    <a:pt x="84896" y="340911"/>
                  </a:cubicBezTo>
                  <a:lnTo>
                    <a:pt x="112753" y="340911"/>
                  </a:lnTo>
                  <a:cubicBezTo>
                    <a:pt x="116732" y="340911"/>
                    <a:pt x="119385" y="343564"/>
                    <a:pt x="119385" y="347543"/>
                  </a:cubicBezTo>
                  <a:lnTo>
                    <a:pt x="119385" y="350196"/>
                  </a:lnTo>
                  <a:close/>
                  <a:moveTo>
                    <a:pt x="187037" y="331625"/>
                  </a:moveTo>
                  <a:cubicBezTo>
                    <a:pt x="187037" y="336931"/>
                    <a:pt x="181731" y="335604"/>
                    <a:pt x="176425" y="335604"/>
                  </a:cubicBezTo>
                  <a:lnTo>
                    <a:pt x="17245" y="335604"/>
                  </a:lnTo>
                  <a:cubicBezTo>
                    <a:pt x="11939" y="335604"/>
                    <a:pt x="10612" y="335604"/>
                    <a:pt x="10612" y="330299"/>
                  </a:cubicBezTo>
                  <a:lnTo>
                    <a:pt x="10612" y="17245"/>
                  </a:lnTo>
                  <a:cubicBezTo>
                    <a:pt x="10612" y="11938"/>
                    <a:pt x="10612" y="10612"/>
                    <a:pt x="15918" y="10612"/>
                  </a:cubicBezTo>
                  <a:lnTo>
                    <a:pt x="53060" y="10612"/>
                  </a:lnTo>
                  <a:lnTo>
                    <a:pt x="53060" y="10612"/>
                  </a:lnTo>
                  <a:cubicBezTo>
                    <a:pt x="53060" y="17245"/>
                    <a:pt x="57040" y="22550"/>
                    <a:pt x="63672" y="22550"/>
                  </a:cubicBezTo>
                  <a:lnTo>
                    <a:pt x="135303" y="22550"/>
                  </a:lnTo>
                  <a:cubicBezTo>
                    <a:pt x="140609" y="22550"/>
                    <a:pt x="145915" y="18571"/>
                    <a:pt x="145915" y="11938"/>
                  </a:cubicBezTo>
                  <a:lnTo>
                    <a:pt x="145915" y="11938"/>
                  </a:lnTo>
                  <a:lnTo>
                    <a:pt x="183057" y="11938"/>
                  </a:lnTo>
                  <a:cubicBezTo>
                    <a:pt x="188363" y="11938"/>
                    <a:pt x="188363" y="14591"/>
                    <a:pt x="188363" y="19898"/>
                  </a:cubicBezTo>
                  <a:lnTo>
                    <a:pt x="188363" y="331625"/>
                  </a:lnTo>
                  <a:close/>
                </a:path>
              </a:pathLst>
            </a:custGeom>
            <a:grpFill/>
            <a:ln w="1303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3B4145"/>
                </a:solidFill>
                <a:effectLst/>
                <a:uLnTx/>
                <a:uFillTx/>
                <a:latin typeface="Lato Heavy"/>
              </a:endParaRPr>
            </a:p>
          </p:txBody>
        </p:sp>
        <p:grpSp>
          <p:nvGrpSpPr>
            <p:cNvPr id="185" name="Group 325">
              <a:extLst>
                <a:ext uri="{FF2B5EF4-FFF2-40B4-BE49-F238E27FC236}">
                  <a16:creationId xmlns:a16="http://schemas.microsoft.com/office/drawing/2014/main" id="{21502722-CAA9-BC15-185F-9715576B64A7}"/>
                </a:ext>
              </a:extLst>
            </p:cNvPr>
            <p:cNvGrpSpPr/>
            <p:nvPr>
              <p:custDataLst>
                <p:tags r:id="rId30"/>
              </p:custDataLst>
            </p:nvPr>
          </p:nvGrpSpPr>
          <p:grpSpPr>
            <a:xfrm>
              <a:off x="3117381" y="1068720"/>
              <a:ext cx="149356" cy="117901"/>
              <a:chOff x="3923910" y="843510"/>
              <a:chExt cx="1368815" cy="1080540"/>
            </a:xfrm>
            <a:grpFill/>
          </p:grpSpPr>
          <p:sp>
            <p:nvSpPr>
              <p:cNvPr id="186" name="Rectangle 326">
                <a:extLst>
                  <a:ext uri="{FF2B5EF4-FFF2-40B4-BE49-F238E27FC236}">
                    <a16:creationId xmlns:a16="http://schemas.microsoft.com/office/drawing/2014/main" id="{1348C4C1-7C14-9737-94E5-EA212A627510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 bwMode="gray">
              <a:xfrm>
                <a:off x="3923910" y="1491600"/>
                <a:ext cx="216030" cy="43245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Courier New" pitchFamily="49" charset="0"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3B4145"/>
                  </a:solidFill>
                  <a:effectLst/>
                  <a:uLnTx/>
                  <a:uFillTx/>
                  <a:latin typeface="Lato Heavy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87" name="Rectangle 327">
                <a:extLst>
                  <a:ext uri="{FF2B5EF4-FFF2-40B4-BE49-F238E27FC236}">
                    <a16:creationId xmlns:a16="http://schemas.microsoft.com/office/drawing/2014/main" id="{B9DBABDF-CB97-FE16-F820-0044030595D6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 bwMode="gray">
              <a:xfrm>
                <a:off x="4211950" y="1347788"/>
                <a:ext cx="216030" cy="576262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Courier New" pitchFamily="49" charset="0"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3B4145"/>
                  </a:solidFill>
                  <a:effectLst/>
                  <a:uLnTx/>
                  <a:uFillTx/>
                  <a:latin typeface="Lato Heavy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88" name="Rectangle 328">
                <a:extLst>
                  <a:ext uri="{FF2B5EF4-FFF2-40B4-BE49-F238E27FC236}">
                    <a16:creationId xmlns:a16="http://schemas.microsoft.com/office/drawing/2014/main" id="{5673A251-3FDE-4D35-49C5-BBCBF3C4DDBA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 bwMode="gray">
              <a:xfrm>
                <a:off x="4499990" y="1203560"/>
                <a:ext cx="216030" cy="72049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Courier New" pitchFamily="49" charset="0"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3B4145"/>
                  </a:solidFill>
                  <a:effectLst/>
                  <a:uLnTx/>
                  <a:uFillTx/>
                  <a:latin typeface="Lato Heavy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89" name="Rectangle 329">
                <a:extLst>
                  <a:ext uri="{FF2B5EF4-FFF2-40B4-BE49-F238E27FC236}">
                    <a16:creationId xmlns:a16="http://schemas.microsoft.com/office/drawing/2014/main" id="{E2375729-46F7-7488-472B-11CB9287C1D1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 bwMode="gray">
              <a:xfrm>
                <a:off x="4788030" y="1059540"/>
                <a:ext cx="216030" cy="86451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Courier New" pitchFamily="49" charset="0"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3B4145"/>
                  </a:solidFill>
                  <a:effectLst/>
                  <a:uLnTx/>
                  <a:uFillTx/>
                  <a:latin typeface="Lato Heavy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90" name="Rectangle 330">
                <a:extLst>
                  <a:ext uri="{FF2B5EF4-FFF2-40B4-BE49-F238E27FC236}">
                    <a16:creationId xmlns:a16="http://schemas.microsoft.com/office/drawing/2014/main" id="{D8461ABE-70D5-F8B8-3179-F097AE24B2E8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 bwMode="gray">
              <a:xfrm>
                <a:off x="5076695" y="843510"/>
                <a:ext cx="216030" cy="108054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Courier New" pitchFamily="49" charset="0"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3B4145"/>
                  </a:solidFill>
                  <a:effectLst/>
                  <a:uLnTx/>
                  <a:uFillTx/>
                  <a:latin typeface="Lato Heavy"/>
                  <a:ea typeface="+mn-ea"/>
                  <a:cs typeface="Arial" pitchFamily="34" charset="0"/>
                </a:endParaRPr>
              </a:p>
            </p:txBody>
          </p:sp>
        </p:grpSp>
      </p:grpSp>
      <p:sp>
        <p:nvSpPr>
          <p:cNvPr id="191" name="Line 20">
            <a:extLst>
              <a:ext uri="{FF2B5EF4-FFF2-40B4-BE49-F238E27FC236}">
                <a16:creationId xmlns:a16="http://schemas.microsoft.com/office/drawing/2014/main" id="{02047FA1-ED45-E792-0EFA-CA01AF4B4BB8}"/>
              </a:ext>
            </a:extLst>
          </p:cNvPr>
          <p:cNvSpPr>
            <a:spLocks noChangeShapeType="1"/>
          </p:cNvSpPr>
          <p:nvPr>
            <p:custDataLst>
              <p:tags r:id="rId15"/>
            </p:custDataLst>
          </p:nvPr>
        </p:nvSpPr>
        <p:spPr bwMode="gray">
          <a:xfrm flipV="1">
            <a:off x="713740" y="5268174"/>
            <a:ext cx="3942099" cy="4989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197" name="Text Placeholder 1">
            <a:extLst>
              <a:ext uri="{FF2B5EF4-FFF2-40B4-BE49-F238E27FC236}">
                <a16:creationId xmlns:a16="http://schemas.microsoft.com/office/drawing/2014/main" id="{40609498-720D-592C-AF09-9C31C5D571E0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7337711" y="2060912"/>
            <a:ext cx="3708000" cy="5760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0" tIns="108000" rIns="612000" bIns="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r" defTabSz="1219170">
              <a:spcBef>
                <a:spcPts val="400"/>
              </a:spcBef>
              <a:defRPr/>
            </a:pPr>
            <a:r>
              <a:rPr lang="en-US" sz="1400" b="1" dirty="0">
                <a:solidFill>
                  <a:srgbClr val="060A45">
                    <a:lumMod val="50000"/>
                    <a:lumOff val="50000"/>
                  </a:srgbClr>
                </a:solidFill>
                <a:latin typeface="Arial" panose="020B0604020202020204"/>
                <a:cs typeface="Lato" panose="020F0502020204030203" pitchFamily="34" charset="0"/>
              </a:rPr>
              <a:t>Consumer</a:t>
            </a:r>
            <a:r>
              <a:rPr sz="1400" b="1" dirty="0">
                <a:solidFill>
                  <a:srgbClr val="0070C0"/>
                </a:solidFill>
                <a:latin typeface="+mn-lt"/>
                <a:cs typeface="Lato" panose="020F0502020204030203" pitchFamily="34" charset="0"/>
              </a:rPr>
              <a:t> </a:t>
            </a:r>
            <a:r>
              <a:rPr lang="en-US" sz="1400" b="1" dirty="0">
                <a:solidFill>
                  <a:srgbClr val="060A45">
                    <a:lumMod val="50000"/>
                    <a:lumOff val="50000"/>
                  </a:srgbClr>
                </a:solidFill>
                <a:latin typeface="Arial" panose="020B0604020202020204"/>
                <a:cs typeface="Lato" panose="020F0502020204030203" pitchFamily="34" charset="0"/>
              </a:rPr>
              <a:t>Electronics</a:t>
            </a:r>
            <a:r>
              <a:rPr sz="1400" b="1" dirty="0">
                <a:solidFill>
                  <a:srgbClr val="0070C0"/>
                </a:solidFill>
                <a:latin typeface="+mn-lt"/>
                <a:cs typeface="Lato" panose="020F0502020204030203" pitchFamily="34" charset="0"/>
              </a:rPr>
              <a:t> </a:t>
            </a:r>
            <a:br>
              <a:rPr sz="1400" b="1" dirty="0">
                <a:solidFill>
                  <a:srgbClr val="4368BD"/>
                </a:solidFill>
                <a:latin typeface="+mn-lt"/>
                <a:cs typeface="Lato" panose="020F0502020204030203" pitchFamily="34" charset="0"/>
              </a:rPr>
            </a:br>
            <a:r>
              <a:rPr sz="1400" b="1" dirty="0">
                <a:solidFill>
                  <a:srgbClr val="3B4145"/>
                </a:solidFill>
                <a:latin typeface="+mn-lt"/>
                <a:cs typeface="Lato" panose="020F0502020204030203" pitchFamily="34" charset="0"/>
              </a:rPr>
              <a:t>-</a:t>
            </a:r>
            <a:r>
              <a:rPr lang="en-US" sz="1400" b="1" dirty="0">
                <a:solidFill>
                  <a:srgbClr val="3B4145"/>
                </a:solidFill>
                <a:latin typeface="+mn-lt"/>
                <a:cs typeface="Lato" panose="020F0502020204030203" pitchFamily="34" charset="0"/>
              </a:rPr>
              <a:t>10</a:t>
            </a:r>
            <a:r>
              <a:rPr sz="1400" b="1" dirty="0">
                <a:solidFill>
                  <a:srgbClr val="3B4145"/>
                </a:solidFill>
                <a:latin typeface="+mn-lt"/>
                <a:cs typeface="Lato" panose="020F0502020204030203" pitchFamily="34" charset="0"/>
              </a:rPr>
              <a:t>,</a:t>
            </a:r>
            <a:r>
              <a:rPr lang="en-US" sz="1400" b="1" dirty="0">
                <a:solidFill>
                  <a:srgbClr val="3B4145"/>
                </a:solidFill>
                <a:latin typeface="+mn-lt"/>
                <a:cs typeface="Lato" panose="020F0502020204030203" pitchFamily="34" charset="0"/>
              </a:rPr>
              <a:t>6</a:t>
            </a:r>
            <a:r>
              <a:rPr sz="1400" b="1" dirty="0">
                <a:solidFill>
                  <a:srgbClr val="3B4145"/>
                </a:solidFill>
                <a:latin typeface="+mn-lt"/>
                <a:cs typeface="Lato" panose="020F0502020204030203" pitchFamily="34" charset="0"/>
              </a:rPr>
              <a:t>%</a:t>
            </a:r>
          </a:p>
        </p:txBody>
      </p:sp>
      <p:sp>
        <p:nvSpPr>
          <p:cNvPr id="198" name="Freeform 55">
            <a:extLst>
              <a:ext uri="{FF2B5EF4-FFF2-40B4-BE49-F238E27FC236}">
                <a16:creationId xmlns:a16="http://schemas.microsoft.com/office/drawing/2014/main" id="{A56C5BEE-2CEE-D5B3-4A50-C05B2F6B03FC}"/>
              </a:ext>
            </a:extLst>
          </p:cNvPr>
          <p:cNvSpPr>
            <a:spLocks noChangeAspect="1" noEditPoints="1"/>
          </p:cNvSpPr>
          <p:nvPr>
            <p:custDataLst>
              <p:tags r:id="rId17"/>
            </p:custDataLst>
          </p:nvPr>
        </p:nvSpPr>
        <p:spPr bwMode="auto">
          <a:xfrm>
            <a:off x="10551468" y="2182549"/>
            <a:ext cx="440377" cy="372628"/>
          </a:xfrm>
          <a:custGeom>
            <a:avLst/>
            <a:gdLst>
              <a:gd name="T0" fmla="*/ 2080 w 2080"/>
              <a:gd name="T1" fmla="*/ 0 h 1760"/>
              <a:gd name="T2" fmla="*/ 2080 w 2080"/>
              <a:gd name="T3" fmla="*/ 1440 h 1760"/>
              <a:gd name="T4" fmla="*/ 0 w 2080"/>
              <a:gd name="T5" fmla="*/ 1440 h 1760"/>
              <a:gd name="T6" fmla="*/ 0 w 2080"/>
              <a:gd name="T7" fmla="*/ 0 h 1760"/>
              <a:gd name="T8" fmla="*/ 2080 w 2080"/>
              <a:gd name="T9" fmla="*/ 0 h 1760"/>
              <a:gd name="T10" fmla="*/ 400 w 2080"/>
              <a:gd name="T11" fmla="*/ 1680 h 1760"/>
              <a:gd name="T12" fmla="*/ 880 w 2080"/>
              <a:gd name="T13" fmla="*/ 1680 h 1760"/>
              <a:gd name="T14" fmla="*/ 880 w 2080"/>
              <a:gd name="T15" fmla="*/ 1520 h 1760"/>
              <a:gd name="T16" fmla="*/ 1200 w 2080"/>
              <a:gd name="T17" fmla="*/ 1520 h 1760"/>
              <a:gd name="T18" fmla="*/ 1200 w 2080"/>
              <a:gd name="T19" fmla="*/ 1680 h 1760"/>
              <a:gd name="T20" fmla="*/ 1680 w 2080"/>
              <a:gd name="T21" fmla="*/ 1680 h 1760"/>
              <a:gd name="T22" fmla="*/ 1680 w 2080"/>
              <a:gd name="T23" fmla="*/ 1760 h 1760"/>
              <a:gd name="T24" fmla="*/ 400 w 2080"/>
              <a:gd name="T25" fmla="*/ 1760 h 1760"/>
              <a:gd name="T26" fmla="*/ 400 w 2080"/>
              <a:gd name="T27" fmla="*/ 1680 h 1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080" h="1760">
                <a:moveTo>
                  <a:pt x="2080" y="0"/>
                </a:moveTo>
                <a:cubicBezTo>
                  <a:pt x="2080" y="1440"/>
                  <a:pt x="2080" y="1440"/>
                  <a:pt x="2080" y="1440"/>
                </a:cubicBezTo>
                <a:cubicBezTo>
                  <a:pt x="0" y="1440"/>
                  <a:pt x="0" y="1440"/>
                  <a:pt x="0" y="1440"/>
                </a:cubicBezTo>
                <a:cubicBezTo>
                  <a:pt x="0" y="0"/>
                  <a:pt x="0" y="0"/>
                  <a:pt x="0" y="0"/>
                </a:cubicBezTo>
                <a:lnTo>
                  <a:pt x="2080" y="0"/>
                </a:lnTo>
                <a:close/>
                <a:moveTo>
                  <a:pt x="400" y="1680"/>
                </a:moveTo>
                <a:cubicBezTo>
                  <a:pt x="880" y="1680"/>
                  <a:pt x="880" y="1680"/>
                  <a:pt x="880" y="1680"/>
                </a:cubicBezTo>
                <a:cubicBezTo>
                  <a:pt x="880" y="1520"/>
                  <a:pt x="880" y="1520"/>
                  <a:pt x="880" y="1520"/>
                </a:cubicBezTo>
                <a:cubicBezTo>
                  <a:pt x="1200" y="1520"/>
                  <a:pt x="1200" y="1520"/>
                  <a:pt x="1200" y="1520"/>
                </a:cubicBezTo>
                <a:cubicBezTo>
                  <a:pt x="1200" y="1680"/>
                  <a:pt x="1200" y="1680"/>
                  <a:pt x="1200" y="1680"/>
                </a:cubicBezTo>
                <a:cubicBezTo>
                  <a:pt x="1680" y="1680"/>
                  <a:pt x="1680" y="1680"/>
                  <a:pt x="1680" y="1680"/>
                </a:cubicBezTo>
                <a:cubicBezTo>
                  <a:pt x="1680" y="1760"/>
                  <a:pt x="1680" y="1760"/>
                  <a:pt x="1680" y="1760"/>
                </a:cubicBezTo>
                <a:cubicBezTo>
                  <a:pt x="1253" y="1760"/>
                  <a:pt x="827" y="1760"/>
                  <a:pt x="400" y="1760"/>
                </a:cubicBezTo>
                <a:lnTo>
                  <a:pt x="400" y="1680"/>
                </a:lnTo>
                <a:close/>
              </a:path>
            </a:pathLst>
          </a:cu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kern="0" noProof="1">
              <a:solidFill>
                <a:srgbClr val="4368BD"/>
              </a:solidFill>
              <a:latin typeface="Lato Heavy"/>
            </a:endParaRPr>
          </a:p>
        </p:txBody>
      </p:sp>
      <p:sp>
        <p:nvSpPr>
          <p:cNvPr id="199" name="Line 20">
            <a:extLst>
              <a:ext uri="{FF2B5EF4-FFF2-40B4-BE49-F238E27FC236}">
                <a16:creationId xmlns:a16="http://schemas.microsoft.com/office/drawing/2014/main" id="{F460887F-BA32-2EBC-6CB2-4221DB2162AA}"/>
              </a:ext>
            </a:extLst>
          </p:cNvPr>
          <p:cNvSpPr>
            <a:spLocks noChangeShapeType="1"/>
          </p:cNvSpPr>
          <p:nvPr>
            <p:custDataLst>
              <p:tags r:id="rId18"/>
            </p:custDataLst>
          </p:nvPr>
        </p:nvSpPr>
        <p:spPr bwMode="gray">
          <a:xfrm>
            <a:off x="6312024" y="1971588"/>
            <a:ext cx="4794133" cy="1051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 Heavy"/>
              <a:ea typeface="+mn-ea"/>
              <a:cs typeface="+mn-cs"/>
            </a:endParaRPr>
          </a:p>
        </p:txBody>
      </p:sp>
      <p:sp>
        <p:nvSpPr>
          <p:cNvPr id="206" name="Text Placeholder 1">
            <a:extLst>
              <a:ext uri="{FF2B5EF4-FFF2-40B4-BE49-F238E27FC236}">
                <a16:creationId xmlns:a16="http://schemas.microsoft.com/office/drawing/2014/main" id="{64EB4A6E-F201-C870-1B27-C96758A6A7D1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7828449" y="3176373"/>
            <a:ext cx="3158314" cy="576000"/>
          </a:xfrm>
          <a:prstGeom prst="rect">
            <a:avLst/>
          </a:prstGeom>
          <a:noFill/>
          <a:ln w="9525">
            <a:noFill/>
          </a:ln>
        </p:spPr>
        <p:txBody>
          <a:bodyPr vert="horz" lIns="0" tIns="108000" rIns="612000" bIns="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r" defTabSz="1219170">
              <a:spcBef>
                <a:spcPts val="400"/>
              </a:spcBef>
              <a:defRPr/>
            </a:pPr>
            <a:r>
              <a:rPr sz="1400" b="1" dirty="0">
                <a:solidFill>
                  <a:schemeClr val="accent6"/>
                </a:solidFill>
                <a:latin typeface="+mn-lt"/>
                <a:cs typeface="Lato" panose="020F0502020204030203" pitchFamily="34" charset="0"/>
              </a:rPr>
              <a:t>Major Domestic</a:t>
            </a:r>
            <a:br>
              <a:rPr sz="1400" b="1" dirty="0">
                <a:solidFill>
                  <a:schemeClr val="accent6"/>
                </a:solidFill>
                <a:latin typeface="+mn-lt"/>
                <a:cs typeface="Lato" panose="020F0502020204030203" pitchFamily="34" charset="0"/>
              </a:rPr>
            </a:br>
            <a:r>
              <a:rPr sz="1400" b="1" dirty="0">
                <a:solidFill>
                  <a:schemeClr val="accent6"/>
                </a:solidFill>
                <a:latin typeface="+mn-lt"/>
                <a:cs typeface="Lato" panose="020F0502020204030203" pitchFamily="34" charset="0"/>
              </a:rPr>
              <a:t>Appliances</a:t>
            </a:r>
            <a:br>
              <a:rPr sz="1400" dirty="0">
                <a:solidFill>
                  <a:schemeClr val="accent6"/>
                </a:solidFill>
                <a:latin typeface="+mn-lt"/>
                <a:cs typeface="Lato" panose="020F0502020204030203" pitchFamily="34" charset="0"/>
              </a:rPr>
            </a:br>
            <a:r>
              <a:rPr sz="1400" dirty="0">
                <a:solidFill>
                  <a:schemeClr val="accent6"/>
                </a:solidFill>
                <a:latin typeface="+mn-lt"/>
                <a:cs typeface="Lato" panose="020F0502020204030203" pitchFamily="34" charset="0"/>
              </a:rPr>
              <a:t> </a:t>
            </a:r>
            <a:r>
              <a:rPr lang="en-US" sz="1400" b="1" dirty="0">
                <a:solidFill>
                  <a:srgbClr val="3B4145"/>
                </a:solidFill>
                <a:latin typeface="+mn-lt"/>
                <a:cs typeface="Lato" panose="020F0502020204030203" pitchFamily="34" charset="0"/>
              </a:rPr>
              <a:t>-4,5</a:t>
            </a:r>
            <a:r>
              <a:rPr sz="1400" b="1" dirty="0">
                <a:latin typeface="+mn-lt"/>
                <a:cs typeface="Lato" panose="020F0502020204030203" pitchFamily="34" charset="0"/>
              </a:rPr>
              <a:t>%</a:t>
            </a:r>
          </a:p>
        </p:txBody>
      </p:sp>
      <p:grpSp>
        <p:nvGrpSpPr>
          <p:cNvPr id="207" name="Group 206">
            <a:extLst>
              <a:ext uri="{FF2B5EF4-FFF2-40B4-BE49-F238E27FC236}">
                <a16:creationId xmlns:a16="http://schemas.microsoft.com/office/drawing/2014/main" id="{A9ED5F25-4956-AA0C-273F-9F097BBA7975}"/>
              </a:ext>
            </a:extLst>
          </p:cNvPr>
          <p:cNvGrpSpPr/>
          <p:nvPr>
            <p:custDataLst>
              <p:tags r:id="rId20"/>
            </p:custDataLst>
          </p:nvPr>
        </p:nvGrpSpPr>
        <p:grpSpPr>
          <a:xfrm>
            <a:off x="10515515" y="3302691"/>
            <a:ext cx="428125" cy="324421"/>
            <a:chOff x="1071562" y="3429000"/>
            <a:chExt cx="333101" cy="252414"/>
          </a:xfrm>
          <a:solidFill>
            <a:schemeClr val="accent6"/>
          </a:solidFill>
        </p:grpSpPr>
        <p:sp>
          <p:nvSpPr>
            <p:cNvPr id="208" name="Freeform 112">
              <a:extLst>
                <a:ext uri="{FF2B5EF4-FFF2-40B4-BE49-F238E27FC236}">
                  <a16:creationId xmlns:a16="http://schemas.microsoft.com/office/drawing/2014/main" id="{92D06CA7-3761-E081-D5E8-6CF21A762945}"/>
                </a:ext>
              </a:extLst>
            </p:cNvPr>
            <p:cNvSpPr>
              <a:spLocks noChangeAspect="1" noEditPoints="1"/>
            </p:cNvSpPr>
            <p:nvPr>
              <p:custDataLst>
                <p:tags r:id="rId27"/>
              </p:custDataLst>
            </p:nvPr>
          </p:nvSpPr>
          <p:spPr bwMode="auto">
            <a:xfrm>
              <a:off x="1071562" y="3429000"/>
              <a:ext cx="184403" cy="252411"/>
            </a:xfrm>
            <a:custGeom>
              <a:avLst/>
              <a:gdLst>
                <a:gd name="T0" fmla="*/ 1080 w 1520"/>
                <a:gd name="T1" fmla="*/ 140 h 2080"/>
                <a:gd name="T2" fmla="*/ 1160 w 1520"/>
                <a:gd name="T3" fmla="*/ 220 h 2080"/>
                <a:gd name="T4" fmla="*/ 1080 w 1520"/>
                <a:gd name="T5" fmla="*/ 300 h 2080"/>
                <a:gd name="T6" fmla="*/ 1000 w 1520"/>
                <a:gd name="T7" fmla="*/ 220 h 2080"/>
                <a:gd name="T8" fmla="*/ 1080 w 1520"/>
                <a:gd name="T9" fmla="*/ 140 h 2080"/>
                <a:gd name="T10" fmla="*/ 1520 w 1520"/>
                <a:gd name="T11" fmla="*/ 0 h 2080"/>
                <a:gd name="T12" fmla="*/ 520 w 1520"/>
                <a:gd name="T13" fmla="*/ 0 h 2080"/>
                <a:gd name="T14" fmla="*/ 520 w 1520"/>
                <a:gd name="T15" fmla="*/ 360 h 2080"/>
                <a:gd name="T16" fmla="*/ 1520 w 1520"/>
                <a:gd name="T17" fmla="*/ 360 h 2080"/>
                <a:gd name="T18" fmla="*/ 1520 w 1520"/>
                <a:gd name="T19" fmla="*/ 0 h 2080"/>
                <a:gd name="T20" fmla="*/ 440 w 1520"/>
                <a:gd name="T21" fmla="*/ 0 h 2080"/>
                <a:gd name="T22" fmla="*/ 0 w 1520"/>
                <a:gd name="T23" fmla="*/ 0 h 2080"/>
                <a:gd name="T24" fmla="*/ 0 w 1520"/>
                <a:gd name="T25" fmla="*/ 360 h 2080"/>
                <a:gd name="T26" fmla="*/ 440 w 1520"/>
                <a:gd name="T27" fmla="*/ 360 h 2080"/>
                <a:gd name="T28" fmla="*/ 440 w 1520"/>
                <a:gd name="T29" fmla="*/ 0 h 2080"/>
                <a:gd name="T30" fmla="*/ 0 w 1520"/>
                <a:gd name="T31" fmla="*/ 440 h 2080"/>
                <a:gd name="T32" fmla="*/ 0 w 1520"/>
                <a:gd name="T33" fmla="*/ 2080 h 2080"/>
                <a:gd name="T34" fmla="*/ 1520 w 1520"/>
                <a:gd name="T35" fmla="*/ 2080 h 2080"/>
                <a:gd name="T36" fmla="*/ 1520 w 1520"/>
                <a:gd name="T37" fmla="*/ 440 h 2080"/>
                <a:gd name="T38" fmla="*/ 0 w 1520"/>
                <a:gd name="T39" fmla="*/ 440 h 2080"/>
                <a:gd name="T40" fmla="*/ 1320 w 1520"/>
                <a:gd name="T41" fmla="*/ 1240 h 2080"/>
                <a:gd name="T42" fmla="*/ 760 w 1520"/>
                <a:gd name="T43" fmla="*/ 1800 h 2080"/>
                <a:gd name="T44" fmla="*/ 200 w 1520"/>
                <a:gd name="T45" fmla="*/ 1240 h 2080"/>
                <a:gd name="T46" fmla="*/ 760 w 1520"/>
                <a:gd name="T47" fmla="*/ 680 h 2080"/>
                <a:gd name="T48" fmla="*/ 1320 w 1520"/>
                <a:gd name="T49" fmla="*/ 1240 h 2080"/>
                <a:gd name="T50" fmla="*/ 760 w 1520"/>
                <a:gd name="T51" fmla="*/ 760 h 2080"/>
                <a:gd name="T52" fmla="*/ 280 w 1520"/>
                <a:gd name="T53" fmla="*/ 1240 h 2080"/>
                <a:gd name="T54" fmla="*/ 760 w 1520"/>
                <a:gd name="T55" fmla="*/ 1720 h 2080"/>
                <a:gd name="T56" fmla="*/ 1240 w 1520"/>
                <a:gd name="T57" fmla="*/ 1240 h 2080"/>
                <a:gd name="T58" fmla="*/ 760 w 1520"/>
                <a:gd name="T59" fmla="*/ 760 h 2080"/>
                <a:gd name="T60" fmla="*/ 1160 w 1520"/>
                <a:gd name="T61" fmla="*/ 1240 h 2080"/>
                <a:gd name="T62" fmla="*/ 760 w 1520"/>
                <a:gd name="T63" fmla="*/ 1640 h 2080"/>
                <a:gd name="T64" fmla="*/ 360 w 1520"/>
                <a:gd name="T65" fmla="*/ 1240 h 2080"/>
                <a:gd name="T66" fmla="*/ 760 w 1520"/>
                <a:gd name="T67" fmla="*/ 840 h 2080"/>
                <a:gd name="T68" fmla="*/ 1160 w 1520"/>
                <a:gd name="T69" fmla="*/ 1240 h 2080"/>
                <a:gd name="T70" fmla="*/ 1080 w 1520"/>
                <a:gd name="T71" fmla="*/ 1240 h 2080"/>
                <a:gd name="T72" fmla="*/ 760 w 1520"/>
                <a:gd name="T73" fmla="*/ 920 h 2080"/>
                <a:gd name="T74" fmla="*/ 440 w 1520"/>
                <a:gd name="T75" fmla="*/ 1240 h 2080"/>
                <a:gd name="T76" fmla="*/ 760 w 1520"/>
                <a:gd name="T77" fmla="*/ 1560 h 2080"/>
                <a:gd name="T78" fmla="*/ 1080 w 1520"/>
                <a:gd name="T79" fmla="*/ 1240 h 2080"/>
                <a:gd name="T80" fmla="*/ 1280 w 1520"/>
                <a:gd name="T81" fmla="*/ 140 h 2080"/>
                <a:gd name="T82" fmla="*/ 1360 w 1520"/>
                <a:gd name="T83" fmla="*/ 220 h 2080"/>
                <a:gd name="T84" fmla="*/ 1280 w 1520"/>
                <a:gd name="T85" fmla="*/ 300 h 2080"/>
                <a:gd name="T86" fmla="*/ 1200 w 1520"/>
                <a:gd name="T87" fmla="*/ 220 h 2080"/>
                <a:gd name="T88" fmla="*/ 1280 w 1520"/>
                <a:gd name="T89" fmla="*/ 140 h 2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520" h="2080">
                  <a:moveTo>
                    <a:pt x="1080" y="140"/>
                  </a:moveTo>
                  <a:cubicBezTo>
                    <a:pt x="1124" y="140"/>
                    <a:pt x="1160" y="176"/>
                    <a:pt x="1160" y="220"/>
                  </a:cubicBezTo>
                  <a:cubicBezTo>
                    <a:pt x="1160" y="264"/>
                    <a:pt x="1124" y="300"/>
                    <a:pt x="1080" y="300"/>
                  </a:cubicBezTo>
                  <a:cubicBezTo>
                    <a:pt x="1036" y="300"/>
                    <a:pt x="1000" y="264"/>
                    <a:pt x="1000" y="220"/>
                  </a:cubicBezTo>
                  <a:cubicBezTo>
                    <a:pt x="1000" y="176"/>
                    <a:pt x="1036" y="140"/>
                    <a:pt x="1080" y="140"/>
                  </a:cubicBezTo>
                  <a:close/>
                  <a:moveTo>
                    <a:pt x="1520" y="0"/>
                  </a:moveTo>
                  <a:cubicBezTo>
                    <a:pt x="520" y="0"/>
                    <a:pt x="520" y="0"/>
                    <a:pt x="520" y="0"/>
                  </a:cubicBezTo>
                  <a:cubicBezTo>
                    <a:pt x="520" y="360"/>
                    <a:pt x="520" y="360"/>
                    <a:pt x="520" y="360"/>
                  </a:cubicBezTo>
                  <a:cubicBezTo>
                    <a:pt x="1520" y="360"/>
                    <a:pt x="1520" y="360"/>
                    <a:pt x="1520" y="360"/>
                  </a:cubicBezTo>
                  <a:lnTo>
                    <a:pt x="1520" y="0"/>
                  </a:lnTo>
                  <a:close/>
                  <a:moveTo>
                    <a:pt x="44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60"/>
                    <a:pt x="0" y="360"/>
                    <a:pt x="0" y="360"/>
                  </a:cubicBezTo>
                  <a:cubicBezTo>
                    <a:pt x="440" y="360"/>
                    <a:pt x="440" y="360"/>
                    <a:pt x="440" y="360"/>
                  </a:cubicBezTo>
                  <a:lnTo>
                    <a:pt x="440" y="0"/>
                  </a:lnTo>
                  <a:close/>
                  <a:moveTo>
                    <a:pt x="0" y="440"/>
                  </a:moveTo>
                  <a:cubicBezTo>
                    <a:pt x="0" y="2080"/>
                    <a:pt x="0" y="2080"/>
                    <a:pt x="0" y="2080"/>
                  </a:cubicBezTo>
                  <a:cubicBezTo>
                    <a:pt x="1520" y="2080"/>
                    <a:pt x="1520" y="2080"/>
                    <a:pt x="1520" y="2080"/>
                  </a:cubicBezTo>
                  <a:cubicBezTo>
                    <a:pt x="1520" y="440"/>
                    <a:pt x="1520" y="440"/>
                    <a:pt x="1520" y="440"/>
                  </a:cubicBezTo>
                  <a:lnTo>
                    <a:pt x="0" y="440"/>
                  </a:lnTo>
                  <a:close/>
                  <a:moveTo>
                    <a:pt x="1320" y="1240"/>
                  </a:moveTo>
                  <a:cubicBezTo>
                    <a:pt x="1320" y="1549"/>
                    <a:pt x="1069" y="1800"/>
                    <a:pt x="760" y="1800"/>
                  </a:cubicBezTo>
                  <a:cubicBezTo>
                    <a:pt x="451" y="1800"/>
                    <a:pt x="200" y="1549"/>
                    <a:pt x="200" y="1240"/>
                  </a:cubicBezTo>
                  <a:cubicBezTo>
                    <a:pt x="200" y="931"/>
                    <a:pt x="451" y="680"/>
                    <a:pt x="760" y="680"/>
                  </a:cubicBezTo>
                  <a:cubicBezTo>
                    <a:pt x="1069" y="680"/>
                    <a:pt x="1320" y="931"/>
                    <a:pt x="1320" y="1240"/>
                  </a:cubicBezTo>
                  <a:close/>
                  <a:moveTo>
                    <a:pt x="760" y="760"/>
                  </a:moveTo>
                  <a:cubicBezTo>
                    <a:pt x="495" y="760"/>
                    <a:pt x="280" y="975"/>
                    <a:pt x="280" y="1240"/>
                  </a:cubicBezTo>
                  <a:cubicBezTo>
                    <a:pt x="280" y="1505"/>
                    <a:pt x="495" y="1720"/>
                    <a:pt x="760" y="1720"/>
                  </a:cubicBezTo>
                  <a:cubicBezTo>
                    <a:pt x="1025" y="1720"/>
                    <a:pt x="1240" y="1505"/>
                    <a:pt x="1240" y="1240"/>
                  </a:cubicBezTo>
                  <a:cubicBezTo>
                    <a:pt x="1240" y="975"/>
                    <a:pt x="1025" y="760"/>
                    <a:pt x="760" y="760"/>
                  </a:cubicBezTo>
                  <a:close/>
                  <a:moveTo>
                    <a:pt x="1160" y="1240"/>
                  </a:moveTo>
                  <a:cubicBezTo>
                    <a:pt x="1160" y="1461"/>
                    <a:pt x="981" y="1640"/>
                    <a:pt x="760" y="1640"/>
                  </a:cubicBezTo>
                  <a:cubicBezTo>
                    <a:pt x="539" y="1640"/>
                    <a:pt x="360" y="1461"/>
                    <a:pt x="360" y="1240"/>
                  </a:cubicBezTo>
                  <a:cubicBezTo>
                    <a:pt x="360" y="1019"/>
                    <a:pt x="539" y="840"/>
                    <a:pt x="760" y="840"/>
                  </a:cubicBezTo>
                  <a:cubicBezTo>
                    <a:pt x="981" y="840"/>
                    <a:pt x="1160" y="1019"/>
                    <a:pt x="1160" y="1240"/>
                  </a:cubicBezTo>
                  <a:close/>
                  <a:moveTo>
                    <a:pt x="1080" y="1240"/>
                  </a:moveTo>
                  <a:cubicBezTo>
                    <a:pt x="1080" y="1063"/>
                    <a:pt x="937" y="920"/>
                    <a:pt x="760" y="920"/>
                  </a:cubicBezTo>
                  <a:cubicBezTo>
                    <a:pt x="583" y="920"/>
                    <a:pt x="440" y="1063"/>
                    <a:pt x="440" y="1240"/>
                  </a:cubicBezTo>
                  <a:cubicBezTo>
                    <a:pt x="440" y="1417"/>
                    <a:pt x="583" y="1560"/>
                    <a:pt x="760" y="1560"/>
                  </a:cubicBezTo>
                  <a:cubicBezTo>
                    <a:pt x="937" y="1560"/>
                    <a:pt x="1080" y="1417"/>
                    <a:pt x="1080" y="1240"/>
                  </a:cubicBezTo>
                  <a:close/>
                  <a:moveTo>
                    <a:pt x="1280" y="140"/>
                  </a:moveTo>
                  <a:cubicBezTo>
                    <a:pt x="1324" y="140"/>
                    <a:pt x="1360" y="176"/>
                    <a:pt x="1360" y="220"/>
                  </a:cubicBezTo>
                  <a:cubicBezTo>
                    <a:pt x="1360" y="264"/>
                    <a:pt x="1324" y="300"/>
                    <a:pt x="1280" y="300"/>
                  </a:cubicBezTo>
                  <a:cubicBezTo>
                    <a:pt x="1236" y="300"/>
                    <a:pt x="1200" y="264"/>
                    <a:pt x="1200" y="220"/>
                  </a:cubicBezTo>
                  <a:cubicBezTo>
                    <a:pt x="1200" y="176"/>
                    <a:pt x="1236" y="140"/>
                    <a:pt x="1280" y="1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Lato Heavy"/>
              </a:endParaRPr>
            </a:p>
          </p:txBody>
        </p:sp>
        <p:grpSp>
          <p:nvGrpSpPr>
            <p:cNvPr id="209" name="Group 156">
              <a:extLst>
                <a:ext uri="{FF2B5EF4-FFF2-40B4-BE49-F238E27FC236}">
                  <a16:creationId xmlns:a16="http://schemas.microsoft.com/office/drawing/2014/main" id="{926E1E86-3754-CF54-47BA-A9019EAFC64B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1277814" y="3429001"/>
              <a:ext cx="126849" cy="252413"/>
              <a:chOff x="1647" y="-295"/>
              <a:chExt cx="2468" cy="4911"/>
            </a:xfrm>
            <a:grpFill/>
          </p:grpSpPr>
          <p:sp>
            <p:nvSpPr>
              <p:cNvPr id="210" name="Freeform 157">
                <a:extLst>
                  <a:ext uri="{FF2B5EF4-FFF2-40B4-BE49-F238E27FC236}">
                    <a16:creationId xmlns:a16="http://schemas.microsoft.com/office/drawing/2014/main" id="{0FD0D491-F100-46EC-CE5E-BAD8B3D808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47" y="-295"/>
                <a:ext cx="2468" cy="1467"/>
              </a:xfrm>
              <a:custGeom>
                <a:avLst/>
                <a:gdLst>
                  <a:gd name="T0" fmla="*/ 1045 w 1045"/>
                  <a:gd name="T1" fmla="*/ 197 h 621"/>
                  <a:gd name="T2" fmla="*/ 945 w 1045"/>
                  <a:gd name="T3" fmla="*/ 0 h 621"/>
                  <a:gd name="T4" fmla="*/ 100 w 1045"/>
                  <a:gd name="T5" fmla="*/ 0 h 621"/>
                  <a:gd name="T6" fmla="*/ 0 w 1045"/>
                  <a:gd name="T7" fmla="*/ 197 h 621"/>
                  <a:gd name="T8" fmla="*/ 0 w 1045"/>
                  <a:gd name="T9" fmla="*/ 621 h 621"/>
                  <a:gd name="T10" fmla="*/ 1045 w 1045"/>
                  <a:gd name="T11" fmla="*/ 621 h 621"/>
                  <a:gd name="T12" fmla="*/ 1045 w 1045"/>
                  <a:gd name="T13" fmla="*/ 197 h 621"/>
                  <a:gd name="T14" fmla="*/ 127 w 1045"/>
                  <a:gd name="T15" fmla="*/ 508 h 621"/>
                  <a:gd name="T16" fmla="*/ 114 w 1045"/>
                  <a:gd name="T17" fmla="*/ 519 h 621"/>
                  <a:gd name="T18" fmla="*/ 100 w 1045"/>
                  <a:gd name="T19" fmla="*/ 508 h 621"/>
                  <a:gd name="T20" fmla="*/ 100 w 1045"/>
                  <a:gd name="T21" fmla="*/ 346 h 621"/>
                  <a:gd name="T22" fmla="*/ 114 w 1045"/>
                  <a:gd name="T23" fmla="*/ 335 h 621"/>
                  <a:gd name="T24" fmla="*/ 127 w 1045"/>
                  <a:gd name="T25" fmla="*/ 346 h 621"/>
                  <a:gd name="T26" fmla="*/ 127 w 1045"/>
                  <a:gd name="T27" fmla="*/ 508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45" h="621">
                    <a:moveTo>
                      <a:pt x="1045" y="197"/>
                    </a:moveTo>
                    <a:cubicBezTo>
                      <a:pt x="1045" y="88"/>
                      <a:pt x="1000" y="0"/>
                      <a:pt x="945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45" y="0"/>
                      <a:pt x="0" y="88"/>
                      <a:pt x="0" y="197"/>
                    </a:cubicBezTo>
                    <a:cubicBezTo>
                      <a:pt x="0" y="621"/>
                      <a:pt x="0" y="621"/>
                      <a:pt x="0" y="621"/>
                    </a:cubicBezTo>
                    <a:cubicBezTo>
                      <a:pt x="1045" y="621"/>
                      <a:pt x="1045" y="621"/>
                      <a:pt x="1045" y="621"/>
                    </a:cubicBezTo>
                    <a:cubicBezTo>
                      <a:pt x="1045" y="197"/>
                      <a:pt x="1045" y="197"/>
                      <a:pt x="1045" y="197"/>
                    </a:cubicBezTo>
                    <a:close/>
                    <a:moveTo>
                      <a:pt x="127" y="508"/>
                    </a:moveTo>
                    <a:cubicBezTo>
                      <a:pt x="127" y="514"/>
                      <a:pt x="121" y="519"/>
                      <a:pt x="114" y="519"/>
                    </a:cubicBezTo>
                    <a:cubicBezTo>
                      <a:pt x="106" y="519"/>
                      <a:pt x="100" y="514"/>
                      <a:pt x="100" y="508"/>
                    </a:cubicBezTo>
                    <a:cubicBezTo>
                      <a:pt x="100" y="346"/>
                      <a:pt x="100" y="346"/>
                      <a:pt x="100" y="346"/>
                    </a:cubicBezTo>
                    <a:cubicBezTo>
                      <a:pt x="100" y="340"/>
                      <a:pt x="106" y="335"/>
                      <a:pt x="114" y="335"/>
                    </a:cubicBezTo>
                    <a:cubicBezTo>
                      <a:pt x="121" y="335"/>
                      <a:pt x="127" y="340"/>
                      <a:pt x="127" y="346"/>
                    </a:cubicBezTo>
                    <a:lnTo>
                      <a:pt x="127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chemeClr val="accent4"/>
                  </a:solidFill>
                  <a:effectLst/>
                  <a:uLnTx/>
                  <a:uFillTx/>
                  <a:latin typeface="Lato Heavy"/>
                </a:endParaRPr>
              </a:p>
            </p:txBody>
          </p:sp>
          <p:sp>
            <p:nvSpPr>
              <p:cNvPr id="211" name="Freeform 158">
                <a:extLst>
                  <a:ext uri="{FF2B5EF4-FFF2-40B4-BE49-F238E27FC236}">
                    <a16:creationId xmlns:a16="http://schemas.microsoft.com/office/drawing/2014/main" id="{44091E0D-8207-6855-2C9C-D28AD85568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47" y="1359"/>
                <a:ext cx="2468" cy="3257"/>
              </a:xfrm>
              <a:custGeom>
                <a:avLst/>
                <a:gdLst>
                  <a:gd name="T0" fmla="*/ 0 w 1045"/>
                  <a:gd name="T1" fmla="*/ 0 h 1379"/>
                  <a:gd name="T2" fmla="*/ 0 w 1045"/>
                  <a:gd name="T3" fmla="*/ 1116 h 1379"/>
                  <a:gd name="T4" fmla="*/ 100 w 1045"/>
                  <a:gd name="T5" fmla="*/ 1313 h 1379"/>
                  <a:gd name="T6" fmla="*/ 100 w 1045"/>
                  <a:gd name="T7" fmla="*/ 1379 h 1379"/>
                  <a:gd name="T8" fmla="*/ 172 w 1045"/>
                  <a:gd name="T9" fmla="*/ 1379 h 1379"/>
                  <a:gd name="T10" fmla="*/ 172 w 1045"/>
                  <a:gd name="T11" fmla="*/ 1313 h 1379"/>
                  <a:gd name="T12" fmla="*/ 873 w 1045"/>
                  <a:gd name="T13" fmla="*/ 1313 h 1379"/>
                  <a:gd name="T14" fmla="*/ 873 w 1045"/>
                  <a:gd name="T15" fmla="*/ 1379 h 1379"/>
                  <a:gd name="T16" fmla="*/ 945 w 1045"/>
                  <a:gd name="T17" fmla="*/ 1379 h 1379"/>
                  <a:gd name="T18" fmla="*/ 945 w 1045"/>
                  <a:gd name="T19" fmla="*/ 1313 h 1379"/>
                  <a:gd name="T20" fmla="*/ 1045 w 1045"/>
                  <a:gd name="T21" fmla="*/ 1116 h 1379"/>
                  <a:gd name="T22" fmla="*/ 1045 w 1045"/>
                  <a:gd name="T23" fmla="*/ 0 h 1379"/>
                  <a:gd name="T24" fmla="*/ 0 w 1045"/>
                  <a:gd name="T25" fmla="*/ 0 h 1379"/>
                  <a:gd name="T26" fmla="*/ 127 w 1045"/>
                  <a:gd name="T27" fmla="*/ 276 h 1379"/>
                  <a:gd name="T28" fmla="*/ 114 w 1045"/>
                  <a:gd name="T29" fmla="*/ 287 h 1379"/>
                  <a:gd name="T30" fmla="*/ 100 w 1045"/>
                  <a:gd name="T31" fmla="*/ 276 h 1379"/>
                  <a:gd name="T32" fmla="*/ 100 w 1045"/>
                  <a:gd name="T33" fmla="*/ 114 h 1379"/>
                  <a:gd name="T34" fmla="*/ 114 w 1045"/>
                  <a:gd name="T35" fmla="*/ 103 h 1379"/>
                  <a:gd name="T36" fmla="*/ 127 w 1045"/>
                  <a:gd name="T37" fmla="*/ 114 h 1379"/>
                  <a:gd name="T38" fmla="*/ 127 w 1045"/>
                  <a:gd name="T39" fmla="*/ 276 h 1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45" h="1379">
                    <a:moveTo>
                      <a:pt x="0" y="0"/>
                    </a:moveTo>
                    <a:cubicBezTo>
                      <a:pt x="0" y="1116"/>
                      <a:pt x="0" y="1116"/>
                      <a:pt x="0" y="1116"/>
                    </a:cubicBezTo>
                    <a:cubicBezTo>
                      <a:pt x="0" y="1224"/>
                      <a:pt x="45" y="1313"/>
                      <a:pt x="100" y="1313"/>
                    </a:cubicBezTo>
                    <a:cubicBezTo>
                      <a:pt x="100" y="1379"/>
                      <a:pt x="100" y="1379"/>
                      <a:pt x="100" y="1379"/>
                    </a:cubicBezTo>
                    <a:cubicBezTo>
                      <a:pt x="172" y="1379"/>
                      <a:pt x="172" y="1379"/>
                      <a:pt x="172" y="1379"/>
                    </a:cubicBezTo>
                    <a:cubicBezTo>
                      <a:pt x="172" y="1313"/>
                      <a:pt x="172" y="1313"/>
                      <a:pt x="172" y="1313"/>
                    </a:cubicBezTo>
                    <a:cubicBezTo>
                      <a:pt x="873" y="1313"/>
                      <a:pt x="873" y="1313"/>
                      <a:pt x="873" y="1313"/>
                    </a:cubicBezTo>
                    <a:cubicBezTo>
                      <a:pt x="873" y="1379"/>
                      <a:pt x="873" y="1379"/>
                      <a:pt x="873" y="1379"/>
                    </a:cubicBezTo>
                    <a:cubicBezTo>
                      <a:pt x="945" y="1379"/>
                      <a:pt x="945" y="1379"/>
                      <a:pt x="945" y="1379"/>
                    </a:cubicBezTo>
                    <a:cubicBezTo>
                      <a:pt x="945" y="1313"/>
                      <a:pt x="945" y="1313"/>
                      <a:pt x="945" y="1313"/>
                    </a:cubicBezTo>
                    <a:cubicBezTo>
                      <a:pt x="1000" y="1313"/>
                      <a:pt x="1045" y="1224"/>
                      <a:pt x="1045" y="1116"/>
                    </a:cubicBezTo>
                    <a:cubicBezTo>
                      <a:pt x="1045" y="0"/>
                      <a:pt x="1045" y="0"/>
                      <a:pt x="1045" y="0"/>
                    </a:cubicBezTo>
                    <a:lnTo>
                      <a:pt x="0" y="0"/>
                    </a:lnTo>
                    <a:close/>
                    <a:moveTo>
                      <a:pt x="127" y="276"/>
                    </a:moveTo>
                    <a:cubicBezTo>
                      <a:pt x="127" y="282"/>
                      <a:pt x="121" y="287"/>
                      <a:pt x="114" y="287"/>
                    </a:cubicBezTo>
                    <a:cubicBezTo>
                      <a:pt x="106" y="287"/>
                      <a:pt x="100" y="282"/>
                      <a:pt x="100" y="276"/>
                    </a:cubicBezTo>
                    <a:cubicBezTo>
                      <a:pt x="100" y="114"/>
                      <a:pt x="100" y="114"/>
                      <a:pt x="100" y="114"/>
                    </a:cubicBezTo>
                    <a:cubicBezTo>
                      <a:pt x="100" y="108"/>
                      <a:pt x="106" y="103"/>
                      <a:pt x="114" y="103"/>
                    </a:cubicBezTo>
                    <a:cubicBezTo>
                      <a:pt x="121" y="103"/>
                      <a:pt x="127" y="108"/>
                      <a:pt x="127" y="114"/>
                    </a:cubicBezTo>
                    <a:lnTo>
                      <a:pt x="127" y="2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chemeClr val="accent4"/>
                  </a:solidFill>
                  <a:effectLst/>
                  <a:uLnTx/>
                  <a:uFillTx/>
                  <a:latin typeface="Lato Heavy"/>
                </a:endParaRPr>
              </a:p>
            </p:txBody>
          </p:sp>
        </p:grpSp>
      </p:grpSp>
      <p:sp>
        <p:nvSpPr>
          <p:cNvPr id="212" name="Line 20">
            <a:extLst>
              <a:ext uri="{FF2B5EF4-FFF2-40B4-BE49-F238E27FC236}">
                <a16:creationId xmlns:a16="http://schemas.microsoft.com/office/drawing/2014/main" id="{DC246221-2ED1-2132-44A4-954393162A19}"/>
              </a:ext>
            </a:extLst>
          </p:cNvPr>
          <p:cNvSpPr>
            <a:spLocks noChangeShapeType="1"/>
          </p:cNvSpPr>
          <p:nvPr>
            <p:custDataLst>
              <p:tags r:id="rId21"/>
            </p:custDataLst>
          </p:nvPr>
        </p:nvSpPr>
        <p:spPr bwMode="gray">
          <a:xfrm flipV="1">
            <a:off x="7705310" y="3094968"/>
            <a:ext cx="3312000" cy="3715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 Heavy"/>
              <a:ea typeface="+mn-ea"/>
              <a:cs typeface="+mn-cs"/>
            </a:endParaRPr>
          </a:p>
        </p:txBody>
      </p:sp>
      <p:sp>
        <p:nvSpPr>
          <p:cNvPr id="213" name="Text Placeholder 1">
            <a:extLst>
              <a:ext uri="{FF2B5EF4-FFF2-40B4-BE49-F238E27FC236}">
                <a16:creationId xmlns:a16="http://schemas.microsoft.com/office/drawing/2014/main" id="{78C0DB1D-EEF7-30B1-46A0-5CFDB8A32928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7828449" y="4852403"/>
            <a:ext cx="3158314" cy="576000"/>
          </a:xfrm>
          <a:prstGeom prst="rect">
            <a:avLst/>
          </a:prstGeom>
          <a:noFill/>
          <a:ln w="9525">
            <a:noFill/>
          </a:ln>
        </p:spPr>
        <p:txBody>
          <a:bodyPr vert="horz" lIns="0" tIns="108000" rIns="612000" bIns="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19FBC"/>
                </a:solidFill>
                <a:effectLst/>
                <a:uLnTx/>
                <a:uFillTx/>
                <a:latin typeface="+mn-lt"/>
                <a:ea typeface="+mn-ea"/>
                <a:cs typeface="Lato" panose="020F0502020204030203" pitchFamily="34" charset="0"/>
              </a:rPr>
              <a:t>Air Conditions</a:t>
            </a:r>
          </a:p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sz="1400" b="1" dirty="0">
                <a:solidFill>
                  <a:srgbClr val="3B4145"/>
                </a:solidFill>
                <a:latin typeface="+mn-lt"/>
                <a:cs typeface="Lato" panose="020F0502020204030203" pitchFamily="34" charset="0"/>
              </a:rPr>
              <a:t>-14,3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B4145"/>
                </a:solidFill>
                <a:effectLst/>
                <a:uLnTx/>
                <a:uFillTx/>
                <a:latin typeface="+mn-lt"/>
                <a:ea typeface="+mn-ea"/>
                <a:cs typeface="Lato" panose="020F0502020204030203" pitchFamily="34" charset="0"/>
              </a:rPr>
              <a:t>%</a:t>
            </a:r>
          </a:p>
        </p:txBody>
      </p:sp>
      <p:pic>
        <p:nvPicPr>
          <p:cNvPr id="214" name="Grafik 39">
            <a:extLst>
              <a:ext uri="{FF2B5EF4-FFF2-40B4-BE49-F238E27FC236}">
                <a16:creationId xmlns:a16="http://schemas.microsoft.com/office/drawing/2014/main" id="{704791C3-C3CE-BE43-1CFC-EEF14770E1D0}"/>
              </a:ext>
            </a:extLst>
          </p:cNvPr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4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10491761" y="5067881"/>
            <a:ext cx="468334" cy="381202"/>
          </a:xfrm>
          <a:prstGeom prst="rect">
            <a:avLst/>
          </a:prstGeom>
        </p:spPr>
      </p:pic>
      <p:sp>
        <p:nvSpPr>
          <p:cNvPr id="215" name="Line 20">
            <a:extLst>
              <a:ext uri="{FF2B5EF4-FFF2-40B4-BE49-F238E27FC236}">
                <a16:creationId xmlns:a16="http://schemas.microsoft.com/office/drawing/2014/main" id="{7B3AC671-02FB-225E-B04D-04277881BB58}"/>
              </a:ext>
            </a:extLst>
          </p:cNvPr>
          <p:cNvSpPr>
            <a:spLocks noChangeShapeType="1"/>
          </p:cNvSpPr>
          <p:nvPr>
            <p:custDataLst>
              <p:tags r:id="rId24"/>
            </p:custDataLst>
          </p:nvPr>
        </p:nvSpPr>
        <p:spPr bwMode="gray">
          <a:xfrm flipV="1">
            <a:off x="7558663" y="4809950"/>
            <a:ext cx="3530167" cy="2198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 Heavy"/>
              <a:ea typeface="+mn-ea"/>
              <a:cs typeface="+mn-cs"/>
            </a:endParaRPr>
          </a:p>
        </p:txBody>
      </p:sp>
      <p:sp>
        <p:nvSpPr>
          <p:cNvPr id="216" name="Text Placeholder 2">
            <a:extLst>
              <a:ext uri="{FF2B5EF4-FFF2-40B4-BE49-F238E27FC236}">
                <a16:creationId xmlns:a16="http://schemas.microsoft.com/office/drawing/2014/main" id="{CA255761-D5A3-186B-E5BB-DCBDC304F888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>
          <a:xfrm>
            <a:off x="675485" y="1273983"/>
            <a:ext cx="8164380" cy="206146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8000" indent="-252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52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Lato" panose="020F050202020403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2000" indent="-252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8000" indent="-252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52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000" indent="-252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4000" indent="-252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A5B0C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B4145"/>
                </a:solidFill>
                <a:effectLst/>
                <a:uLnTx/>
                <a:uFillTx/>
              </a:rPr>
              <a:t>Sales Value EURO in % / growth rate YoY in %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B4145"/>
                </a:solidFill>
                <a:effectLst/>
                <a:uLnTx/>
                <a:uFillTx/>
                <a:sym typeface="Webdings" panose="05030102010509060703" pitchFamily="18" charset="2"/>
              </a:rPr>
              <a:t>GREECE YTD </a:t>
            </a:r>
            <a:r>
              <a:rPr lang="en-US" sz="1600" dirty="0">
                <a:solidFill>
                  <a:srgbClr val="3B4145"/>
                </a:solidFill>
                <a:sym typeface="Webdings" panose="05030102010509060703" pitchFamily="18" charset="2"/>
              </a:rPr>
              <a:t>Dec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B4145"/>
                </a:solidFill>
                <a:effectLst/>
                <a:uLnTx/>
                <a:uFillTx/>
                <a:sym typeface="Webdings" panose="05030102010509060703" pitchFamily="18" charset="2"/>
              </a:rPr>
              <a:t>ember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B4145"/>
                </a:solidFill>
                <a:effectLst/>
                <a:uLnTx/>
                <a:uFillTx/>
              </a:rPr>
              <a:t> 2025</a:t>
            </a:r>
          </a:p>
        </p:txBody>
      </p:sp>
      <p:pic>
        <p:nvPicPr>
          <p:cNvPr id="217" name="Picture 23">
            <a:extLst>
              <a:ext uri="{FF2B5EF4-FFF2-40B4-BE49-F238E27FC236}">
                <a16:creationId xmlns:a16="http://schemas.microsoft.com/office/drawing/2014/main" id="{011CCED0-2127-FF88-8AE2-FDAFFCA0D4C6}"/>
              </a:ext>
            </a:extLst>
          </p:cNvPr>
          <p:cNvPicPr>
            <a:picLocks noChangeAspect="1" noChangeArrowheads="1"/>
          </p:cNvPicPr>
          <p:nvPr>
            <p:custDataLst>
              <p:tags r:id="rId26"/>
            </p:custDataLst>
          </p:nvPr>
        </p:nvPicPr>
        <p:blipFill>
          <a:blip r:embed="rId4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77641" y="1286237"/>
            <a:ext cx="324000" cy="21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12234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B23374-D500-DD8A-EDC0-443F369B32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-24680" y="6259209"/>
            <a:ext cx="11607800" cy="194127"/>
          </a:xfrm>
        </p:spPr>
        <p:txBody>
          <a:bodyPr/>
          <a:lstStyle/>
          <a:p>
            <a:r>
              <a:rPr lang="en-US" sz="900" dirty="0"/>
              <a:t>Source: GfK Market Intelligence: Sales Tracking, Greece Coverage. Sales revenue growth 2024 vs 2024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84F036A7-C340-00C6-C7CF-E9A383808D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>
                <a:solidFill>
                  <a:schemeClr val="accent1"/>
                </a:solidFill>
              </a:rPr>
              <a:t>NielsenIQ</a:t>
            </a:r>
            <a:r>
              <a:rPr lang="en-US" sz="2400" dirty="0">
                <a:solidFill>
                  <a:schemeClr val="tx1">
                    <a:lumMod val="50000"/>
                  </a:schemeClr>
                </a:solidFill>
              </a:rPr>
              <a:t> | </a:t>
            </a:r>
            <a:r>
              <a:rPr lang="en-US" sz="2400" dirty="0"/>
              <a:t>Tech &amp; Durables Market vs pre-pandemic</a:t>
            </a:r>
          </a:p>
        </p:txBody>
      </p:sp>
      <p:graphicFrame>
        <p:nvGraphicFramePr>
          <p:cNvPr id="41" name="Content Placeholder 4">
            <a:extLst>
              <a:ext uri="{FF2B5EF4-FFF2-40B4-BE49-F238E27FC236}">
                <a16:creationId xmlns:a16="http://schemas.microsoft.com/office/drawing/2014/main" id="{7BF85977-A354-8B14-72B1-5C491702C39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2772213"/>
              </p:ext>
            </p:extLst>
          </p:nvPr>
        </p:nvGraphicFramePr>
        <p:xfrm>
          <a:off x="67570" y="1288862"/>
          <a:ext cx="11423300" cy="45991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44" name="Rechteck 1">
            <a:extLst>
              <a:ext uri="{FF2B5EF4-FFF2-40B4-BE49-F238E27FC236}">
                <a16:creationId xmlns:a16="http://schemas.microsoft.com/office/drawing/2014/main" id="{32A33492-43BB-5DF8-E4C4-AFB83A02AB6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70610" y="1810577"/>
            <a:ext cx="135000" cy="135000"/>
          </a:xfrm>
          <a:prstGeom prst="rect">
            <a:avLst/>
          </a:prstGeom>
          <a:solidFill>
            <a:srgbClr val="6A757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none" lIns="270000" tIns="0" rIns="0" b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3B4145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025 vs. 2024</a:t>
            </a:r>
          </a:p>
        </p:txBody>
      </p:sp>
      <p:sp>
        <p:nvSpPr>
          <p:cNvPr id="45" name="Rechteck 2">
            <a:extLst>
              <a:ext uri="{FF2B5EF4-FFF2-40B4-BE49-F238E27FC236}">
                <a16:creationId xmlns:a16="http://schemas.microsoft.com/office/drawing/2014/main" id="{0E46FD7B-F34E-3CD2-2908-FDB48585C1B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35875" y="1810577"/>
            <a:ext cx="135000" cy="135000"/>
          </a:xfrm>
          <a:prstGeom prst="rect">
            <a:avLst/>
          </a:prstGeom>
          <a:pattFill prst="solidDmnd">
            <a:fgClr>
              <a:srgbClr val="6A757C"/>
            </a:fgClr>
            <a:bgClr>
              <a:srgbClr val="FFFFFF"/>
            </a:bgClr>
          </a:pattFill>
          <a:ln w="12700" cap="flat" cmpd="sng" algn="ctr">
            <a:noFill/>
            <a:prstDash val="solid"/>
            <a:miter lim="800000"/>
          </a:ln>
          <a:effectLst/>
        </p:spPr>
        <p:txBody>
          <a:bodyPr wrap="none" lIns="270000" tIns="0" rIns="0" b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3B4145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025 vs. 2019</a:t>
            </a:r>
          </a:p>
        </p:txBody>
      </p:sp>
      <p:sp>
        <p:nvSpPr>
          <p:cNvPr id="122" name="Rechteck 15">
            <a:extLst>
              <a:ext uri="{FF2B5EF4-FFF2-40B4-BE49-F238E27FC236}">
                <a16:creationId xmlns:a16="http://schemas.microsoft.com/office/drawing/2014/main" id="{B81DBF42-5C69-A41F-EC14-4B72F578EDF6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610915" y="5271320"/>
            <a:ext cx="1748587" cy="384177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874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EF5F17"/>
                </a:solidFill>
                <a:effectLst/>
                <a:uLnTx/>
                <a:uFillTx/>
                <a:latin typeface="Lato"/>
                <a:ea typeface="+mn-ea"/>
                <a:cs typeface="Arial" pitchFamily="34" charset="0"/>
              </a:rPr>
              <a:t>TCG</a:t>
            </a:r>
          </a:p>
        </p:txBody>
      </p:sp>
      <p:sp>
        <p:nvSpPr>
          <p:cNvPr id="123" name="Rechteck 15">
            <a:extLst>
              <a:ext uri="{FF2B5EF4-FFF2-40B4-BE49-F238E27FC236}">
                <a16:creationId xmlns:a16="http://schemas.microsoft.com/office/drawing/2014/main" id="{CE6FE1EC-62BD-9C84-4A7A-E4A946166F19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2151181" y="5279271"/>
            <a:ext cx="1748587" cy="384177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874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2335F"/>
                </a:solidFill>
                <a:effectLst/>
                <a:uLnTx/>
                <a:uFillTx/>
                <a:latin typeface="Lato"/>
                <a:ea typeface="+mn-ea"/>
                <a:cs typeface="Arial" pitchFamily="34" charset="0"/>
              </a:rPr>
              <a:t>Telecom</a:t>
            </a:r>
          </a:p>
        </p:txBody>
      </p:sp>
      <p:grpSp>
        <p:nvGrpSpPr>
          <p:cNvPr id="124" name="Group 341">
            <a:extLst>
              <a:ext uri="{FF2B5EF4-FFF2-40B4-BE49-F238E27FC236}">
                <a16:creationId xmlns:a16="http://schemas.microsoft.com/office/drawing/2014/main" id="{8E3E69B5-066F-8AB8-2C42-1355C89147F5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2888608" y="4619408"/>
            <a:ext cx="273734" cy="527909"/>
            <a:chOff x="2987780" y="987480"/>
            <a:chExt cx="298709" cy="576080"/>
          </a:xfrm>
          <a:solidFill>
            <a:srgbClr val="AA213F"/>
          </a:solidFill>
        </p:grpSpPr>
        <p:sp>
          <p:nvSpPr>
            <p:cNvPr id="125" name="Freeform: Shape 324">
              <a:extLst>
                <a:ext uri="{FF2B5EF4-FFF2-40B4-BE49-F238E27FC236}">
                  <a16:creationId xmlns:a16="http://schemas.microsoft.com/office/drawing/2014/main" id="{E41E66D0-00A3-3A7D-C563-DB2329DAF55D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>
              <a:off x="2987780" y="987480"/>
              <a:ext cx="298709" cy="576080"/>
            </a:xfrm>
            <a:custGeom>
              <a:avLst/>
              <a:gdLst>
                <a:gd name="connsiteX0" fmla="*/ 181731 w 185710"/>
                <a:gd name="connsiteY0" fmla="*/ 0 h 358155"/>
                <a:gd name="connsiteX1" fmla="*/ 144589 w 185710"/>
                <a:gd name="connsiteY1" fmla="*/ 0 h 358155"/>
                <a:gd name="connsiteX2" fmla="*/ 53060 w 185710"/>
                <a:gd name="connsiteY2" fmla="*/ 0 h 358155"/>
                <a:gd name="connsiteX3" fmla="*/ 15918 w 185710"/>
                <a:gd name="connsiteY3" fmla="*/ 0 h 358155"/>
                <a:gd name="connsiteX4" fmla="*/ 0 w 185710"/>
                <a:gd name="connsiteY4" fmla="*/ 15918 h 358155"/>
                <a:gd name="connsiteX5" fmla="*/ 0 w 185710"/>
                <a:gd name="connsiteY5" fmla="*/ 348869 h 358155"/>
                <a:gd name="connsiteX6" fmla="*/ 15918 w 185710"/>
                <a:gd name="connsiteY6" fmla="*/ 364788 h 358155"/>
                <a:gd name="connsiteX7" fmla="*/ 181731 w 185710"/>
                <a:gd name="connsiteY7" fmla="*/ 364788 h 358155"/>
                <a:gd name="connsiteX8" fmla="*/ 197649 w 185710"/>
                <a:gd name="connsiteY8" fmla="*/ 348869 h 358155"/>
                <a:gd name="connsiteX9" fmla="*/ 197649 w 185710"/>
                <a:gd name="connsiteY9" fmla="*/ 15918 h 358155"/>
                <a:gd name="connsiteX10" fmla="*/ 181731 w 185710"/>
                <a:gd name="connsiteY10" fmla="*/ 0 h 358155"/>
                <a:gd name="connsiteX11" fmla="*/ 76937 w 185710"/>
                <a:gd name="connsiteY11" fmla="*/ 11938 h 358155"/>
                <a:gd name="connsiteX12" fmla="*/ 79590 w 185710"/>
                <a:gd name="connsiteY12" fmla="*/ 9285 h 358155"/>
                <a:gd name="connsiteX13" fmla="*/ 116732 w 185710"/>
                <a:gd name="connsiteY13" fmla="*/ 9285 h 358155"/>
                <a:gd name="connsiteX14" fmla="*/ 119385 w 185710"/>
                <a:gd name="connsiteY14" fmla="*/ 11938 h 358155"/>
                <a:gd name="connsiteX15" fmla="*/ 119385 w 185710"/>
                <a:gd name="connsiteY15" fmla="*/ 13265 h 358155"/>
                <a:gd name="connsiteX16" fmla="*/ 116732 w 185710"/>
                <a:gd name="connsiteY16" fmla="*/ 15918 h 358155"/>
                <a:gd name="connsiteX17" fmla="*/ 79590 w 185710"/>
                <a:gd name="connsiteY17" fmla="*/ 15918 h 358155"/>
                <a:gd name="connsiteX18" fmla="*/ 76937 w 185710"/>
                <a:gd name="connsiteY18" fmla="*/ 11938 h 358155"/>
                <a:gd name="connsiteX19" fmla="*/ 76937 w 185710"/>
                <a:gd name="connsiteY19" fmla="*/ 11938 h 358155"/>
                <a:gd name="connsiteX20" fmla="*/ 63672 w 185710"/>
                <a:gd name="connsiteY20" fmla="*/ 6633 h 358155"/>
                <a:gd name="connsiteX21" fmla="*/ 68978 w 185710"/>
                <a:gd name="connsiteY21" fmla="*/ 11938 h 358155"/>
                <a:gd name="connsiteX22" fmla="*/ 63672 w 185710"/>
                <a:gd name="connsiteY22" fmla="*/ 17245 h 358155"/>
                <a:gd name="connsiteX23" fmla="*/ 58366 w 185710"/>
                <a:gd name="connsiteY23" fmla="*/ 11938 h 358155"/>
                <a:gd name="connsiteX24" fmla="*/ 63672 w 185710"/>
                <a:gd name="connsiteY24" fmla="*/ 6633 h 358155"/>
                <a:gd name="connsiteX25" fmla="*/ 119385 w 185710"/>
                <a:gd name="connsiteY25" fmla="*/ 350196 h 358155"/>
                <a:gd name="connsiteX26" fmla="*/ 112753 w 185710"/>
                <a:gd name="connsiteY26" fmla="*/ 356829 h 358155"/>
                <a:gd name="connsiteX27" fmla="*/ 84896 w 185710"/>
                <a:gd name="connsiteY27" fmla="*/ 356829 h 358155"/>
                <a:gd name="connsiteX28" fmla="*/ 78264 w 185710"/>
                <a:gd name="connsiteY28" fmla="*/ 350196 h 358155"/>
                <a:gd name="connsiteX29" fmla="*/ 78264 w 185710"/>
                <a:gd name="connsiteY29" fmla="*/ 347543 h 358155"/>
                <a:gd name="connsiteX30" fmla="*/ 84896 w 185710"/>
                <a:gd name="connsiteY30" fmla="*/ 340911 h 358155"/>
                <a:gd name="connsiteX31" fmla="*/ 112753 w 185710"/>
                <a:gd name="connsiteY31" fmla="*/ 340911 h 358155"/>
                <a:gd name="connsiteX32" fmla="*/ 119385 w 185710"/>
                <a:gd name="connsiteY32" fmla="*/ 347543 h 358155"/>
                <a:gd name="connsiteX33" fmla="*/ 119385 w 185710"/>
                <a:gd name="connsiteY33" fmla="*/ 350196 h 358155"/>
                <a:gd name="connsiteX34" fmla="*/ 187037 w 185710"/>
                <a:gd name="connsiteY34" fmla="*/ 331625 h 358155"/>
                <a:gd name="connsiteX35" fmla="*/ 176425 w 185710"/>
                <a:gd name="connsiteY35" fmla="*/ 335604 h 358155"/>
                <a:gd name="connsiteX36" fmla="*/ 17245 w 185710"/>
                <a:gd name="connsiteY36" fmla="*/ 335604 h 358155"/>
                <a:gd name="connsiteX37" fmla="*/ 10612 w 185710"/>
                <a:gd name="connsiteY37" fmla="*/ 330299 h 358155"/>
                <a:gd name="connsiteX38" fmla="*/ 10612 w 185710"/>
                <a:gd name="connsiteY38" fmla="*/ 17245 h 358155"/>
                <a:gd name="connsiteX39" fmla="*/ 15918 w 185710"/>
                <a:gd name="connsiteY39" fmla="*/ 10612 h 358155"/>
                <a:gd name="connsiteX40" fmla="*/ 53060 w 185710"/>
                <a:gd name="connsiteY40" fmla="*/ 10612 h 358155"/>
                <a:gd name="connsiteX41" fmla="*/ 53060 w 185710"/>
                <a:gd name="connsiteY41" fmla="*/ 10612 h 358155"/>
                <a:gd name="connsiteX42" fmla="*/ 63672 w 185710"/>
                <a:gd name="connsiteY42" fmla="*/ 22550 h 358155"/>
                <a:gd name="connsiteX43" fmla="*/ 135303 w 185710"/>
                <a:gd name="connsiteY43" fmla="*/ 22550 h 358155"/>
                <a:gd name="connsiteX44" fmla="*/ 145915 w 185710"/>
                <a:gd name="connsiteY44" fmla="*/ 11938 h 358155"/>
                <a:gd name="connsiteX45" fmla="*/ 145915 w 185710"/>
                <a:gd name="connsiteY45" fmla="*/ 11938 h 358155"/>
                <a:gd name="connsiteX46" fmla="*/ 183057 w 185710"/>
                <a:gd name="connsiteY46" fmla="*/ 11938 h 358155"/>
                <a:gd name="connsiteX47" fmla="*/ 188363 w 185710"/>
                <a:gd name="connsiteY47" fmla="*/ 19898 h 358155"/>
                <a:gd name="connsiteX48" fmla="*/ 188363 w 185710"/>
                <a:gd name="connsiteY48" fmla="*/ 331625 h 35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85710" h="358155">
                  <a:moveTo>
                    <a:pt x="181731" y="0"/>
                  </a:moveTo>
                  <a:lnTo>
                    <a:pt x="144589" y="0"/>
                  </a:lnTo>
                  <a:lnTo>
                    <a:pt x="53060" y="0"/>
                  </a:lnTo>
                  <a:lnTo>
                    <a:pt x="15918" y="0"/>
                  </a:lnTo>
                  <a:cubicBezTo>
                    <a:pt x="6633" y="0"/>
                    <a:pt x="0" y="6633"/>
                    <a:pt x="0" y="15918"/>
                  </a:cubicBezTo>
                  <a:lnTo>
                    <a:pt x="0" y="348869"/>
                  </a:lnTo>
                  <a:cubicBezTo>
                    <a:pt x="0" y="358155"/>
                    <a:pt x="6633" y="364788"/>
                    <a:pt x="15918" y="364788"/>
                  </a:cubicBezTo>
                  <a:lnTo>
                    <a:pt x="181731" y="364788"/>
                  </a:lnTo>
                  <a:cubicBezTo>
                    <a:pt x="191016" y="364788"/>
                    <a:pt x="197649" y="358155"/>
                    <a:pt x="197649" y="348869"/>
                  </a:cubicBezTo>
                  <a:lnTo>
                    <a:pt x="197649" y="15918"/>
                  </a:lnTo>
                  <a:cubicBezTo>
                    <a:pt x="197649" y="7959"/>
                    <a:pt x="191016" y="0"/>
                    <a:pt x="181731" y="0"/>
                  </a:cubicBezTo>
                  <a:close/>
                  <a:moveTo>
                    <a:pt x="76937" y="11938"/>
                  </a:moveTo>
                  <a:cubicBezTo>
                    <a:pt x="76937" y="10612"/>
                    <a:pt x="78264" y="9285"/>
                    <a:pt x="79590" y="9285"/>
                  </a:cubicBezTo>
                  <a:lnTo>
                    <a:pt x="116732" y="9285"/>
                  </a:lnTo>
                  <a:cubicBezTo>
                    <a:pt x="118058" y="9285"/>
                    <a:pt x="119385" y="10612"/>
                    <a:pt x="119385" y="11938"/>
                  </a:cubicBezTo>
                  <a:lnTo>
                    <a:pt x="119385" y="13265"/>
                  </a:lnTo>
                  <a:cubicBezTo>
                    <a:pt x="119385" y="14591"/>
                    <a:pt x="118058" y="15918"/>
                    <a:pt x="116732" y="15918"/>
                  </a:cubicBezTo>
                  <a:lnTo>
                    <a:pt x="79590" y="15918"/>
                  </a:lnTo>
                  <a:cubicBezTo>
                    <a:pt x="78264" y="15918"/>
                    <a:pt x="76937" y="14591"/>
                    <a:pt x="76937" y="11938"/>
                  </a:cubicBezTo>
                  <a:lnTo>
                    <a:pt x="76937" y="11938"/>
                  </a:lnTo>
                  <a:close/>
                  <a:moveTo>
                    <a:pt x="63672" y="6633"/>
                  </a:moveTo>
                  <a:cubicBezTo>
                    <a:pt x="66325" y="6633"/>
                    <a:pt x="68978" y="9285"/>
                    <a:pt x="68978" y="11938"/>
                  </a:cubicBezTo>
                  <a:cubicBezTo>
                    <a:pt x="68978" y="14591"/>
                    <a:pt x="66325" y="17245"/>
                    <a:pt x="63672" y="17245"/>
                  </a:cubicBezTo>
                  <a:cubicBezTo>
                    <a:pt x="61019" y="17245"/>
                    <a:pt x="58366" y="14591"/>
                    <a:pt x="58366" y="11938"/>
                  </a:cubicBezTo>
                  <a:cubicBezTo>
                    <a:pt x="58366" y="9285"/>
                    <a:pt x="61019" y="6633"/>
                    <a:pt x="63672" y="6633"/>
                  </a:cubicBezTo>
                  <a:close/>
                  <a:moveTo>
                    <a:pt x="119385" y="350196"/>
                  </a:moveTo>
                  <a:cubicBezTo>
                    <a:pt x="119385" y="354176"/>
                    <a:pt x="116732" y="356829"/>
                    <a:pt x="112753" y="356829"/>
                  </a:cubicBezTo>
                  <a:lnTo>
                    <a:pt x="84896" y="356829"/>
                  </a:lnTo>
                  <a:cubicBezTo>
                    <a:pt x="80917" y="356829"/>
                    <a:pt x="78264" y="354176"/>
                    <a:pt x="78264" y="350196"/>
                  </a:cubicBezTo>
                  <a:lnTo>
                    <a:pt x="78264" y="347543"/>
                  </a:lnTo>
                  <a:cubicBezTo>
                    <a:pt x="78264" y="343564"/>
                    <a:pt x="80917" y="340911"/>
                    <a:pt x="84896" y="340911"/>
                  </a:cubicBezTo>
                  <a:lnTo>
                    <a:pt x="112753" y="340911"/>
                  </a:lnTo>
                  <a:cubicBezTo>
                    <a:pt x="116732" y="340911"/>
                    <a:pt x="119385" y="343564"/>
                    <a:pt x="119385" y="347543"/>
                  </a:cubicBezTo>
                  <a:lnTo>
                    <a:pt x="119385" y="350196"/>
                  </a:lnTo>
                  <a:close/>
                  <a:moveTo>
                    <a:pt x="187037" y="331625"/>
                  </a:moveTo>
                  <a:cubicBezTo>
                    <a:pt x="187037" y="336931"/>
                    <a:pt x="181731" y="335604"/>
                    <a:pt x="176425" y="335604"/>
                  </a:cubicBezTo>
                  <a:lnTo>
                    <a:pt x="17245" y="335604"/>
                  </a:lnTo>
                  <a:cubicBezTo>
                    <a:pt x="11939" y="335604"/>
                    <a:pt x="10612" y="335604"/>
                    <a:pt x="10612" y="330299"/>
                  </a:cubicBezTo>
                  <a:lnTo>
                    <a:pt x="10612" y="17245"/>
                  </a:lnTo>
                  <a:cubicBezTo>
                    <a:pt x="10612" y="11938"/>
                    <a:pt x="10612" y="10612"/>
                    <a:pt x="15918" y="10612"/>
                  </a:cubicBezTo>
                  <a:lnTo>
                    <a:pt x="53060" y="10612"/>
                  </a:lnTo>
                  <a:lnTo>
                    <a:pt x="53060" y="10612"/>
                  </a:lnTo>
                  <a:cubicBezTo>
                    <a:pt x="53060" y="17245"/>
                    <a:pt x="57040" y="22550"/>
                    <a:pt x="63672" y="22550"/>
                  </a:cubicBezTo>
                  <a:lnTo>
                    <a:pt x="135303" y="22550"/>
                  </a:lnTo>
                  <a:cubicBezTo>
                    <a:pt x="140609" y="22550"/>
                    <a:pt x="145915" y="18571"/>
                    <a:pt x="145915" y="11938"/>
                  </a:cubicBezTo>
                  <a:lnTo>
                    <a:pt x="145915" y="11938"/>
                  </a:lnTo>
                  <a:lnTo>
                    <a:pt x="183057" y="11938"/>
                  </a:lnTo>
                  <a:cubicBezTo>
                    <a:pt x="188363" y="11938"/>
                    <a:pt x="188363" y="14591"/>
                    <a:pt x="188363" y="19898"/>
                  </a:cubicBezTo>
                  <a:lnTo>
                    <a:pt x="188363" y="331625"/>
                  </a:lnTo>
                  <a:close/>
                </a:path>
              </a:pathLst>
            </a:custGeom>
            <a:grpFill/>
            <a:ln w="1303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1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b="0" i="0" u="none" strike="noStrike" kern="0" cap="none" spc="0" normalizeH="0" baseline="0" noProof="0">
                <a:ln>
                  <a:noFill/>
                </a:ln>
                <a:solidFill>
                  <a:srgbClr val="3B4145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grpSp>
          <p:nvGrpSpPr>
            <p:cNvPr id="126" name="Group 325">
              <a:extLst>
                <a:ext uri="{FF2B5EF4-FFF2-40B4-BE49-F238E27FC236}">
                  <a16:creationId xmlns:a16="http://schemas.microsoft.com/office/drawing/2014/main" id="{2B9666F1-89C7-3DCE-C4EE-A7513E8EB844}"/>
                </a:ext>
              </a:extLst>
            </p:cNvPr>
            <p:cNvGrpSpPr/>
            <p:nvPr>
              <p:custDataLst>
                <p:tags r:id="rId28"/>
              </p:custDataLst>
            </p:nvPr>
          </p:nvGrpSpPr>
          <p:grpSpPr>
            <a:xfrm>
              <a:off x="3117379" y="1068719"/>
              <a:ext cx="149355" cy="117900"/>
              <a:chOff x="3923910" y="843510"/>
              <a:chExt cx="1368815" cy="1080540"/>
            </a:xfrm>
            <a:grpFill/>
          </p:grpSpPr>
          <p:sp>
            <p:nvSpPr>
              <p:cNvPr id="127" name="Rectangle 326">
                <a:extLst>
                  <a:ext uri="{FF2B5EF4-FFF2-40B4-BE49-F238E27FC236}">
                    <a16:creationId xmlns:a16="http://schemas.microsoft.com/office/drawing/2014/main" id="{87275429-B0B5-A1D9-0A72-9BD8A1D10B72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 bwMode="gray">
              <a:xfrm>
                <a:off x="3923910" y="1491600"/>
                <a:ext cx="216030" cy="43245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3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3B4145"/>
                  </a:solidFill>
                  <a:effectLst/>
                  <a:uLnTx/>
                  <a:uFillTx/>
                  <a:latin typeface="Lato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28" name="Rectangle 327">
                <a:extLst>
                  <a:ext uri="{FF2B5EF4-FFF2-40B4-BE49-F238E27FC236}">
                    <a16:creationId xmlns:a16="http://schemas.microsoft.com/office/drawing/2014/main" id="{1A16A36D-AE24-A7B4-6F3E-960775673AE8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 bwMode="gray">
              <a:xfrm>
                <a:off x="4211950" y="1347788"/>
                <a:ext cx="216030" cy="576262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3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3B4145"/>
                  </a:solidFill>
                  <a:effectLst/>
                  <a:uLnTx/>
                  <a:uFillTx/>
                  <a:latin typeface="Lato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29" name="Rectangle 328">
                <a:extLst>
                  <a:ext uri="{FF2B5EF4-FFF2-40B4-BE49-F238E27FC236}">
                    <a16:creationId xmlns:a16="http://schemas.microsoft.com/office/drawing/2014/main" id="{6099E53D-17B7-5558-F86C-CC10EDCFD6D1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 bwMode="gray">
              <a:xfrm>
                <a:off x="4499990" y="1203560"/>
                <a:ext cx="216030" cy="72049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3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3B4145"/>
                  </a:solidFill>
                  <a:effectLst/>
                  <a:uLnTx/>
                  <a:uFillTx/>
                  <a:latin typeface="Lato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30" name="Rectangle 329">
                <a:extLst>
                  <a:ext uri="{FF2B5EF4-FFF2-40B4-BE49-F238E27FC236}">
                    <a16:creationId xmlns:a16="http://schemas.microsoft.com/office/drawing/2014/main" id="{CEFA97E6-51FF-7644-DBC8-92A14DCFEAC8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 bwMode="gray">
              <a:xfrm>
                <a:off x="4788030" y="1059540"/>
                <a:ext cx="216030" cy="86451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3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3B4145"/>
                  </a:solidFill>
                  <a:effectLst/>
                  <a:uLnTx/>
                  <a:uFillTx/>
                  <a:latin typeface="Lato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31" name="Rectangle 330">
                <a:extLst>
                  <a:ext uri="{FF2B5EF4-FFF2-40B4-BE49-F238E27FC236}">
                    <a16:creationId xmlns:a16="http://schemas.microsoft.com/office/drawing/2014/main" id="{F9E34116-68E0-2151-B10E-337E4E790AF0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 bwMode="gray">
              <a:xfrm>
                <a:off x="5076695" y="843510"/>
                <a:ext cx="216030" cy="108054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3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3B4145"/>
                  </a:solidFill>
                  <a:effectLst/>
                  <a:uLnTx/>
                  <a:uFillTx/>
                  <a:latin typeface="Lato"/>
                  <a:ea typeface="+mn-ea"/>
                  <a:cs typeface="Arial" pitchFamily="34" charset="0"/>
                </a:endParaRPr>
              </a:p>
            </p:txBody>
          </p:sp>
        </p:grpSp>
      </p:grpSp>
      <p:sp>
        <p:nvSpPr>
          <p:cNvPr id="132" name="Rechteck 40">
            <a:extLst>
              <a:ext uri="{FF2B5EF4-FFF2-40B4-BE49-F238E27FC236}">
                <a16:creationId xmlns:a16="http://schemas.microsoft.com/office/drawing/2014/main" id="{5556AC43-4D12-BC08-484F-E8291327F198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3723254" y="5279271"/>
            <a:ext cx="1748587" cy="384177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874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23A9B2"/>
                </a:solidFill>
                <a:effectLst/>
                <a:uLnTx/>
                <a:uFillTx/>
                <a:latin typeface="Lato"/>
                <a:ea typeface="+mn-ea"/>
                <a:cs typeface="Arial" pitchFamily="34" charset="0"/>
              </a:rPr>
              <a:t>IT &amp; Office </a:t>
            </a:r>
          </a:p>
        </p:txBody>
      </p: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520A6F49-5F4F-5131-1461-8CC10A4689D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134887" y="4765875"/>
            <a:ext cx="925321" cy="382996"/>
            <a:chOff x="5089177" y="4715670"/>
            <a:chExt cx="925607" cy="383115"/>
          </a:xfrm>
          <a:solidFill>
            <a:srgbClr val="23A9B2"/>
          </a:solidFill>
        </p:grpSpPr>
        <p:sp>
          <p:nvSpPr>
            <p:cNvPr id="134" name="Freeform 102">
              <a:extLst>
                <a:ext uri="{FF2B5EF4-FFF2-40B4-BE49-F238E27FC236}">
                  <a16:creationId xmlns:a16="http://schemas.microsoft.com/office/drawing/2014/main" id="{6A52E2B5-F682-96A7-B901-C4FA40CD5FE5}"/>
                </a:ext>
              </a:extLst>
            </p:cNvPr>
            <p:cNvSpPr>
              <a:spLocks noChangeAspect="1" noEditPoints="1"/>
            </p:cNvSpPr>
            <p:nvPr>
              <p:custDataLst>
                <p:tags r:id="rId25"/>
              </p:custDataLst>
            </p:nvPr>
          </p:nvSpPr>
          <p:spPr bwMode="auto">
            <a:xfrm>
              <a:off x="5089177" y="4751702"/>
              <a:ext cx="441765" cy="347083"/>
            </a:xfrm>
            <a:custGeom>
              <a:avLst/>
              <a:gdLst>
                <a:gd name="T0" fmla="*/ 2240 w 2240"/>
                <a:gd name="T1" fmla="*/ 1360 h 1760"/>
                <a:gd name="T2" fmla="*/ 2240 w 2240"/>
                <a:gd name="T3" fmla="*/ 1560 h 1760"/>
                <a:gd name="T4" fmla="*/ 2040 w 2240"/>
                <a:gd name="T5" fmla="*/ 1760 h 1760"/>
                <a:gd name="T6" fmla="*/ 200 w 2240"/>
                <a:gd name="T7" fmla="*/ 1760 h 1760"/>
                <a:gd name="T8" fmla="*/ 0 w 2240"/>
                <a:gd name="T9" fmla="*/ 1560 h 1760"/>
                <a:gd name="T10" fmla="*/ 0 w 2240"/>
                <a:gd name="T11" fmla="*/ 1360 h 1760"/>
                <a:gd name="T12" fmla="*/ 2240 w 2240"/>
                <a:gd name="T13" fmla="*/ 1360 h 1760"/>
                <a:gd name="T14" fmla="*/ 160 w 2240"/>
                <a:gd name="T15" fmla="*/ 1280 h 1760"/>
                <a:gd name="T16" fmla="*/ 160 w 2240"/>
                <a:gd name="T17" fmla="*/ 120 h 1760"/>
                <a:gd name="T18" fmla="*/ 280 w 2240"/>
                <a:gd name="T19" fmla="*/ 0 h 1760"/>
                <a:gd name="T20" fmla="*/ 1960 w 2240"/>
                <a:gd name="T21" fmla="*/ 0 h 1760"/>
                <a:gd name="T22" fmla="*/ 2080 w 2240"/>
                <a:gd name="T23" fmla="*/ 120 h 1760"/>
                <a:gd name="T24" fmla="*/ 2080 w 2240"/>
                <a:gd name="T25" fmla="*/ 1280 h 1760"/>
                <a:gd name="T26" fmla="*/ 2000 w 2240"/>
                <a:gd name="T27" fmla="*/ 1280 h 1760"/>
                <a:gd name="T28" fmla="*/ 2000 w 2240"/>
                <a:gd name="T29" fmla="*/ 120 h 1760"/>
                <a:gd name="T30" fmla="*/ 1960 w 2240"/>
                <a:gd name="T31" fmla="*/ 80 h 1760"/>
                <a:gd name="T32" fmla="*/ 280 w 2240"/>
                <a:gd name="T33" fmla="*/ 80 h 1760"/>
                <a:gd name="T34" fmla="*/ 240 w 2240"/>
                <a:gd name="T35" fmla="*/ 120 h 1760"/>
                <a:gd name="T36" fmla="*/ 240 w 2240"/>
                <a:gd name="T37" fmla="*/ 1280 h 1760"/>
                <a:gd name="T38" fmla="*/ 160 w 2240"/>
                <a:gd name="T39" fmla="*/ 1280 h 1760"/>
                <a:gd name="T40" fmla="*/ 960 w 2240"/>
                <a:gd name="T41" fmla="*/ 1600 h 1760"/>
                <a:gd name="T42" fmla="*/ 1280 w 2240"/>
                <a:gd name="T43" fmla="*/ 1600 h 1760"/>
                <a:gd name="T44" fmla="*/ 1320 w 2240"/>
                <a:gd name="T45" fmla="*/ 1560 h 1760"/>
                <a:gd name="T46" fmla="*/ 1280 w 2240"/>
                <a:gd name="T47" fmla="*/ 1520 h 1760"/>
                <a:gd name="T48" fmla="*/ 960 w 2240"/>
                <a:gd name="T49" fmla="*/ 1520 h 1760"/>
                <a:gd name="T50" fmla="*/ 920 w 2240"/>
                <a:gd name="T51" fmla="*/ 1560 h 1760"/>
                <a:gd name="T52" fmla="*/ 960 w 2240"/>
                <a:gd name="T53" fmla="*/ 1600 h 1760"/>
                <a:gd name="T54" fmla="*/ 320 w 2240"/>
                <a:gd name="T55" fmla="*/ 1280 h 1760"/>
                <a:gd name="T56" fmla="*/ 320 w 2240"/>
                <a:gd name="T57" fmla="*/ 160 h 1760"/>
                <a:gd name="T58" fmla="*/ 1920 w 2240"/>
                <a:gd name="T59" fmla="*/ 160 h 1760"/>
                <a:gd name="T60" fmla="*/ 1920 w 2240"/>
                <a:gd name="T61" fmla="*/ 1280 h 1760"/>
                <a:gd name="T62" fmla="*/ 320 w 2240"/>
                <a:gd name="T63" fmla="*/ 1280 h 1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40" h="1760">
                  <a:moveTo>
                    <a:pt x="2240" y="1360"/>
                  </a:moveTo>
                  <a:cubicBezTo>
                    <a:pt x="2240" y="1560"/>
                    <a:pt x="2240" y="1560"/>
                    <a:pt x="2240" y="1560"/>
                  </a:cubicBezTo>
                  <a:cubicBezTo>
                    <a:pt x="2240" y="1670"/>
                    <a:pt x="2150" y="1760"/>
                    <a:pt x="2040" y="1760"/>
                  </a:cubicBezTo>
                  <a:cubicBezTo>
                    <a:pt x="200" y="1760"/>
                    <a:pt x="200" y="1760"/>
                    <a:pt x="200" y="1760"/>
                  </a:cubicBezTo>
                  <a:cubicBezTo>
                    <a:pt x="90" y="1760"/>
                    <a:pt x="0" y="1670"/>
                    <a:pt x="0" y="1560"/>
                  </a:cubicBezTo>
                  <a:cubicBezTo>
                    <a:pt x="0" y="1360"/>
                    <a:pt x="0" y="1360"/>
                    <a:pt x="0" y="1360"/>
                  </a:cubicBezTo>
                  <a:cubicBezTo>
                    <a:pt x="747" y="1360"/>
                    <a:pt x="1493" y="1360"/>
                    <a:pt x="2240" y="1360"/>
                  </a:cubicBezTo>
                  <a:close/>
                  <a:moveTo>
                    <a:pt x="160" y="1280"/>
                  </a:moveTo>
                  <a:cubicBezTo>
                    <a:pt x="160" y="120"/>
                    <a:pt x="160" y="120"/>
                    <a:pt x="160" y="120"/>
                  </a:cubicBezTo>
                  <a:cubicBezTo>
                    <a:pt x="160" y="54"/>
                    <a:pt x="214" y="0"/>
                    <a:pt x="280" y="0"/>
                  </a:cubicBezTo>
                  <a:cubicBezTo>
                    <a:pt x="1960" y="0"/>
                    <a:pt x="1960" y="0"/>
                    <a:pt x="1960" y="0"/>
                  </a:cubicBezTo>
                  <a:cubicBezTo>
                    <a:pt x="2026" y="0"/>
                    <a:pt x="2080" y="54"/>
                    <a:pt x="2080" y="120"/>
                  </a:cubicBezTo>
                  <a:cubicBezTo>
                    <a:pt x="2080" y="1280"/>
                    <a:pt x="2080" y="1280"/>
                    <a:pt x="2080" y="1280"/>
                  </a:cubicBezTo>
                  <a:cubicBezTo>
                    <a:pt x="2000" y="1280"/>
                    <a:pt x="2000" y="1280"/>
                    <a:pt x="2000" y="1280"/>
                  </a:cubicBezTo>
                  <a:cubicBezTo>
                    <a:pt x="2000" y="120"/>
                    <a:pt x="2000" y="120"/>
                    <a:pt x="2000" y="120"/>
                  </a:cubicBezTo>
                  <a:cubicBezTo>
                    <a:pt x="2000" y="98"/>
                    <a:pt x="1982" y="80"/>
                    <a:pt x="1960" y="80"/>
                  </a:cubicBezTo>
                  <a:cubicBezTo>
                    <a:pt x="280" y="80"/>
                    <a:pt x="280" y="80"/>
                    <a:pt x="280" y="80"/>
                  </a:cubicBezTo>
                  <a:cubicBezTo>
                    <a:pt x="258" y="80"/>
                    <a:pt x="240" y="98"/>
                    <a:pt x="240" y="120"/>
                  </a:cubicBezTo>
                  <a:cubicBezTo>
                    <a:pt x="240" y="1280"/>
                    <a:pt x="240" y="1280"/>
                    <a:pt x="240" y="1280"/>
                  </a:cubicBezTo>
                  <a:lnTo>
                    <a:pt x="160" y="1280"/>
                  </a:lnTo>
                  <a:close/>
                  <a:moveTo>
                    <a:pt x="960" y="1600"/>
                  </a:moveTo>
                  <a:cubicBezTo>
                    <a:pt x="1280" y="1600"/>
                    <a:pt x="1280" y="1600"/>
                    <a:pt x="1280" y="1600"/>
                  </a:cubicBezTo>
                  <a:cubicBezTo>
                    <a:pt x="1302" y="1600"/>
                    <a:pt x="1320" y="1582"/>
                    <a:pt x="1320" y="1560"/>
                  </a:cubicBezTo>
                  <a:cubicBezTo>
                    <a:pt x="1320" y="1538"/>
                    <a:pt x="1302" y="1520"/>
                    <a:pt x="1280" y="1520"/>
                  </a:cubicBezTo>
                  <a:cubicBezTo>
                    <a:pt x="960" y="1520"/>
                    <a:pt x="960" y="1520"/>
                    <a:pt x="960" y="1520"/>
                  </a:cubicBezTo>
                  <a:cubicBezTo>
                    <a:pt x="938" y="1520"/>
                    <a:pt x="920" y="1538"/>
                    <a:pt x="920" y="1560"/>
                  </a:cubicBezTo>
                  <a:cubicBezTo>
                    <a:pt x="920" y="1582"/>
                    <a:pt x="938" y="1600"/>
                    <a:pt x="960" y="1600"/>
                  </a:cubicBezTo>
                  <a:close/>
                  <a:moveTo>
                    <a:pt x="320" y="1280"/>
                  </a:moveTo>
                  <a:cubicBezTo>
                    <a:pt x="320" y="160"/>
                    <a:pt x="320" y="160"/>
                    <a:pt x="320" y="160"/>
                  </a:cubicBezTo>
                  <a:cubicBezTo>
                    <a:pt x="1920" y="160"/>
                    <a:pt x="1920" y="160"/>
                    <a:pt x="1920" y="160"/>
                  </a:cubicBezTo>
                  <a:cubicBezTo>
                    <a:pt x="1920" y="1280"/>
                    <a:pt x="1920" y="1280"/>
                    <a:pt x="1920" y="1280"/>
                  </a:cubicBezTo>
                  <a:lnTo>
                    <a:pt x="320" y="12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882" tIns="60941" rIns="121882" bIns="609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/>
                <a:ea typeface="+mn-ea"/>
                <a:cs typeface="+mn-cs"/>
              </a:endParaRPr>
            </a:p>
          </p:txBody>
        </p:sp>
        <p:grpSp>
          <p:nvGrpSpPr>
            <p:cNvPr id="135" name="Group 10">
              <a:extLst>
                <a:ext uri="{FF2B5EF4-FFF2-40B4-BE49-F238E27FC236}">
                  <a16:creationId xmlns:a16="http://schemas.microsoft.com/office/drawing/2014/main" id="{6DDFC189-E9F4-7A41-34DB-0AAEBAB987A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auto">
            <a:xfrm>
              <a:off x="5645458" y="4715670"/>
              <a:ext cx="369326" cy="376392"/>
              <a:chOff x="423" y="-885"/>
              <a:chExt cx="4914" cy="5008"/>
            </a:xfrm>
            <a:grpFill/>
          </p:grpSpPr>
          <p:sp>
            <p:nvSpPr>
              <p:cNvPr id="136" name="Freeform 11">
                <a:extLst>
                  <a:ext uri="{FF2B5EF4-FFF2-40B4-BE49-F238E27FC236}">
                    <a16:creationId xmlns:a16="http://schemas.microsoft.com/office/drawing/2014/main" id="{7752D017-7C10-DFEE-19B4-7ABAFE7912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" y="1005"/>
                <a:ext cx="4914" cy="3118"/>
              </a:xfrm>
              <a:custGeom>
                <a:avLst/>
                <a:gdLst>
                  <a:gd name="T0" fmla="*/ 560 w 2080"/>
                  <a:gd name="T1" fmla="*/ 1200 h 1320"/>
                  <a:gd name="T2" fmla="*/ 960 w 2080"/>
                  <a:gd name="T3" fmla="*/ 1200 h 1320"/>
                  <a:gd name="T4" fmla="*/ 960 w 2080"/>
                  <a:gd name="T5" fmla="*/ 1160 h 1320"/>
                  <a:gd name="T6" fmla="*/ 1000 w 2080"/>
                  <a:gd name="T7" fmla="*/ 1160 h 1320"/>
                  <a:gd name="T8" fmla="*/ 1000 w 2080"/>
                  <a:gd name="T9" fmla="*/ 1040 h 1320"/>
                  <a:gd name="T10" fmla="*/ 200 w 2080"/>
                  <a:gd name="T11" fmla="*/ 1040 h 1320"/>
                  <a:gd name="T12" fmla="*/ 0 w 2080"/>
                  <a:gd name="T13" fmla="*/ 840 h 1320"/>
                  <a:gd name="T14" fmla="*/ 0 w 2080"/>
                  <a:gd name="T15" fmla="*/ 200 h 1320"/>
                  <a:gd name="T16" fmla="*/ 200 w 2080"/>
                  <a:gd name="T17" fmla="*/ 0 h 1320"/>
                  <a:gd name="T18" fmla="*/ 1880 w 2080"/>
                  <a:gd name="T19" fmla="*/ 0 h 1320"/>
                  <a:gd name="T20" fmla="*/ 2080 w 2080"/>
                  <a:gd name="T21" fmla="*/ 200 h 1320"/>
                  <a:gd name="T22" fmla="*/ 2080 w 2080"/>
                  <a:gd name="T23" fmla="*/ 840 h 1320"/>
                  <a:gd name="T24" fmla="*/ 1880 w 2080"/>
                  <a:gd name="T25" fmla="*/ 1040 h 1320"/>
                  <a:gd name="T26" fmla="*/ 1080 w 2080"/>
                  <a:gd name="T27" fmla="*/ 1040 h 1320"/>
                  <a:gd name="T28" fmla="*/ 1080 w 2080"/>
                  <a:gd name="T29" fmla="*/ 1160 h 1320"/>
                  <a:gd name="T30" fmla="*/ 1120 w 2080"/>
                  <a:gd name="T31" fmla="*/ 1160 h 1320"/>
                  <a:gd name="T32" fmla="*/ 1120 w 2080"/>
                  <a:gd name="T33" fmla="*/ 1200 h 1320"/>
                  <a:gd name="T34" fmla="*/ 1520 w 2080"/>
                  <a:gd name="T35" fmla="*/ 1200 h 1320"/>
                  <a:gd name="T36" fmla="*/ 1520 w 2080"/>
                  <a:gd name="T37" fmla="*/ 1280 h 1320"/>
                  <a:gd name="T38" fmla="*/ 1120 w 2080"/>
                  <a:gd name="T39" fmla="*/ 1280 h 1320"/>
                  <a:gd name="T40" fmla="*/ 1120 w 2080"/>
                  <a:gd name="T41" fmla="*/ 1320 h 1320"/>
                  <a:gd name="T42" fmla="*/ 960 w 2080"/>
                  <a:gd name="T43" fmla="*/ 1320 h 1320"/>
                  <a:gd name="T44" fmla="*/ 960 w 2080"/>
                  <a:gd name="T45" fmla="*/ 1280 h 1320"/>
                  <a:gd name="T46" fmla="*/ 560 w 2080"/>
                  <a:gd name="T47" fmla="*/ 1280 h 1320"/>
                  <a:gd name="T48" fmla="*/ 560 w 2080"/>
                  <a:gd name="T49" fmla="*/ 1200 h 1320"/>
                  <a:gd name="T50" fmla="*/ 560 w 2080"/>
                  <a:gd name="T51" fmla="*/ 160 h 1320"/>
                  <a:gd name="T52" fmla="*/ 480 w 2080"/>
                  <a:gd name="T53" fmla="*/ 240 h 1320"/>
                  <a:gd name="T54" fmla="*/ 560 w 2080"/>
                  <a:gd name="T55" fmla="*/ 320 h 1320"/>
                  <a:gd name="T56" fmla="*/ 640 w 2080"/>
                  <a:gd name="T57" fmla="*/ 240 h 1320"/>
                  <a:gd name="T58" fmla="*/ 560 w 2080"/>
                  <a:gd name="T59" fmla="*/ 160 h 1320"/>
                  <a:gd name="T60" fmla="*/ 320 w 2080"/>
                  <a:gd name="T61" fmla="*/ 160 h 1320"/>
                  <a:gd name="T62" fmla="*/ 240 w 2080"/>
                  <a:gd name="T63" fmla="*/ 240 h 1320"/>
                  <a:gd name="T64" fmla="*/ 320 w 2080"/>
                  <a:gd name="T65" fmla="*/ 320 h 1320"/>
                  <a:gd name="T66" fmla="*/ 400 w 2080"/>
                  <a:gd name="T67" fmla="*/ 240 h 1320"/>
                  <a:gd name="T68" fmla="*/ 320 w 2080"/>
                  <a:gd name="T69" fmla="*/ 160 h 1320"/>
                  <a:gd name="T70" fmla="*/ 440 w 2080"/>
                  <a:gd name="T71" fmla="*/ 560 h 1320"/>
                  <a:gd name="T72" fmla="*/ 320 w 2080"/>
                  <a:gd name="T73" fmla="*/ 680 h 1320"/>
                  <a:gd name="T74" fmla="*/ 320 w 2080"/>
                  <a:gd name="T75" fmla="*/ 760 h 1320"/>
                  <a:gd name="T76" fmla="*/ 440 w 2080"/>
                  <a:gd name="T77" fmla="*/ 880 h 1320"/>
                  <a:gd name="T78" fmla="*/ 1640 w 2080"/>
                  <a:gd name="T79" fmla="*/ 880 h 1320"/>
                  <a:gd name="T80" fmla="*/ 1760 w 2080"/>
                  <a:gd name="T81" fmla="*/ 760 h 1320"/>
                  <a:gd name="T82" fmla="*/ 1760 w 2080"/>
                  <a:gd name="T83" fmla="*/ 680 h 1320"/>
                  <a:gd name="T84" fmla="*/ 1640 w 2080"/>
                  <a:gd name="T85" fmla="*/ 560 h 1320"/>
                  <a:gd name="T86" fmla="*/ 440 w 2080"/>
                  <a:gd name="T87" fmla="*/ 560 h 1320"/>
                  <a:gd name="T88" fmla="*/ 400 w 2080"/>
                  <a:gd name="T89" fmla="*/ 720 h 1320"/>
                  <a:gd name="T90" fmla="*/ 1680 w 2080"/>
                  <a:gd name="T91" fmla="*/ 720 h 1320"/>
                  <a:gd name="T92" fmla="*/ 1680 w 2080"/>
                  <a:gd name="T93" fmla="*/ 760 h 1320"/>
                  <a:gd name="T94" fmla="*/ 1640 w 2080"/>
                  <a:gd name="T95" fmla="*/ 800 h 1320"/>
                  <a:gd name="T96" fmla="*/ 440 w 2080"/>
                  <a:gd name="T97" fmla="*/ 800 h 1320"/>
                  <a:gd name="T98" fmla="*/ 400 w 2080"/>
                  <a:gd name="T99" fmla="*/ 760 h 1320"/>
                  <a:gd name="T100" fmla="*/ 400 w 2080"/>
                  <a:gd name="T101" fmla="*/ 720 h 1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080" h="1320">
                    <a:moveTo>
                      <a:pt x="560" y="1200"/>
                    </a:moveTo>
                    <a:cubicBezTo>
                      <a:pt x="960" y="1200"/>
                      <a:pt x="960" y="1200"/>
                      <a:pt x="960" y="1200"/>
                    </a:cubicBezTo>
                    <a:cubicBezTo>
                      <a:pt x="960" y="1160"/>
                      <a:pt x="960" y="1160"/>
                      <a:pt x="960" y="1160"/>
                    </a:cubicBezTo>
                    <a:cubicBezTo>
                      <a:pt x="1000" y="1160"/>
                      <a:pt x="1000" y="1160"/>
                      <a:pt x="1000" y="1160"/>
                    </a:cubicBezTo>
                    <a:cubicBezTo>
                      <a:pt x="1000" y="1040"/>
                      <a:pt x="1000" y="1040"/>
                      <a:pt x="1000" y="1040"/>
                    </a:cubicBezTo>
                    <a:cubicBezTo>
                      <a:pt x="200" y="1040"/>
                      <a:pt x="200" y="1040"/>
                      <a:pt x="200" y="1040"/>
                    </a:cubicBezTo>
                    <a:cubicBezTo>
                      <a:pt x="90" y="1040"/>
                      <a:pt x="0" y="950"/>
                      <a:pt x="0" y="840"/>
                    </a:cubicBezTo>
                    <a:cubicBezTo>
                      <a:pt x="0" y="200"/>
                      <a:pt x="0" y="200"/>
                      <a:pt x="0" y="200"/>
                    </a:cubicBezTo>
                    <a:cubicBezTo>
                      <a:pt x="0" y="90"/>
                      <a:pt x="90" y="0"/>
                      <a:pt x="200" y="0"/>
                    </a:cubicBezTo>
                    <a:cubicBezTo>
                      <a:pt x="1880" y="0"/>
                      <a:pt x="1880" y="0"/>
                      <a:pt x="1880" y="0"/>
                    </a:cubicBezTo>
                    <a:cubicBezTo>
                      <a:pt x="1990" y="0"/>
                      <a:pt x="2080" y="90"/>
                      <a:pt x="2080" y="200"/>
                    </a:cubicBezTo>
                    <a:cubicBezTo>
                      <a:pt x="2080" y="840"/>
                      <a:pt x="2080" y="840"/>
                      <a:pt x="2080" y="840"/>
                    </a:cubicBezTo>
                    <a:cubicBezTo>
                      <a:pt x="2080" y="950"/>
                      <a:pt x="1990" y="1040"/>
                      <a:pt x="1880" y="1040"/>
                    </a:cubicBezTo>
                    <a:cubicBezTo>
                      <a:pt x="1080" y="1040"/>
                      <a:pt x="1080" y="1040"/>
                      <a:pt x="1080" y="1040"/>
                    </a:cubicBezTo>
                    <a:cubicBezTo>
                      <a:pt x="1080" y="1160"/>
                      <a:pt x="1080" y="1160"/>
                      <a:pt x="1080" y="1160"/>
                    </a:cubicBezTo>
                    <a:cubicBezTo>
                      <a:pt x="1120" y="1160"/>
                      <a:pt x="1120" y="1160"/>
                      <a:pt x="1120" y="1160"/>
                    </a:cubicBezTo>
                    <a:cubicBezTo>
                      <a:pt x="1120" y="1200"/>
                      <a:pt x="1120" y="1200"/>
                      <a:pt x="1120" y="1200"/>
                    </a:cubicBezTo>
                    <a:cubicBezTo>
                      <a:pt x="1520" y="1200"/>
                      <a:pt x="1520" y="1200"/>
                      <a:pt x="1520" y="1200"/>
                    </a:cubicBezTo>
                    <a:cubicBezTo>
                      <a:pt x="1520" y="1280"/>
                      <a:pt x="1520" y="1280"/>
                      <a:pt x="1520" y="1280"/>
                    </a:cubicBezTo>
                    <a:cubicBezTo>
                      <a:pt x="1120" y="1280"/>
                      <a:pt x="1120" y="1280"/>
                      <a:pt x="1120" y="1280"/>
                    </a:cubicBezTo>
                    <a:cubicBezTo>
                      <a:pt x="1120" y="1320"/>
                      <a:pt x="1120" y="1320"/>
                      <a:pt x="1120" y="1320"/>
                    </a:cubicBezTo>
                    <a:cubicBezTo>
                      <a:pt x="1066" y="1320"/>
                      <a:pt x="1013" y="1320"/>
                      <a:pt x="960" y="1320"/>
                    </a:cubicBezTo>
                    <a:cubicBezTo>
                      <a:pt x="960" y="1280"/>
                      <a:pt x="960" y="1280"/>
                      <a:pt x="960" y="1280"/>
                    </a:cubicBezTo>
                    <a:cubicBezTo>
                      <a:pt x="560" y="1280"/>
                      <a:pt x="560" y="1280"/>
                      <a:pt x="560" y="1280"/>
                    </a:cubicBezTo>
                    <a:lnTo>
                      <a:pt x="560" y="1200"/>
                    </a:lnTo>
                    <a:close/>
                    <a:moveTo>
                      <a:pt x="560" y="160"/>
                    </a:moveTo>
                    <a:cubicBezTo>
                      <a:pt x="516" y="160"/>
                      <a:pt x="480" y="196"/>
                      <a:pt x="480" y="240"/>
                    </a:cubicBezTo>
                    <a:cubicBezTo>
                      <a:pt x="480" y="284"/>
                      <a:pt x="516" y="320"/>
                      <a:pt x="560" y="320"/>
                    </a:cubicBezTo>
                    <a:cubicBezTo>
                      <a:pt x="604" y="320"/>
                      <a:pt x="640" y="284"/>
                      <a:pt x="640" y="240"/>
                    </a:cubicBezTo>
                    <a:cubicBezTo>
                      <a:pt x="640" y="196"/>
                      <a:pt x="604" y="160"/>
                      <a:pt x="560" y="160"/>
                    </a:cubicBezTo>
                    <a:close/>
                    <a:moveTo>
                      <a:pt x="320" y="160"/>
                    </a:moveTo>
                    <a:cubicBezTo>
                      <a:pt x="276" y="160"/>
                      <a:pt x="240" y="196"/>
                      <a:pt x="240" y="240"/>
                    </a:cubicBezTo>
                    <a:cubicBezTo>
                      <a:pt x="240" y="284"/>
                      <a:pt x="276" y="320"/>
                      <a:pt x="320" y="320"/>
                    </a:cubicBezTo>
                    <a:cubicBezTo>
                      <a:pt x="364" y="320"/>
                      <a:pt x="400" y="284"/>
                      <a:pt x="400" y="240"/>
                    </a:cubicBezTo>
                    <a:cubicBezTo>
                      <a:pt x="400" y="196"/>
                      <a:pt x="364" y="160"/>
                      <a:pt x="320" y="160"/>
                    </a:cubicBezTo>
                    <a:close/>
                    <a:moveTo>
                      <a:pt x="440" y="560"/>
                    </a:moveTo>
                    <a:cubicBezTo>
                      <a:pt x="374" y="560"/>
                      <a:pt x="320" y="614"/>
                      <a:pt x="320" y="680"/>
                    </a:cubicBezTo>
                    <a:cubicBezTo>
                      <a:pt x="320" y="760"/>
                      <a:pt x="320" y="760"/>
                      <a:pt x="320" y="760"/>
                    </a:cubicBezTo>
                    <a:cubicBezTo>
                      <a:pt x="320" y="826"/>
                      <a:pt x="374" y="880"/>
                      <a:pt x="440" y="880"/>
                    </a:cubicBezTo>
                    <a:cubicBezTo>
                      <a:pt x="1640" y="880"/>
                      <a:pt x="1640" y="880"/>
                      <a:pt x="1640" y="880"/>
                    </a:cubicBezTo>
                    <a:cubicBezTo>
                      <a:pt x="1706" y="880"/>
                      <a:pt x="1760" y="826"/>
                      <a:pt x="1760" y="760"/>
                    </a:cubicBezTo>
                    <a:cubicBezTo>
                      <a:pt x="1760" y="680"/>
                      <a:pt x="1760" y="680"/>
                      <a:pt x="1760" y="680"/>
                    </a:cubicBezTo>
                    <a:cubicBezTo>
                      <a:pt x="1760" y="614"/>
                      <a:pt x="1706" y="560"/>
                      <a:pt x="1640" y="560"/>
                    </a:cubicBezTo>
                    <a:lnTo>
                      <a:pt x="440" y="560"/>
                    </a:lnTo>
                    <a:close/>
                    <a:moveTo>
                      <a:pt x="400" y="720"/>
                    </a:moveTo>
                    <a:cubicBezTo>
                      <a:pt x="1680" y="720"/>
                      <a:pt x="1680" y="720"/>
                      <a:pt x="1680" y="720"/>
                    </a:cubicBezTo>
                    <a:cubicBezTo>
                      <a:pt x="1680" y="760"/>
                      <a:pt x="1680" y="760"/>
                      <a:pt x="1680" y="760"/>
                    </a:cubicBezTo>
                    <a:cubicBezTo>
                      <a:pt x="1680" y="782"/>
                      <a:pt x="1662" y="800"/>
                      <a:pt x="1640" y="800"/>
                    </a:cubicBezTo>
                    <a:cubicBezTo>
                      <a:pt x="440" y="800"/>
                      <a:pt x="440" y="800"/>
                      <a:pt x="440" y="800"/>
                    </a:cubicBezTo>
                    <a:cubicBezTo>
                      <a:pt x="418" y="800"/>
                      <a:pt x="400" y="782"/>
                      <a:pt x="400" y="760"/>
                    </a:cubicBezTo>
                    <a:lnTo>
                      <a:pt x="400" y="7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dk1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2" tIns="60941" rIns="121882" bIns="609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1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3B4145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endParaRPr>
              </a:p>
            </p:txBody>
          </p:sp>
          <p:sp>
            <p:nvSpPr>
              <p:cNvPr id="137" name="Freeform 12">
                <a:extLst>
                  <a:ext uri="{FF2B5EF4-FFF2-40B4-BE49-F238E27FC236}">
                    <a16:creationId xmlns:a16="http://schemas.microsoft.com/office/drawing/2014/main" id="{CAA7C84A-2637-1C04-2700-111CA79221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68" y="-885"/>
                <a:ext cx="3024" cy="1701"/>
              </a:xfrm>
              <a:custGeom>
                <a:avLst/>
                <a:gdLst>
                  <a:gd name="T0" fmla="*/ 567 w 3024"/>
                  <a:gd name="T1" fmla="*/ 1323 h 1701"/>
                  <a:gd name="T2" fmla="*/ 2457 w 3024"/>
                  <a:gd name="T3" fmla="*/ 1323 h 1701"/>
                  <a:gd name="T4" fmla="*/ 2457 w 3024"/>
                  <a:gd name="T5" fmla="*/ 1512 h 1701"/>
                  <a:gd name="T6" fmla="*/ 567 w 3024"/>
                  <a:gd name="T7" fmla="*/ 1512 h 1701"/>
                  <a:gd name="T8" fmla="*/ 567 w 3024"/>
                  <a:gd name="T9" fmla="*/ 1323 h 1701"/>
                  <a:gd name="T10" fmla="*/ 567 w 3024"/>
                  <a:gd name="T11" fmla="*/ 945 h 1701"/>
                  <a:gd name="T12" fmla="*/ 2457 w 3024"/>
                  <a:gd name="T13" fmla="*/ 945 h 1701"/>
                  <a:gd name="T14" fmla="*/ 2457 w 3024"/>
                  <a:gd name="T15" fmla="*/ 1134 h 1701"/>
                  <a:gd name="T16" fmla="*/ 567 w 3024"/>
                  <a:gd name="T17" fmla="*/ 1134 h 1701"/>
                  <a:gd name="T18" fmla="*/ 567 w 3024"/>
                  <a:gd name="T19" fmla="*/ 945 h 1701"/>
                  <a:gd name="T20" fmla="*/ 567 w 3024"/>
                  <a:gd name="T21" fmla="*/ 567 h 1701"/>
                  <a:gd name="T22" fmla="*/ 2457 w 3024"/>
                  <a:gd name="T23" fmla="*/ 567 h 1701"/>
                  <a:gd name="T24" fmla="*/ 2457 w 3024"/>
                  <a:gd name="T25" fmla="*/ 756 h 1701"/>
                  <a:gd name="T26" fmla="*/ 567 w 3024"/>
                  <a:gd name="T27" fmla="*/ 756 h 1701"/>
                  <a:gd name="T28" fmla="*/ 567 w 3024"/>
                  <a:gd name="T29" fmla="*/ 567 h 1701"/>
                  <a:gd name="T30" fmla="*/ 3024 w 3024"/>
                  <a:gd name="T31" fmla="*/ 0 h 1701"/>
                  <a:gd name="T32" fmla="*/ 3024 w 3024"/>
                  <a:gd name="T33" fmla="*/ 1701 h 1701"/>
                  <a:gd name="T34" fmla="*/ 2835 w 3024"/>
                  <a:gd name="T35" fmla="*/ 1701 h 1701"/>
                  <a:gd name="T36" fmla="*/ 2835 w 3024"/>
                  <a:gd name="T37" fmla="*/ 189 h 1701"/>
                  <a:gd name="T38" fmla="*/ 189 w 3024"/>
                  <a:gd name="T39" fmla="*/ 189 h 1701"/>
                  <a:gd name="T40" fmla="*/ 189 w 3024"/>
                  <a:gd name="T41" fmla="*/ 1701 h 1701"/>
                  <a:gd name="T42" fmla="*/ 0 w 3024"/>
                  <a:gd name="T43" fmla="*/ 1701 h 1701"/>
                  <a:gd name="T44" fmla="*/ 0 w 3024"/>
                  <a:gd name="T45" fmla="*/ 0 h 1701"/>
                  <a:gd name="T46" fmla="*/ 3024 w 3024"/>
                  <a:gd name="T47" fmla="*/ 0 h 17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024" h="1701">
                    <a:moveTo>
                      <a:pt x="567" y="1323"/>
                    </a:moveTo>
                    <a:lnTo>
                      <a:pt x="2457" y="1323"/>
                    </a:lnTo>
                    <a:lnTo>
                      <a:pt x="2457" y="1512"/>
                    </a:lnTo>
                    <a:lnTo>
                      <a:pt x="567" y="1512"/>
                    </a:lnTo>
                    <a:lnTo>
                      <a:pt x="567" y="1323"/>
                    </a:lnTo>
                    <a:close/>
                    <a:moveTo>
                      <a:pt x="567" y="945"/>
                    </a:moveTo>
                    <a:lnTo>
                      <a:pt x="2457" y="945"/>
                    </a:lnTo>
                    <a:lnTo>
                      <a:pt x="2457" y="1134"/>
                    </a:lnTo>
                    <a:lnTo>
                      <a:pt x="567" y="1134"/>
                    </a:lnTo>
                    <a:lnTo>
                      <a:pt x="567" y="945"/>
                    </a:lnTo>
                    <a:close/>
                    <a:moveTo>
                      <a:pt x="567" y="567"/>
                    </a:moveTo>
                    <a:lnTo>
                      <a:pt x="2457" y="567"/>
                    </a:lnTo>
                    <a:lnTo>
                      <a:pt x="2457" y="756"/>
                    </a:lnTo>
                    <a:lnTo>
                      <a:pt x="567" y="756"/>
                    </a:lnTo>
                    <a:lnTo>
                      <a:pt x="567" y="567"/>
                    </a:lnTo>
                    <a:close/>
                    <a:moveTo>
                      <a:pt x="3024" y="0"/>
                    </a:moveTo>
                    <a:lnTo>
                      <a:pt x="3024" y="1701"/>
                    </a:lnTo>
                    <a:lnTo>
                      <a:pt x="2835" y="1701"/>
                    </a:lnTo>
                    <a:lnTo>
                      <a:pt x="2835" y="189"/>
                    </a:lnTo>
                    <a:lnTo>
                      <a:pt x="189" y="189"/>
                    </a:lnTo>
                    <a:lnTo>
                      <a:pt x="189" y="1701"/>
                    </a:lnTo>
                    <a:lnTo>
                      <a:pt x="0" y="1701"/>
                    </a:lnTo>
                    <a:lnTo>
                      <a:pt x="0" y="0"/>
                    </a:lnTo>
                    <a:lnTo>
                      <a:pt x="30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dk1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2" tIns="60941" rIns="121882" bIns="609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1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3B4145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endParaRPr>
              </a:p>
            </p:txBody>
          </p:sp>
        </p:grpSp>
      </p:grpSp>
      <p:sp>
        <p:nvSpPr>
          <p:cNvPr id="138" name="Rechteck 44">
            <a:extLst>
              <a:ext uri="{FF2B5EF4-FFF2-40B4-BE49-F238E27FC236}">
                <a16:creationId xmlns:a16="http://schemas.microsoft.com/office/drawing/2014/main" id="{3F4DB303-58F1-A2EE-6AE2-A120DBA7F640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5279430" y="5279271"/>
            <a:ext cx="1748587" cy="384177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874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60A45">
                    <a:lumMod val="50000"/>
                    <a:lumOff val="50000"/>
                  </a:srgbClr>
                </a:solidFill>
                <a:effectLst/>
                <a:uLnTx/>
                <a:uFillTx/>
                <a:latin typeface="Lato"/>
                <a:ea typeface="+mn-ea"/>
                <a:cs typeface="Arial" pitchFamily="34" charset="0"/>
              </a:rPr>
              <a:t>CE &amp; Photo </a:t>
            </a:r>
          </a:p>
        </p:txBody>
      </p: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137D549A-AA4E-9BAD-B5BD-A256C3DF502C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5676408" y="4771912"/>
            <a:ext cx="954631" cy="373687"/>
            <a:chOff x="6878169" y="4721709"/>
            <a:chExt cx="954925" cy="373802"/>
          </a:xfrm>
          <a:solidFill>
            <a:schemeClr val="tx2">
              <a:lumMod val="50000"/>
              <a:lumOff val="50000"/>
            </a:schemeClr>
          </a:solidFill>
        </p:grpSpPr>
        <p:sp>
          <p:nvSpPr>
            <p:cNvPr id="140" name="Freeform 26">
              <a:extLst>
                <a:ext uri="{FF2B5EF4-FFF2-40B4-BE49-F238E27FC236}">
                  <a16:creationId xmlns:a16="http://schemas.microsoft.com/office/drawing/2014/main" id="{5CB0F279-19C9-4C51-4E4D-0F7F6F52F1D0}"/>
                </a:ext>
              </a:extLst>
            </p:cNvPr>
            <p:cNvSpPr>
              <a:spLocks noChangeAspect="1" noEditPoints="1"/>
            </p:cNvSpPr>
            <p:nvPr>
              <p:custDataLst>
                <p:tags r:id="rId23"/>
              </p:custDataLst>
            </p:nvPr>
          </p:nvSpPr>
          <p:spPr bwMode="auto">
            <a:xfrm>
              <a:off x="7411694" y="4751702"/>
              <a:ext cx="421400" cy="340360"/>
            </a:xfrm>
            <a:custGeom>
              <a:avLst/>
              <a:gdLst>
                <a:gd name="T0" fmla="*/ 560 w 2080"/>
                <a:gd name="T1" fmla="*/ 240 h 1680"/>
                <a:gd name="T2" fmla="*/ 640 w 2080"/>
                <a:gd name="T3" fmla="*/ 160 h 1680"/>
                <a:gd name="T4" fmla="*/ 800 w 2080"/>
                <a:gd name="T5" fmla="*/ 0 h 1680"/>
                <a:gd name="T6" fmla="*/ 1280 w 2080"/>
                <a:gd name="T7" fmla="*/ 0 h 1680"/>
                <a:gd name="T8" fmla="*/ 1440 w 2080"/>
                <a:gd name="T9" fmla="*/ 160 h 1680"/>
                <a:gd name="T10" fmla="*/ 1520 w 2080"/>
                <a:gd name="T11" fmla="*/ 240 h 1680"/>
                <a:gd name="T12" fmla="*/ 1920 w 2080"/>
                <a:gd name="T13" fmla="*/ 240 h 1680"/>
                <a:gd name="T14" fmla="*/ 2080 w 2080"/>
                <a:gd name="T15" fmla="*/ 400 h 1680"/>
                <a:gd name="T16" fmla="*/ 2080 w 2080"/>
                <a:gd name="T17" fmla="*/ 1520 h 1680"/>
                <a:gd name="T18" fmla="*/ 1920 w 2080"/>
                <a:gd name="T19" fmla="*/ 1680 h 1680"/>
                <a:gd name="T20" fmla="*/ 160 w 2080"/>
                <a:gd name="T21" fmla="*/ 1680 h 1680"/>
                <a:gd name="T22" fmla="*/ 0 w 2080"/>
                <a:gd name="T23" fmla="*/ 1520 h 1680"/>
                <a:gd name="T24" fmla="*/ 0 w 2080"/>
                <a:gd name="T25" fmla="*/ 400 h 1680"/>
                <a:gd name="T26" fmla="*/ 160 w 2080"/>
                <a:gd name="T27" fmla="*/ 240 h 1680"/>
                <a:gd name="T28" fmla="*/ 560 w 2080"/>
                <a:gd name="T29" fmla="*/ 240 h 1680"/>
                <a:gd name="T30" fmla="*/ 1400 w 2080"/>
                <a:gd name="T31" fmla="*/ 920 h 1680"/>
                <a:gd name="T32" fmla="*/ 1320 w 2080"/>
                <a:gd name="T33" fmla="*/ 920 h 1680"/>
                <a:gd name="T34" fmla="*/ 1040 w 2080"/>
                <a:gd name="T35" fmla="*/ 1200 h 1680"/>
                <a:gd name="T36" fmla="*/ 1040 w 2080"/>
                <a:gd name="T37" fmla="*/ 1280 h 1680"/>
                <a:gd name="T38" fmla="*/ 1400 w 2080"/>
                <a:gd name="T39" fmla="*/ 920 h 1680"/>
                <a:gd name="T40" fmla="*/ 800 w 2080"/>
                <a:gd name="T41" fmla="*/ 160 h 1680"/>
                <a:gd name="T42" fmla="*/ 800 w 2080"/>
                <a:gd name="T43" fmla="*/ 240 h 1680"/>
                <a:gd name="T44" fmla="*/ 1280 w 2080"/>
                <a:gd name="T45" fmla="*/ 240 h 1680"/>
                <a:gd name="T46" fmla="*/ 1280 w 2080"/>
                <a:gd name="T47" fmla="*/ 160 h 1680"/>
                <a:gd name="T48" fmla="*/ 800 w 2080"/>
                <a:gd name="T49" fmla="*/ 160 h 1680"/>
                <a:gd name="T50" fmla="*/ 1760 w 2080"/>
                <a:gd name="T51" fmla="*/ 440 h 1680"/>
                <a:gd name="T52" fmla="*/ 1640 w 2080"/>
                <a:gd name="T53" fmla="*/ 560 h 1680"/>
                <a:gd name="T54" fmla="*/ 1760 w 2080"/>
                <a:gd name="T55" fmla="*/ 680 h 1680"/>
                <a:gd name="T56" fmla="*/ 1880 w 2080"/>
                <a:gd name="T57" fmla="*/ 560 h 1680"/>
                <a:gd name="T58" fmla="*/ 1760 w 2080"/>
                <a:gd name="T59" fmla="*/ 440 h 1680"/>
                <a:gd name="T60" fmla="*/ 1040 w 2080"/>
                <a:gd name="T61" fmla="*/ 400 h 1680"/>
                <a:gd name="T62" fmla="*/ 520 w 2080"/>
                <a:gd name="T63" fmla="*/ 920 h 1680"/>
                <a:gd name="T64" fmla="*/ 1040 w 2080"/>
                <a:gd name="T65" fmla="*/ 1440 h 1680"/>
                <a:gd name="T66" fmla="*/ 1560 w 2080"/>
                <a:gd name="T67" fmla="*/ 920 h 1680"/>
                <a:gd name="T68" fmla="*/ 1040 w 2080"/>
                <a:gd name="T69" fmla="*/ 400 h 1680"/>
                <a:gd name="T70" fmla="*/ 1040 w 2080"/>
                <a:gd name="T71" fmla="*/ 480 h 1680"/>
                <a:gd name="T72" fmla="*/ 1480 w 2080"/>
                <a:gd name="T73" fmla="*/ 920 h 1680"/>
                <a:gd name="T74" fmla="*/ 1040 w 2080"/>
                <a:gd name="T75" fmla="*/ 1360 h 1680"/>
                <a:gd name="T76" fmla="*/ 600 w 2080"/>
                <a:gd name="T77" fmla="*/ 920 h 1680"/>
                <a:gd name="T78" fmla="*/ 1040 w 2080"/>
                <a:gd name="T79" fmla="*/ 480 h 1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80" h="1680">
                  <a:moveTo>
                    <a:pt x="560" y="240"/>
                  </a:moveTo>
                  <a:cubicBezTo>
                    <a:pt x="604" y="240"/>
                    <a:pt x="640" y="204"/>
                    <a:pt x="640" y="160"/>
                  </a:cubicBezTo>
                  <a:cubicBezTo>
                    <a:pt x="640" y="72"/>
                    <a:pt x="712" y="0"/>
                    <a:pt x="800" y="0"/>
                  </a:cubicBezTo>
                  <a:cubicBezTo>
                    <a:pt x="1280" y="0"/>
                    <a:pt x="1280" y="0"/>
                    <a:pt x="1280" y="0"/>
                  </a:cubicBezTo>
                  <a:cubicBezTo>
                    <a:pt x="1368" y="0"/>
                    <a:pt x="1440" y="72"/>
                    <a:pt x="1440" y="160"/>
                  </a:cubicBezTo>
                  <a:cubicBezTo>
                    <a:pt x="1440" y="204"/>
                    <a:pt x="1476" y="240"/>
                    <a:pt x="1520" y="240"/>
                  </a:cubicBezTo>
                  <a:cubicBezTo>
                    <a:pt x="1920" y="240"/>
                    <a:pt x="1920" y="240"/>
                    <a:pt x="1920" y="240"/>
                  </a:cubicBezTo>
                  <a:cubicBezTo>
                    <a:pt x="2008" y="240"/>
                    <a:pt x="2080" y="312"/>
                    <a:pt x="2080" y="400"/>
                  </a:cubicBezTo>
                  <a:cubicBezTo>
                    <a:pt x="2080" y="1520"/>
                    <a:pt x="2080" y="1520"/>
                    <a:pt x="2080" y="1520"/>
                  </a:cubicBezTo>
                  <a:cubicBezTo>
                    <a:pt x="2080" y="1608"/>
                    <a:pt x="2008" y="1680"/>
                    <a:pt x="1920" y="1680"/>
                  </a:cubicBezTo>
                  <a:cubicBezTo>
                    <a:pt x="160" y="1680"/>
                    <a:pt x="160" y="1680"/>
                    <a:pt x="160" y="1680"/>
                  </a:cubicBezTo>
                  <a:cubicBezTo>
                    <a:pt x="72" y="1680"/>
                    <a:pt x="0" y="1608"/>
                    <a:pt x="0" y="1520"/>
                  </a:cubicBezTo>
                  <a:cubicBezTo>
                    <a:pt x="0" y="400"/>
                    <a:pt x="0" y="400"/>
                    <a:pt x="0" y="400"/>
                  </a:cubicBezTo>
                  <a:cubicBezTo>
                    <a:pt x="0" y="312"/>
                    <a:pt x="72" y="240"/>
                    <a:pt x="160" y="240"/>
                  </a:cubicBezTo>
                  <a:lnTo>
                    <a:pt x="560" y="240"/>
                  </a:lnTo>
                  <a:close/>
                  <a:moveTo>
                    <a:pt x="1400" y="920"/>
                  </a:moveTo>
                  <a:cubicBezTo>
                    <a:pt x="1320" y="920"/>
                    <a:pt x="1320" y="920"/>
                    <a:pt x="1320" y="920"/>
                  </a:cubicBezTo>
                  <a:cubicBezTo>
                    <a:pt x="1320" y="1075"/>
                    <a:pt x="1195" y="1200"/>
                    <a:pt x="1040" y="1200"/>
                  </a:cubicBezTo>
                  <a:cubicBezTo>
                    <a:pt x="1040" y="1280"/>
                    <a:pt x="1040" y="1280"/>
                    <a:pt x="1040" y="1280"/>
                  </a:cubicBezTo>
                  <a:cubicBezTo>
                    <a:pt x="1239" y="1280"/>
                    <a:pt x="1400" y="1119"/>
                    <a:pt x="1400" y="920"/>
                  </a:cubicBezTo>
                  <a:close/>
                  <a:moveTo>
                    <a:pt x="800" y="160"/>
                  </a:moveTo>
                  <a:cubicBezTo>
                    <a:pt x="800" y="240"/>
                    <a:pt x="800" y="240"/>
                    <a:pt x="800" y="240"/>
                  </a:cubicBezTo>
                  <a:cubicBezTo>
                    <a:pt x="1280" y="240"/>
                    <a:pt x="1280" y="240"/>
                    <a:pt x="1280" y="240"/>
                  </a:cubicBezTo>
                  <a:cubicBezTo>
                    <a:pt x="1280" y="160"/>
                    <a:pt x="1280" y="160"/>
                    <a:pt x="1280" y="160"/>
                  </a:cubicBezTo>
                  <a:lnTo>
                    <a:pt x="800" y="160"/>
                  </a:lnTo>
                  <a:close/>
                  <a:moveTo>
                    <a:pt x="1760" y="440"/>
                  </a:moveTo>
                  <a:cubicBezTo>
                    <a:pt x="1694" y="440"/>
                    <a:pt x="1640" y="494"/>
                    <a:pt x="1640" y="560"/>
                  </a:cubicBezTo>
                  <a:cubicBezTo>
                    <a:pt x="1640" y="626"/>
                    <a:pt x="1694" y="680"/>
                    <a:pt x="1760" y="680"/>
                  </a:cubicBezTo>
                  <a:cubicBezTo>
                    <a:pt x="1826" y="680"/>
                    <a:pt x="1880" y="626"/>
                    <a:pt x="1880" y="560"/>
                  </a:cubicBezTo>
                  <a:cubicBezTo>
                    <a:pt x="1880" y="494"/>
                    <a:pt x="1826" y="440"/>
                    <a:pt x="1760" y="440"/>
                  </a:cubicBezTo>
                  <a:close/>
                  <a:moveTo>
                    <a:pt x="1040" y="400"/>
                  </a:moveTo>
                  <a:cubicBezTo>
                    <a:pt x="753" y="400"/>
                    <a:pt x="520" y="633"/>
                    <a:pt x="520" y="920"/>
                  </a:cubicBezTo>
                  <a:cubicBezTo>
                    <a:pt x="520" y="1207"/>
                    <a:pt x="753" y="1440"/>
                    <a:pt x="1040" y="1440"/>
                  </a:cubicBezTo>
                  <a:cubicBezTo>
                    <a:pt x="1327" y="1440"/>
                    <a:pt x="1560" y="1207"/>
                    <a:pt x="1560" y="920"/>
                  </a:cubicBezTo>
                  <a:cubicBezTo>
                    <a:pt x="1560" y="633"/>
                    <a:pt x="1327" y="400"/>
                    <a:pt x="1040" y="400"/>
                  </a:cubicBezTo>
                  <a:close/>
                  <a:moveTo>
                    <a:pt x="1040" y="480"/>
                  </a:moveTo>
                  <a:cubicBezTo>
                    <a:pt x="1283" y="480"/>
                    <a:pt x="1480" y="677"/>
                    <a:pt x="1480" y="920"/>
                  </a:cubicBezTo>
                  <a:cubicBezTo>
                    <a:pt x="1480" y="1163"/>
                    <a:pt x="1283" y="1360"/>
                    <a:pt x="1040" y="1360"/>
                  </a:cubicBezTo>
                  <a:cubicBezTo>
                    <a:pt x="797" y="1360"/>
                    <a:pt x="600" y="1163"/>
                    <a:pt x="600" y="920"/>
                  </a:cubicBezTo>
                  <a:cubicBezTo>
                    <a:pt x="600" y="677"/>
                    <a:pt x="797" y="480"/>
                    <a:pt x="1040" y="48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882" tIns="60941" rIns="121882" bIns="609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3B4145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41" name="Freeform 55">
              <a:extLst>
                <a:ext uri="{FF2B5EF4-FFF2-40B4-BE49-F238E27FC236}">
                  <a16:creationId xmlns:a16="http://schemas.microsoft.com/office/drawing/2014/main" id="{F300039A-52B5-3AA5-51E9-E8199180C881}"/>
                </a:ext>
              </a:extLst>
            </p:cNvPr>
            <p:cNvSpPr>
              <a:spLocks noChangeAspect="1" noEditPoints="1"/>
            </p:cNvSpPr>
            <p:nvPr>
              <p:custDataLst>
                <p:tags r:id="rId24"/>
              </p:custDataLst>
            </p:nvPr>
          </p:nvSpPr>
          <p:spPr bwMode="auto">
            <a:xfrm>
              <a:off x="6878169" y="4721709"/>
              <a:ext cx="441765" cy="373802"/>
            </a:xfrm>
            <a:custGeom>
              <a:avLst/>
              <a:gdLst>
                <a:gd name="T0" fmla="*/ 2080 w 2080"/>
                <a:gd name="T1" fmla="*/ 0 h 1760"/>
                <a:gd name="T2" fmla="*/ 2080 w 2080"/>
                <a:gd name="T3" fmla="*/ 1440 h 1760"/>
                <a:gd name="T4" fmla="*/ 0 w 2080"/>
                <a:gd name="T5" fmla="*/ 1440 h 1760"/>
                <a:gd name="T6" fmla="*/ 0 w 2080"/>
                <a:gd name="T7" fmla="*/ 0 h 1760"/>
                <a:gd name="T8" fmla="*/ 2080 w 2080"/>
                <a:gd name="T9" fmla="*/ 0 h 1760"/>
                <a:gd name="T10" fmla="*/ 400 w 2080"/>
                <a:gd name="T11" fmla="*/ 1680 h 1760"/>
                <a:gd name="T12" fmla="*/ 880 w 2080"/>
                <a:gd name="T13" fmla="*/ 1680 h 1760"/>
                <a:gd name="T14" fmla="*/ 880 w 2080"/>
                <a:gd name="T15" fmla="*/ 1520 h 1760"/>
                <a:gd name="T16" fmla="*/ 1200 w 2080"/>
                <a:gd name="T17" fmla="*/ 1520 h 1760"/>
                <a:gd name="T18" fmla="*/ 1200 w 2080"/>
                <a:gd name="T19" fmla="*/ 1680 h 1760"/>
                <a:gd name="T20" fmla="*/ 1680 w 2080"/>
                <a:gd name="T21" fmla="*/ 1680 h 1760"/>
                <a:gd name="T22" fmla="*/ 1680 w 2080"/>
                <a:gd name="T23" fmla="*/ 1760 h 1760"/>
                <a:gd name="T24" fmla="*/ 400 w 2080"/>
                <a:gd name="T25" fmla="*/ 1760 h 1760"/>
                <a:gd name="T26" fmla="*/ 400 w 2080"/>
                <a:gd name="T27" fmla="*/ 1680 h 1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80" h="1760">
                  <a:moveTo>
                    <a:pt x="2080" y="0"/>
                  </a:moveTo>
                  <a:cubicBezTo>
                    <a:pt x="2080" y="1440"/>
                    <a:pt x="2080" y="1440"/>
                    <a:pt x="2080" y="1440"/>
                  </a:cubicBezTo>
                  <a:cubicBezTo>
                    <a:pt x="0" y="1440"/>
                    <a:pt x="0" y="1440"/>
                    <a:pt x="0" y="144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080" y="0"/>
                  </a:lnTo>
                  <a:close/>
                  <a:moveTo>
                    <a:pt x="400" y="1680"/>
                  </a:moveTo>
                  <a:cubicBezTo>
                    <a:pt x="880" y="1680"/>
                    <a:pt x="880" y="1680"/>
                    <a:pt x="880" y="1680"/>
                  </a:cubicBezTo>
                  <a:cubicBezTo>
                    <a:pt x="880" y="1520"/>
                    <a:pt x="880" y="1520"/>
                    <a:pt x="880" y="1520"/>
                  </a:cubicBezTo>
                  <a:cubicBezTo>
                    <a:pt x="1200" y="1520"/>
                    <a:pt x="1200" y="1520"/>
                    <a:pt x="1200" y="1520"/>
                  </a:cubicBezTo>
                  <a:cubicBezTo>
                    <a:pt x="1200" y="1680"/>
                    <a:pt x="1200" y="1680"/>
                    <a:pt x="1200" y="1680"/>
                  </a:cubicBezTo>
                  <a:cubicBezTo>
                    <a:pt x="1680" y="1680"/>
                    <a:pt x="1680" y="1680"/>
                    <a:pt x="1680" y="1680"/>
                  </a:cubicBezTo>
                  <a:cubicBezTo>
                    <a:pt x="1680" y="1760"/>
                    <a:pt x="1680" y="1760"/>
                    <a:pt x="1680" y="1760"/>
                  </a:cubicBezTo>
                  <a:cubicBezTo>
                    <a:pt x="1253" y="1760"/>
                    <a:pt x="827" y="1760"/>
                    <a:pt x="400" y="1760"/>
                  </a:cubicBezTo>
                  <a:lnTo>
                    <a:pt x="400" y="16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882" tIns="60941" rIns="121882" bIns="609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1">
                <a:ln>
                  <a:noFill/>
                </a:ln>
                <a:solidFill>
                  <a:srgbClr val="3B4145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  <p:sp>
        <p:nvSpPr>
          <p:cNvPr id="142" name="Rechteck 28">
            <a:extLst>
              <a:ext uri="{FF2B5EF4-FFF2-40B4-BE49-F238E27FC236}">
                <a16:creationId xmlns:a16="http://schemas.microsoft.com/office/drawing/2014/main" id="{251C6AB1-A3D1-5536-BC14-C4D41DF2D2CD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6771985" y="5279271"/>
            <a:ext cx="1748587" cy="384177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874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A52F"/>
                </a:solidFill>
                <a:effectLst/>
                <a:uLnTx/>
                <a:uFillTx/>
                <a:latin typeface="Lato"/>
                <a:ea typeface="+mn-ea"/>
                <a:cs typeface="Arial" pitchFamily="34" charset="0"/>
              </a:rPr>
              <a:t>Major Domestic Appliances</a:t>
            </a:r>
            <a:endParaRPr kumimoji="0" lang="en-US" sz="1050" b="1" i="1" u="none" strike="noStrike" kern="0" cap="none" spc="0" normalizeH="0" baseline="0" noProof="0" dirty="0">
              <a:ln>
                <a:noFill/>
              </a:ln>
              <a:solidFill>
                <a:srgbClr val="FFA52F"/>
              </a:solidFill>
              <a:effectLst/>
              <a:uLnTx/>
              <a:uFillTx/>
              <a:latin typeface="Lato"/>
              <a:ea typeface="+mn-ea"/>
              <a:cs typeface="Arial" pitchFamily="34" charset="0"/>
            </a:endParaRP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01C19D01-3C46-B34D-C211-AE7E202CA5F0}"/>
              </a:ext>
            </a:extLst>
          </p:cNvPr>
          <p:cNvGrpSpPr/>
          <p:nvPr>
            <p:custDataLst>
              <p:tags r:id="rId12"/>
            </p:custDataLst>
          </p:nvPr>
        </p:nvGrpSpPr>
        <p:grpSpPr>
          <a:xfrm>
            <a:off x="7385357" y="4758662"/>
            <a:ext cx="521851" cy="395443"/>
            <a:chOff x="1071562" y="3429000"/>
            <a:chExt cx="333101" cy="252414"/>
          </a:xfrm>
          <a:solidFill>
            <a:schemeClr val="accent6"/>
          </a:solidFill>
        </p:grpSpPr>
        <p:sp>
          <p:nvSpPr>
            <p:cNvPr id="144" name="Freeform 112">
              <a:extLst>
                <a:ext uri="{FF2B5EF4-FFF2-40B4-BE49-F238E27FC236}">
                  <a16:creationId xmlns:a16="http://schemas.microsoft.com/office/drawing/2014/main" id="{551C048E-530C-51EF-A423-F4A14C7CAF3B}"/>
                </a:ext>
              </a:extLst>
            </p:cNvPr>
            <p:cNvSpPr>
              <a:spLocks noChangeAspect="1" noEditPoints="1"/>
            </p:cNvSpPr>
            <p:nvPr>
              <p:custDataLst>
                <p:tags r:id="rId21"/>
              </p:custDataLst>
            </p:nvPr>
          </p:nvSpPr>
          <p:spPr bwMode="auto">
            <a:xfrm>
              <a:off x="1071562" y="3429000"/>
              <a:ext cx="184403" cy="252411"/>
            </a:xfrm>
            <a:custGeom>
              <a:avLst/>
              <a:gdLst>
                <a:gd name="T0" fmla="*/ 1080 w 1520"/>
                <a:gd name="T1" fmla="*/ 140 h 2080"/>
                <a:gd name="T2" fmla="*/ 1160 w 1520"/>
                <a:gd name="T3" fmla="*/ 220 h 2080"/>
                <a:gd name="T4" fmla="*/ 1080 w 1520"/>
                <a:gd name="T5" fmla="*/ 300 h 2080"/>
                <a:gd name="T6" fmla="*/ 1000 w 1520"/>
                <a:gd name="T7" fmla="*/ 220 h 2080"/>
                <a:gd name="T8" fmla="*/ 1080 w 1520"/>
                <a:gd name="T9" fmla="*/ 140 h 2080"/>
                <a:gd name="T10" fmla="*/ 1520 w 1520"/>
                <a:gd name="T11" fmla="*/ 0 h 2080"/>
                <a:gd name="T12" fmla="*/ 520 w 1520"/>
                <a:gd name="T13" fmla="*/ 0 h 2080"/>
                <a:gd name="T14" fmla="*/ 520 w 1520"/>
                <a:gd name="T15" fmla="*/ 360 h 2080"/>
                <a:gd name="T16" fmla="*/ 1520 w 1520"/>
                <a:gd name="T17" fmla="*/ 360 h 2080"/>
                <a:gd name="T18" fmla="*/ 1520 w 1520"/>
                <a:gd name="T19" fmla="*/ 0 h 2080"/>
                <a:gd name="T20" fmla="*/ 440 w 1520"/>
                <a:gd name="T21" fmla="*/ 0 h 2080"/>
                <a:gd name="T22" fmla="*/ 0 w 1520"/>
                <a:gd name="T23" fmla="*/ 0 h 2080"/>
                <a:gd name="T24" fmla="*/ 0 w 1520"/>
                <a:gd name="T25" fmla="*/ 360 h 2080"/>
                <a:gd name="T26" fmla="*/ 440 w 1520"/>
                <a:gd name="T27" fmla="*/ 360 h 2080"/>
                <a:gd name="T28" fmla="*/ 440 w 1520"/>
                <a:gd name="T29" fmla="*/ 0 h 2080"/>
                <a:gd name="T30" fmla="*/ 0 w 1520"/>
                <a:gd name="T31" fmla="*/ 440 h 2080"/>
                <a:gd name="T32" fmla="*/ 0 w 1520"/>
                <a:gd name="T33" fmla="*/ 2080 h 2080"/>
                <a:gd name="T34" fmla="*/ 1520 w 1520"/>
                <a:gd name="T35" fmla="*/ 2080 h 2080"/>
                <a:gd name="T36" fmla="*/ 1520 w 1520"/>
                <a:gd name="T37" fmla="*/ 440 h 2080"/>
                <a:gd name="T38" fmla="*/ 0 w 1520"/>
                <a:gd name="T39" fmla="*/ 440 h 2080"/>
                <a:gd name="T40" fmla="*/ 1320 w 1520"/>
                <a:gd name="T41" fmla="*/ 1240 h 2080"/>
                <a:gd name="T42" fmla="*/ 760 w 1520"/>
                <a:gd name="T43" fmla="*/ 1800 h 2080"/>
                <a:gd name="T44" fmla="*/ 200 w 1520"/>
                <a:gd name="T45" fmla="*/ 1240 h 2080"/>
                <a:gd name="T46" fmla="*/ 760 w 1520"/>
                <a:gd name="T47" fmla="*/ 680 h 2080"/>
                <a:gd name="T48" fmla="*/ 1320 w 1520"/>
                <a:gd name="T49" fmla="*/ 1240 h 2080"/>
                <a:gd name="T50" fmla="*/ 760 w 1520"/>
                <a:gd name="T51" fmla="*/ 760 h 2080"/>
                <a:gd name="T52" fmla="*/ 280 w 1520"/>
                <a:gd name="T53" fmla="*/ 1240 h 2080"/>
                <a:gd name="T54" fmla="*/ 760 w 1520"/>
                <a:gd name="T55" fmla="*/ 1720 h 2080"/>
                <a:gd name="T56" fmla="*/ 1240 w 1520"/>
                <a:gd name="T57" fmla="*/ 1240 h 2080"/>
                <a:gd name="T58" fmla="*/ 760 w 1520"/>
                <a:gd name="T59" fmla="*/ 760 h 2080"/>
                <a:gd name="T60" fmla="*/ 1160 w 1520"/>
                <a:gd name="T61" fmla="*/ 1240 h 2080"/>
                <a:gd name="T62" fmla="*/ 760 w 1520"/>
                <a:gd name="T63" fmla="*/ 1640 h 2080"/>
                <a:gd name="T64" fmla="*/ 360 w 1520"/>
                <a:gd name="T65" fmla="*/ 1240 h 2080"/>
                <a:gd name="T66" fmla="*/ 760 w 1520"/>
                <a:gd name="T67" fmla="*/ 840 h 2080"/>
                <a:gd name="T68" fmla="*/ 1160 w 1520"/>
                <a:gd name="T69" fmla="*/ 1240 h 2080"/>
                <a:gd name="T70" fmla="*/ 1080 w 1520"/>
                <a:gd name="T71" fmla="*/ 1240 h 2080"/>
                <a:gd name="T72" fmla="*/ 760 w 1520"/>
                <a:gd name="T73" fmla="*/ 920 h 2080"/>
                <a:gd name="T74" fmla="*/ 440 w 1520"/>
                <a:gd name="T75" fmla="*/ 1240 h 2080"/>
                <a:gd name="T76" fmla="*/ 760 w 1520"/>
                <a:gd name="T77" fmla="*/ 1560 h 2080"/>
                <a:gd name="T78" fmla="*/ 1080 w 1520"/>
                <a:gd name="T79" fmla="*/ 1240 h 2080"/>
                <a:gd name="T80" fmla="*/ 1280 w 1520"/>
                <a:gd name="T81" fmla="*/ 140 h 2080"/>
                <a:gd name="T82" fmla="*/ 1360 w 1520"/>
                <a:gd name="T83" fmla="*/ 220 h 2080"/>
                <a:gd name="T84" fmla="*/ 1280 w 1520"/>
                <a:gd name="T85" fmla="*/ 300 h 2080"/>
                <a:gd name="T86" fmla="*/ 1200 w 1520"/>
                <a:gd name="T87" fmla="*/ 220 h 2080"/>
                <a:gd name="T88" fmla="*/ 1280 w 1520"/>
                <a:gd name="T89" fmla="*/ 140 h 2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520" h="2080">
                  <a:moveTo>
                    <a:pt x="1080" y="140"/>
                  </a:moveTo>
                  <a:cubicBezTo>
                    <a:pt x="1124" y="140"/>
                    <a:pt x="1160" y="176"/>
                    <a:pt x="1160" y="220"/>
                  </a:cubicBezTo>
                  <a:cubicBezTo>
                    <a:pt x="1160" y="264"/>
                    <a:pt x="1124" y="300"/>
                    <a:pt x="1080" y="300"/>
                  </a:cubicBezTo>
                  <a:cubicBezTo>
                    <a:pt x="1036" y="300"/>
                    <a:pt x="1000" y="264"/>
                    <a:pt x="1000" y="220"/>
                  </a:cubicBezTo>
                  <a:cubicBezTo>
                    <a:pt x="1000" y="176"/>
                    <a:pt x="1036" y="140"/>
                    <a:pt x="1080" y="140"/>
                  </a:cubicBezTo>
                  <a:close/>
                  <a:moveTo>
                    <a:pt x="1520" y="0"/>
                  </a:moveTo>
                  <a:cubicBezTo>
                    <a:pt x="520" y="0"/>
                    <a:pt x="520" y="0"/>
                    <a:pt x="520" y="0"/>
                  </a:cubicBezTo>
                  <a:cubicBezTo>
                    <a:pt x="520" y="360"/>
                    <a:pt x="520" y="360"/>
                    <a:pt x="520" y="360"/>
                  </a:cubicBezTo>
                  <a:cubicBezTo>
                    <a:pt x="1520" y="360"/>
                    <a:pt x="1520" y="360"/>
                    <a:pt x="1520" y="360"/>
                  </a:cubicBezTo>
                  <a:lnTo>
                    <a:pt x="1520" y="0"/>
                  </a:lnTo>
                  <a:close/>
                  <a:moveTo>
                    <a:pt x="44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60"/>
                    <a:pt x="0" y="360"/>
                    <a:pt x="0" y="360"/>
                  </a:cubicBezTo>
                  <a:cubicBezTo>
                    <a:pt x="440" y="360"/>
                    <a:pt x="440" y="360"/>
                    <a:pt x="440" y="360"/>
                  </a:cubicBezTo>
                  <a:lnTo>
                    <a:pt x="440" y="0"/>
                  </a:lnTo>
                  <a:close/>
                  <a:moveTo>
                    <a:pt x="0" y="440"/>
                  </a:moveTo>
                  <a:cubicBezTo>
                    <a:pt x="0" y="2080"/>
                    <a:pt x="0" y="2080"/>
                    <a:pt x="0" y="2080"/>
                  </a:cubicBezTo>
                  <a:cubicBezTo>
                    <a:pt x="1520" y="2080"/>
                    <a:pt x="1520" y="2080"/>
                    <a:pt x="1520" y="2080"/>
                  </a:cubicBezTo>
                  <a:cubicBezTo>
                    <a:pt x="1520" y="440"/>
                    <a:pt x="1520" y="440"/>
                    <a:pt x="1520" y="440"/>
                  </a:cubicBezTo>
                  <a:lnTo>
                    <a:pt x="0" y="440"/>
                  </a:lnTo>
                  <a:close/>
                  <a:moveTo>
                    <a:pt x="1320" y="1240"/>
                  </a:moveTo>
                  <a:cubicBezTo>
                    <a:pt x="1320" y="1549"/>
                    <a:pt x="1069" y="1800"/>
                    <a:pt x="760" y="1800"/>
                  </a:cubicBezTo>
                  <a:cubicBezTo>
                    <a:pt x="451" y="1800"/>
                    <a:pt x="200" y="1549"/>
                    <a:pt x="200" y="1240"/>
                  </a:cubicBezTo>
                  <a:cubicBezTo>
                    <a:pt x="200" y="931"/>
                    <a:pt x="451" y="680"/>
                    <a:pt x="760" y="680"/>
                  </a:cubicBezTo>
                  <a:cubicBezTo>
                    <a:pt x="1069" y="680"/>
                    <a:pt x="1320" y="931"/>
                    <a:pt x="1320" y="1240"/>
                  </a:cubicBezTo>
                  <a:close/>
                  <a:moveTo>
                    <a:pt x="760" y="760"/>
                  </a:moveTo>
                  <a:cubicBezTo>
                    <a:pt x="495" y="760"/>
                    <a:pt x="280" y="975"/>
                    <a:pt x="280" y="1240"/>
                  </a:cubicBezTo>
                  <a:cubicBezTo>
                    <a:pt x="280" y="1505"/>
                    <a:pt x="495" y="1720"/>
                    <a:pt x="760" y="1720"/>
                  </a:cubicBezTo>
                  <a:cubicBezTo>
                    <a:pt x="1025" y="1720"/>
                    <a:pt x="1240" y="1505"/>
                    <a:pt x="1240" y="1240"/>
                  </a:cubicBezTo>
                  <a:cubicBezTo>
                    <a:pt x="1240" y="975"/>
                    <a:pt x="1025" y="760"/>
                    <a:pt x="760" y="760"/>
                  </a:cubicBezTo>
                  <a:close/>
                  <a:moveTo>
                    <a:pt x="1160" y="1240"/>
                  </a:moveTo>
                  <a:cubicBezTo>
                    <a:pt x="1160" y="1461"/>
                    <a:pt x="981" y="1640"/>
                    <a:pt x="760" y="1640"/>
                  </a:cubicBezTo>
                  <a:cubicBezTo>
                    <a:pt x="539" y="1640"/>
                    <a:pt x="360" y="1461"/>
                    <a:pt x="360" y="1240"/>
                  </a:cubicBezTo>
                  <a:cubicBezTo>
                    <a:pt x="360" y="1019"/>
                    <a:pt x="539" y="840"/>
                    <a:pt x="760" y="840"/>
                  </a:cubicBezTo>
                  <a:cubicBezTo>
                    <a:pt x="981" y="840"/>
                    <a:pt x="1160" y="1019"/>
                    <a:pt x="1160" y="1240"/>
                  </a:cubicBezTo>
                  <a:close/>
                  <a:moveTo>
                    <a:pt x="1080" y="1240"/>
                  </a:moveTo>
                  <a:cubicBezTo>
                    <a:pt x="1080" y="1063"/>
                    <a:pt x="937" y="920"/>
                    <a:pt x="760" y="920"/>
                  </a:cubicBezTo>
                  <a:cubicBezTo>
                    <a:pt x="583" y="920"/>
                    <a:pt x="440" y="1063"/>
                    <a:pt x="440" y="1240"/>
                  </a:cubicBezTo>
                  <a:cubicBezTo>
                    <a:pt x="440" y="1417"/>
                    <a:pt x="583" y="1560"/>
                    <a:pt x="760" y="1560"/>
                  </a:cubicBezTo>
                  <a:cubicBezTo>
                    <a:pt x="937" y="1560"/>
                    <a:pt x="1080" y="1417"/>
                    <a:pt x="1080" y="1240"/>
                  </a:cubicBezTo>
                  <a:close/>
                  <a:moveTo>
                    <a:pt x="1280" y="140"/>
                  </a:moveTo>
                  <a:cubicBezTo>
                    <a:pt x="1324" y="140"/>
                    <a:pt x="1360" y="176"/>
                    <a:pt x="1360" y="220"/>
                  </a:cubicBezTo>
                  <a:cubicBezTo>
                    <a:pt x="1360" y="264"/>
                    <a:pt x="1324" y="300"/>
                    <a:pt x="1280" y="300"/>
                  </a:cubicBezTo>
                  <a:cubicBezTo>
                    <a:pt x="1236" y="300"/>
                    <a:pt x="1200" y="264"/>
                    <a:pt x="1200" y="220"/>
                  </a:cubicBezTo>
                  <a:cubicBezTo>
                    <a:pt x="1200" y="176"/>
                    <a:pt x="1236" y="140"/>
                    <a:pt x="1280" y="1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882" tIns="60941" rIns="121882" bIns="609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/>
                <a:ea typeface="+mn-ea"/>
                <a:cs typeface="+mn-cs"/>
              </a:endParaRPr>
            </a:p>
          </p:txBody>
        </p:sp>
        <p:grpSp>
          <p:nvGrpSpPr>
            <p:cNvPr id="145" name="Group 156">
              <a:extLst>
                <a:ext uri="{FF2B5EF4-FFF2-40B4-BE49-F238E27FC236}">
                  <a16:creationId xmlns:a16="http://schemas.microsoft.com/office/drawing/2014/main" id="{0F62874E-C948-C0AA-F720-D47A622CC0ED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1277814" y="3429001"/>
              <a:ext cx="126849" cy="252413"/>
              <a:chOff x="1647" y="-295"/>
              <a:chExt cx="2468" cy="4911"/>
            </a:xfrm>
            <a:grpFill/>
          </p:grpSpPr>
          <p:sp>
            <p:nvSpPr>
              <p:cNvPr id="146" name="Freeform 157">
                <a:extLst>
                  <a:ext uri="{FF2B5EF4-FFF2-40B4-BE49-F238E27FC236}">
                    <a16:creationId xmlns:a16="http://schemas.microsoft.com/office/drawing/2014/main" id="{584216F4-E960-FB2A-1260-CA033C6D46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47" y="-295"/>
                <a:ext cx="2468" cy="1467"/>
              </a:xfrm>
              <a:custGeom>
                <a:avLst/>
                <a:gdLst>
                  <a:gd name="T0" fmla="*/ 1045 w 1045"/>
                  <a:gd name="T1" fmla="*/ 197 h 621"/>
                  <a:gd name="T2" fmla="*/ 945 w 1045"/>
                  <a:gd name="T3" fmla="*/ 0 h 621"/>
                  <a:gd name="T4" fmla="*/ 100 w 1045"/>
                  <a:gd name="T5" fmla="*/ 0 h 621"/>
                  <a:gd name="T6" fmla="*/ 0 w 1045"/>
                  <a:gd name="T7" fmla="*/ 197 h 621"/>
                  <a:gd name="T8" fmla="*/ 0 w 1045"/>
                  <a:gd name="T9" fmla="*/ 621 h 621"/>
                  <a:gd name="T10" fmla="*/ 1045 w 1045"/>
                  <a:gd name="T11" fmla="*/ 621 h 621"/>
                  <a:gd name="T12" fmla="*/ 1045 w 1045"/>
                  <a:gd name="T13" fmla="*/ 197 h 621"/>
                  <a:gd name="T14" fmla="*/ 127 w 1045"/>
                  <a:gd name="T15" fmla="*/ 508 h 621"/>
                  <a:gd name="T16" fmla="*/ 114 w 1045"/>
                  <a:gd name="T17" fmla="*/ 519 h 621"/>
                  <a:gd name="T18" fmla="*/ 100 w 1045"/>
                  <a:gd name="T19" fmla="*/ 508 h 621"/>
                  <a:gd name="T20" fmla="*/ 100 w 1045"/>
                  <a:gd name="T21" fmla="*/ 346 h 621"/>
                  <a:gd name="T22" fmla="*/ 114 w 1045"/>
                  <a:gd name="T23" fmla="*/ 335 h 621"/>
                  <a:gd name="T24" fmla="*/ 127 w 1045"/>
                  <a:gd name="T25" fmla="*/ 346 h 621"/>
                  <a:gd name="T26" fmla="*/ 127 w 1045"/>
                  <a:gd name="T27" fmla="*/ 508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45" h="621">
                    <a:moveTo>
                      <a:pt x="1045" y="197"/>
                    </a:moveTo>
                    <a:cubicBezTo>
                      <a:pt x="1045" y="88"/>
                      <a:pt x="1000" y="0"/>
                      <a:pt x="945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45" y="0"/>
                      <a:pt x="0" y="88"/>
                      <a:pt x="0" y="197"/>
                    </a:cubicBezTo>
                    <a:cubicBezTo>
                      <a:pt x="0" y="621"/>
                      <a:pt x="0" y="621"/>
                      <a:pt x="0" y="621"/>
                    </a:cubicBezTo>
                    <a:cubicBezTo>
                      <a:pt x="1045" y="621"/>
                      <a:pt x="1045" y="621"/>
                      <a:pt x="1045" y="621"/>
                    </a:cubicBezTo>
                    <a:cubicBezTo>
                      <a:pt x="1045" y="197"/>
                      <a:pt x="1045" y="197"/>
                      <a:pt x="1045" y="197"/>
                    </a:cubicBezTo>
                    <a:close/>
                    <a:moveTo>
                      <a:pt x="127" y="508"/>
                    </a:moveTo>
                    <a:cubicBezTo>
                      <a:pt x="127" y="514"/>
                      <a:pt x="121" y="519"/>
                      <a:pt x="114" y="519"/>
                    </a:cubicBezTo>
                    <a:cubicBezTo>
                      <a:pt x="106" y="519"/>
                      <a:pt x="100" y="514"/>
                      <a:pt x="100" y="508"/>
                    </a:cubicBezTo>
                    <a:cubicBezTo>
                      <a:pt x="100" y="346"/>
                      <a:pt x="100" y="346"/>
                      <a:pt x="100" y="346"/>
                    </a:cubicBezTo>
                    <a:cubicBezTo>
                      <a:pt x="100" y="340"/>
                      <a:pt x="106" y="335"/>
                      <a:pt x="114" y="335"/>
                    </a:cubicBezTo>
                    <a:cubicBezTo>
                      <a:pt x="121" y="335"/>
                      <a:pt x="127" y="340"/>
                      <a:pt x="127" y="346"/>
                    </a:cubicBezTo>
                    <a:lnTo>
                      <a:pt x="127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2" tIns="60941" rIns="121882" bIns="609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Light"/>
                  <a:ea typeface="+mn-ea"/>
                  <a:cs typeface="+mn-cs"/>
                </a:endParaRPr>
              </a:p>
            </p:txBody>
          </p:sp>
          <p:sp>
            <p:nvSpPr>
              <p:cNvPr id="147" name="Freeform 158">
                <a:extLst>
                  <a:ext uri="{FF2B5EF4-FFF2-40B4-BE49-F238E27FC236}">
                    <a16:creationId xmlns:a16="http://schemas.microsoft.com/office/drawing/2014/main" id="{2C1E796D-4EA2-FAD8-5F42-F94A46CFFB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47" y="1359"/>
                <a:ext cx="2468" cy="3257"/>
              </a:xfrm>
              <a:custGeom>
                <a:avLst/>
                <a:gdLst>
                  <a:gd name="T0" fmla="*/ 0 w 1045"/>
                  <a:gd name="T1" fmla="*/ 0 h 1379"/>
                  <a:gd name="T2" fmla="*/ 0 w 1045"/>
                  <a:gd name="T3" fmla="*/ 1116 h 1379"/>
                  <a:gd name="T4" fmla="*/ 100 w 1045"/>
                  <a:gd name="T5" fmla="*/ 1313 h 1379"/>
                  <a:gd name="T6" fmla="*/ 100 w 1045"/>
                  <a:gd name="T7" fmla="*/ 1379 h 1379"/>
                  <a:gd name="T8" fmla="*/ 172 w 1045"/>
                  <a:gd name="T9" fmla="*/ 1379 h 1379"/>
                  <a:gd name="T10" fmla="*/ 172 w 1045"/>
                  <a:gd name="T11" fmla="*/ 1313 h 1379"/>
                  <a:gd name="T12" fmla="*/ 873 w 1045"/>
                  <a:gd name="T13" fmla="*/ 1313 h 1379"/>
                  <a:gd name="T14" fmla="*/ 873 w 1045"/>
                  <a:gd name="T15" fmla="*/ 1379 h 1379"/>
                  <a:gd name="T16" fmla="*/ 945 w 1045"/>
                  <a:gd name="T17" fmla="*/ 1379 h 1379"/>
                  <a:gd name="T18" fmla="*/ 945 w 1045"/>
                  <a:gd name="T19" fmla="*/ 1313 h 1379"/>
                  <a:gd name="T20" fmla="*/ 1045 w 1045"/>
                  <a:gd name="T21" fmla="*/ 1116 h 1379"/>
                  <a:gd name="T22" fmla="*/ 1045 w 1045"/>
                  <a:gd name="T23" fmla="*/ 0 h 1379"/>
                  <a:gd name="T24" fmla="*/ 0 w 1045"/>
                  <a:gd name="T25" fmla="*/ 0 h 1379"/>
                  <a:gd name="T26" fmla="*/ 127 w 1045"/>
                  <a:gd name="T27" fmla="*/ 276 h 1379"/>
                  <a:gd name="T28" fmla="*/ 114 w 1045"/>
                  <a:gd name="T29" fmla="*/ 287 h 1379"/>
                  <a:gd name="T30" fmla="*/ 100 w 1045"/>
                  <a:gd name="T31" fmla="*/ 276 h 1379"/>
                  <a:gd name="T32" fmla="*/ 100 w 1045"/>
                  <a:gd name="T33" fmla="*/ 114 h 1379"/>
                  <a:gd name="T34" fmla="*/ 114 w 1045"/>
                  <a:gd name="T35" fmla="*/ 103 h 1379"/>
                  <a:gd name="T36" fmla="*/ 127 w 1045"/>
                  <a:gd name="T37" fmla="*/ 114 h 1379"/>
                  <a:gd name="T38" fmla="*/ 127 w 1045"/>
                  <a:gd name="T39" fmla="*/ 276 h 1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45" h="1379">
                    <a:moveTo>
                      <a:pt x="0" y="0"/>
                    </a:moveTo>
                    <a:cubicBezTo>
                      <a:pt x="0" y="1116"/>
                      <a:pt x="0" y="1116"/>
                      <a:pt x="0" y="1116"/>
                    </a:cubicBezTo>
                    <a:cubicBezTo>
                      <a:pt x="0" y="1224"/>
                      <a:pt x="45" y="1313"/>
                      <a:pt x="100" y="1313"/>
                    </a:cubicBezTo>
                    <a:cubicBezTo>
                      <a:pt x="100" y="1379"/>
                      <a:pt x="100" y="1379"/>
                      <a:pt x="100" y="1379"/>
                    </a:cubicBezTo>
                    <a:cubicBezTo>
                      <a:pt x="172" y="1379"/>
                      <a:pt x="172" y="1379"/>
                      <a:pt x="172" y="1379"/>
                    </a:cubicBezTo>
                    <a:cubicBezTo>
                      <a:pt x="172" y="1313"/>
                      <a:pt x="172" y="1313"/>
                      <a:pt x="172" y="1313"/>
                    </a:cubicBezTo>
                    <a:cubicBezTo>
                      <a:pt x="873" y="1313"/>
                      <a:pt x="873" y="1313"/>
                      <a:pt x="873" y="1313"/>
                    </a:cubicBezTo>
                    <a:cubicBezTo>
                      <a:pt x="873" y="1379"/>
                      <a:pt x="873" y="1379"/>
                      <a:pt x="873" y="1379"/>
                    </a:cubicBezTo>
                    <a:cubicBezTo>
                      <a:pt x="945" y="1379"/>
                      <a:pt x="945" y="1379"/>
                      <a:pt x="945" y="1379"/>
                    </a:cubicBezTo>
                    <a:cubicBezTo>
                      <a:pt x="945" y="1313"/>
                      <a:pt x="945" y="1313"/>
                      <a:pt x="945" y="1313"/>
                    </a:cubicBezTo>
                    <a:cubicBezTo>
                      <a:pt x="1000" y="1313"/>
                      <a:pt x="1045" y="1224"/>
                      <a:pt x="1045" y="1116"/>
                    </a:cubicBezTo>
                    <a:cubicBezTo>
                      <a:pt x="1045" y="0"/>
                      <a:pt x="1045" y="0"/>
                      <a:pt x="1045" y="0"/>
                    </a:cubicBezTo>
                    <a:lnTo>
                      <a:pt x="0" y="0"/>
                    </a:lnTo>
                    <a:close/>
                    <a:moveTo>
                      <a:pt x="127" y="276"/>
                    </a:moveTo>
                    <a:cubicBezTo>
                      <a:pt x="127" y="282"/>
                      <a:pt x="121" y="287"/>
                      <a:pt x="114" y="287"/>
                    </a:cubicBezTo>
                    <a:cubicBezTo>
                      <a:pt x="106" y="287"/>
                      <a:pt x="100" y="282"/>
                      <a:pt x="100" y="276"/>
                    </a:cubicBezTo>
                    <a:cubicBezTo>
                      <a:pt x="100" y="114"/>
                      <a:pt x="100" y="114"/>
                      <a:pt x="100" y="114"/>
                    </a:cubicBezTo>
                    <a:cubicBezTo>
                      <a:pt x="100" y="108"/>
                      <a:pt x="106" y="103"/>
                      <a:pt x="114" y="103"/>
                    </a:cubicBezTo>
                    <a:cubicBezTo>
                      <a:pt x="121" y="103"/>
                      <a:pt x="127" y="108"/>
                      <a:pt x="127" y="114"/>
                    </a:cubicBezTo>
                    <a:lnTo>
                      <a:pt x="127" y="2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2" tIns="60941" rIns="121882" bIns="609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Light"/>
                  <a:ea typeface="+mn-ea"/>
                  <a:cs typeface="+mn-cs"/>
                </a:endParaRPr>
              </a:p>
            </p:txBody>
          </p:sp>
        </p:grpSp>
      </p:grpSp>
      <p:sp>
        <p:nvSpPr>
          <p:cNvPr id="148" name="Rechteck 38">
            <a:extLst>
              <a:ext uri="{FF2B5EF4-FFF2-40B4-BE49-F238E27FC236}">
                <a16:creationId xmlns:a16="http://schemas.microsoft.com/office/drawing/2014/main" id="{4CE0CF2F-F2DB-78E8-7E44-5A8478E17AE7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9854804" y="5279271"/>
            <a:ext cx="1748587" cy="384177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874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Lato"/>
                <a:ea typeface="+mn-ea"/>
                <a:cs typeface="Arial" pitchFamily="34" charset="0"/>
              </a:rPr>
              <a:t>Small Domestic Appliances incl.       Home Comfort</a:t>
            </a:r>
          </a:p>
        </p:txBody>
      </p:sp>
      <p:grpSp>
        <p:nvGrpSpPr>
          <p:cNvPr id="149" name="Gruppieren 2">
            <a:extLst>
              <a:ext uri="{FF2B5EF4-FFF2-40B4-BE49-F238E27FC236}">
                <a16:creationId xmlns:a16="http://schemas.microsoft.com/office/drawing/2014/main" id="{45ED4105-53B4-F505-5D95-840C37DEFC18}"/>
              </a:ext>
            </a:extLst>
          </p:cNvPr>
          <p:cNvGrpSpPr/>
          <p:nvPr>
            <p:custDataLst>
              <p:tags r:id="rId14"/>
            </p:custDataLst>
          </p:nvPr>
        </p:nvGrpSpPr>
        <p:grpSpPr>
          <a:xfrm>
            <a:off x="10481031" y="4715957"/>
            <a:ext cx="496130" cy="438683"/>
            <a:chOff x="531222" y="5608430"/>
            <a:chExt cx="692218" cy="611999"/>
          </a:xfrm>
          <a:solidFill>
            <a:schemeClr val="bg1">
              <a:lumMod val="65000"/>
            </a:schemeClr>
          </a:solidFill>
        </p:grpSpPr>
        <p:grpSp>
          <p:nvGrpSpPr>
            <p:cNvPr id="150" name="Group 32">
              <a:extLst>
                <a:ext uri="{FF2B5EF4-FFF2-40B4-BE49-F238E27FC236}">
                  <a16:creationId xmlns:a16="http://schemas.microsoft.com/office/drawing/2014/main" id="{0FF3BCEA-4662-A23A-C214-D8F5BFAF5EB9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 rot="21600000">
              <a:off x="531222" y="5608430"/>
              <a:ext cx="167035" cy="611999"/>
              <a:chOff x="2212" y="-294"/>
              <a:chExt cx="1339" cy="4906"/>
            </a:xfrm>
            <a:grpFill/>
          </p:grpSpPr>
          <p:sp>
            <p:nvSpPr>
              <p:cNvPr id="152" name="Freeform 33">
                <a:extLst>
                  <a:ext uri="{FF2B5EF4-FFF2-40B4-BE49-F238E27FC236}">
                    <a16:creationId xmlns:a16="http://schemas.microsoft.com/office/drawing/2014/main" id="{385E35F9-3DB8-C83E-38B4-13F96E0606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2" y="4220"/>
                <a:ext cx="1339" cy="392"/>
              </a:xfrm>
              <a:custGeom>
                <a:avLst/>
                <a:gdLst>
                  <a:gd name="T0" fmla="*/ 490 w 567"/>
                  <a:gd name="T1" fmla="*/ 66 h 166"/>
                  <a:gd name="T2" fmla="*/ 438 w 567"/>
                  <a:gd name="T3" fmla="*/ 66 h 166"/>
                  <a:gd name="T4" fmla="*/ 438 w 567"/>
                  <a:gd name="T5" fmla="*/ 50 h 166"/>
                  <a:gd name="T6" fmla="*/ 361 w 567"/>
                  <a:gd name="T7" fmla="*/ 0 h 166"/>
                  <a:gd name="T8" fmla="*/ 340 w 567"/>
                  <a:gd name="T9" fmla="*/ 0 h 166"/>
                  <a:gd name="T10" fmla="*/ 303 w 567"/>
                  <a:gd name="T11" fmla="*/ 32 h 166"/>
                  <a:gd name="T12" fmla="*/ 264 w 567"/>
                  <a:gd name="T13" fmla="*/ 32 h 166"/>
                  <a:gd name="T14" fmla="*/ 228 w 567"/>
                  <a:gd name="T15" fmla="*/ 0 h 166"/>
                  <a:gd name="T16" fmla="*/ 206 w 567"/>
                  <a:gd name="T17" fmla="*/ 0 h 166"/>
                  <a:gd name="T18" fmla="*/ 129 w 567"/>
                  <a:gd name="T19" fmla="*/ 50 h 166"/>
                  <a:gd name="T20" fmla="*/ 129 w 567"/>
                  <a:gd name="T21" fmla="*/ 66 h 166"/>
                  <a:gd name="T22" fmla="*/ 77 w 567"/>
                  <a:gd name="T23" fmla="*/ 66 h 166"/>
                  <a:gd name="T24" fmla="*/ 0 w 567"/>
                  <a:gd name="T25" fmla="*/ 116 h 166"/>
                  <a:gd name="T26" fmla="*/ 0 w 567"/>
                  <a:gd name="T27" fmla="*/ 149 h 166"/>
                  <a:gd name="T28" fmla="*/ 26 w 567"/>
                  <a:gd name="T29" fmla="*/ 166 h 166"/>
                  <a:gd name="T30" fmla="*/ 541 w 567"/>
                  <a:gd name="T31" fmla="*/ 166 h 166"/>
                  <a:gd name="T32" fmla="*/ 567 w 567"/>
                  <a:gd name="T33" fmla="*/ 149 h 166"/>
                  <a:gd name="T34" fmla="*/ 567 w 567"/>
                  <a:gd name="T35" fmla="*/ 116 h 166"/>
                  <a:gd name="T36" fmla="*/ 490 w 567"/>
                  <a:gd name="T37" fmla="*/ 66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67" h="166">
                    <a:moveTo>
                      <a:pt x="490" y="66"/>
                    </a:moveTo>
                    <a:cubicBezTo>
                      <a:pt x="438" y="66"/>
                      <a:pt x="438" y="66"/>
                      <a:pt x="438" y="66"/>
                    </a:cubicBezTo>
                    <a:cubicBezTo>
                      <a:pt x="438" y="50"/>
                      <a:pt x="438" y="50"/>
                      <a:pt x="438" y="50"/>
                    </a:cubicBezTo>
                    <a:cubicBezTo>
                      <a:pt x="438" y="22"/>
                      <a:pt x="403" y="0"/>
                      <a:pt x="361" y="0"/>
                    </a:cubicBezTo>
                    <a:cubicBezTo>
                      <a:pt x="340" y="0"/>
                      <a:pt x="340" y="0"/>
                      <a:pt x="340" y="0"/>
                    </a:cubicBezTo>
                    <a:cubicBezTo>
                      <a:pt x="337" y="18"/>
                      <a:pt x="322" y="32"/>
                      <a:pt x="303" y="32"/>
                    </a:cubicBezTo>
                    <a:cubicBezTo>
                      <a:pt x="264" y="32"/>
                      <a:pt x="264" y="32"/>
                      <a:pt x="264" y="32"/>
                    </a:cubicBezTo>
                    <a:cubicBezTo>
                      <a:pt x="245" y="32"/>
                      <a:pt x="230" y="18"/>
                      <a:pt x="228" y="0"/>
                    </a:cubicBezTo>
                    <a:cubicBezTo>
                      <a:pt x="206" y="0"/>
                      <a:pt x="206" y="0"/>
                      <a:pt x="206" y="0"/>
                    </a:cubicBezTo>
                    <a:cubicBezTo>
                      <a:pt x="164" y="0"/>
                      <a:pt x="129" y="22"/>
                      <a:pt x="129" y="50"/>
                    </a:cubicBezTo>
                    <a:cubicBezTo>
                      <a:pt x="129" y="66"/>
                      <a:pt x="129" y="66"/>
                      <a:pt x="129" y="66"/>
                    </a:cubicBezTo>
                    <a:cubicBezTo>
                      <a:pt x="77" y="66"/>
                      <a:pt x="77" y="66"/>
                      <a:pt x="77" y="66"/>
                    </a:cubicBezTo>
                    <a:cubicBezTo>
                      <a:pt x="35" y="66"/>
                      <a:pt x="0" y="89"/>
                      <a:pt x="0" y="116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0" y="159"/>
                      <a:pt x="12" y="166"/>
                      <a:pt x="26" y="166"/>
                    </a:cubicBezTo>
                    <a:cubicBezTo>
                      <a:pt x="541" y="166"/>
                      <a:pt x="541" y="166"/>
                      <a:pt x="541" y="166"/>
                    </a:cubicBezTo>
                    <a:cubicBezTo>
                      <a:pt x="555" y="166"/>
                      <a:pt x="567" y="159"/>
                      <a:pt x="567" y="149"/>
                    </a:cubicBezTo>
                    <a:cubicBezTo>
                      <a:pt x="567" y="116"/>
                      <a:pt x="567" y="116"/>
                      <a:pt x="567" y="116"/>
                    </a:cubicBezTo>
                    <a:cubicBezTo>
                      <a:pt x="567" y="89"/>
                      <a:pt x="532" y="66"/>
                      <a:pt x="490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2" tIns="60941" rIns="121882" bIns="609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Light"/>
                  <a:ea typeface="+mn-ea"/>
                  <a:cs typeface="+mn-cs"/>
                </a:endParaRPr>
              </a:p>
            </p:txBody>
          </p:sp>
          <p:sp>
            <p:nvSpPr>
              <p:cNvPr id="153" name="Freeform 34">
                <a:extLst>
                  <a:ext uri="{FF2B5EF4-FFF2-40B4-BE49-F238E27FC236}">
                    <a16:creationId xmlns:a16="http://schemas.microsoft.com/office/drawing/2014/main" id="{3559E6E9-8E96-E485-79EF-3F693BC6E6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6" y="3804"/>
                <a:ext cx="172" cy="444"/>
              </a:xfrm>
              <a:custGeom>
                <a:avLst/>
                <a:gdLst>
                  <a:gd name="T0" fmla="*/ 17 w 73"/>
                  <a:gd name="T1" fmla="*/ 188 h 188"/>
                  <a:gd name="T2" fmla="*/ 56 w 73"/>
                  <a:gd name="T3" fmla="*/ 188 h 188"/>
                  <a:gd name="T4" fmla="*/ 73 w 73"/>
                  <a:gd name="T5" fmla="*/ 172 h 188"/>
                  <a:gd name="T6" fmla="*/ 73 w 73"/>
                  <a:gd name="T7" fmla="*/ 0 h 188"/>
                  <a:gd name="T8" fmla="*/ 0 w 73"/>
                  <a:gd name="T9" fmla="*/ 0 h 188"/>
                  <a:gd name="T10" fmla="*/ 0 w 73"/>
                  <a:gd name="T11" fmla="*/ 172 h 188"/>
                  <a:gd name="T12" fmla="*/ 17 w 73"/>
                  <a:gd name="T1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" h="188">
                    <a:moveTo>
                      <a:pt x="17" y="188"/>
                    </a:moveTo>
                    <a:cubicBezTo>
                      <a:pt x="56" y="188"/>
                      <a:pt x="56" y="188"/>
                      <a:pt x="56" y="188"/>
                    </a:cubicBezTo>
                    <a:cubicBezTo>
                      <a:pt x="65" y="188"/>
                      <a:pt x="73" y="181"/>
                      <a:pt x="73" y="172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72"/>
                      <a:pt x="0" y="172"/>
                      <a:pt x="0" y="172"/>
                    </a:cubicBezTo>
                    <a:cubicBezTo>
                      <a:pt x="0" y="181"/>
                      <a:pt x="8" y="188"/>
                      <a:pt x="17" y="1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2" tIns="60941" rIns="121882" bIns="609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Light"/>
                  <a:ea typeface="+mn-ea"/>
                  <a:cs typeface="+mn-cs"/>
                </a:endParaRPr>
              </a:p>
            </p:txBody>
          </p:sp>
          <p:sp>
            <p:nvSpPr>
              <p:cNvPr id="154" name="Freeform 35">
                <a:extLst>
                  <a:ext uri="{FF2B5EF4-FFF2-40B4-BE49-F238E27FC236}">
                    <a16:creationId xmlns:a16="http://schemas.microsoft.com/office/drawing/2014/main" id="{233B269E-0594-7BFE-2470-5E54F3EA8D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0" y="1295"/>
                <a:ext cx="843" cy="2041"/>
              </a:xfrm>
              <a:custGeom>
                <a:avLst/>
                <a:gdLst>
                  <a:gd name="T0" fmla="*/ 49 w 357"/>
                  <a:gd name="T1" fmla="*/ 864 h 864"/>
                  <a:gd name="T2" fmla="*/ 67 w 357"/>
                  <a:gd name="T3" fmla="*/ 864 h 864"/>
                  <a:gd name="T4" fmla="*/ 67 w 357"/>
                  <a:gd name="T5" fmla="*/ 286 h 864"/>
                  <a:gd name="T6" fmla="*/ 128 w 357"/>
                  <a:gd name="T7" fmla="*/ 217 h 864"/>
                  <a:gd name="T8" fmla="*/ 229 w 357"/>
                  <a:gd name="T9" fmla="*/ 217 h 864"/>
                  <a:gd name="T10" fmla="*/ 290 w 357"/>
                  <a:gd name="T11" fmla="*/ 286 h 864"/>
                  <a:gd name="T12" fmla="*/ 290 w 357"/>
                  <a:gd name="T13" fmla="*/ 864 h 864"/>
                  <a:gd name="T14" fmla="*/ 308 w 357"/>
                  <a:gd name="T15" fmla="*/ 864 h 864"/>
                  <a:gd name="T16" fmla="*/ 357 w 357"/>
                  <a:gd name="T17" fmla="*/ 815 h 864"/>
                  <a:gd name="T18" fmla="*/ 357 w 357"/>
                  <a:gd name="T19" fmla="*/ 113 h 864"/>
                  <a:gd name="T20" fmla="*/ 308 w 357"/>
                  <a:gd name="T21" fmla="*/ 65 h 864"/>
                  <a:gd name="T22" fmla="*/ 283 w 357"/>
                  <a:gd name="T23" fmla="*/ 65 h 864"/>
                  <a:gd name="T24" fmla="*/ 283 w 357"/>
                  <a:gd name="T25" fmla="*/ 37 h 864"/>
                  <a:gd name="T26" fmla="*/ 236 w 357"/>
                  <a:gd name="T27" fmla="*/ 0 h 864"/>
                  <a:gd name="T28" fmla="*/ 121 w 357"/>
                  <a:gd name="T29" fmla="*/ 0 h 864"/>
                  <a:gd name="T30" fmla="*/ 74 w 357"/>
                  <a:gd name="T31" fmla="*/ 37 h 864"/>
                  <a:gd name="T32" fmla="*/ 74 w 357"/>
                  <a:gd name="T33" fmla="*/ 65 h 864"/>
                  <a:gd name="T34" fmla="*/ 49 w 357"/>
                  <a:gd name="T35" fmla="*/ 65 h 864"/>
                  <a:gd name="T36" fmla="*/ 0 w 357"/>
                  <a:gd name="T37" fmla="*/ 113 h 864"/>
                  <a:gd name="T38" fmla="*/ 0 w 357"/>
                  <a:gd name="T39" fmla="*/ 815 h 864"/>
                  <a:gd name="T40" fmla="*/ 49 w 357"/>
                  <a:gd name="T41" fmla="*/ 864 h 8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57" h="864">
                    <a:moveTo>
                      <a:pt x="49" y="864"/>
                    </a:moveTo>
                    <a:cubicBezTo>
                      <a:pt x="67" y="864"/>
                      <a:pt x="67" y="864"/>
                      <a:pt x="67" y="864"/>
                    </a:cubicBezTo>
                    <a:cubicBezTo>
                      <a:pt x="67" y="286"/>
                      <a:pt x="67" y="286"/>
                      <a:pt x="67" y="286"/>
                    </a:cubicBezTo>
                    <a:cubicBezTo>
                      <a:pt x="67" y="248"/>
                      <a:pt x="94" y="217"/>
                      <a:pt x="128" y="217"/>
                    </a:cubicBezTo>
                    <a:cubicBezTo>
                      <a:pt x="229" y="217"/>
                      <a:pt x="229" y="217"/>
                      <a:pt x="229" y="217"/>
                    </a:cubicBezTo>
                    <a:cubicBezTo>
                      <a:pt x="263" y="217"/>
                      <a:pt x="290" y="248"/>
                      <a:pt x="290" y="286"/>
                    </a:cubicBezTo>
                    <a:cubicBezTo>
                      <a:pt x="290" y="864"/>
                      <a:pt x="290" y="864"/>
                      <a:pt x="290" y="864"/>
                    </a:cubicBezTo>
                    <a:cubicBezTo>
                      <a:pt x="308" y="864"/>
                      <a:pt x="308" y="864"/>
                      <a:pt x="308" y="864"/>
                    </a:cubicBezTo>
                    <a:cubicBezTo>
                      <a:pt x="335" y="864"/>
                      <a:pt x="357" y="842"/>
                      <a:pt x="357" y="815"/>
                    </a:cubicBezTo>
                    <a:cubicBezTo>
                      <a:pt x="357" y="113"/>
                      <a:pt x="357" y="113"/>
                      <a:pt x="357" y="113"/>
                    </a:cubicBezTo>
                    <a:cubicBezTo>
                      <a:pt x="357" y="86"/>
                      <a:pt x="335" y="65"/>
                      <a:pt x="308" y="65"/>
                    </a:cubicBezTo>
                    <a:cubicBezTo>
                      <a:pt x="283" y="65"/>
                      <a:pt x="283" y="65"/>
                      <a:pt x="283" y="65"/>
                    </a:cubicBezTo>
                    <a:cubicBezTo>
                      <a:pt x="283" y="37"/>
                      <a:pt x="283" y="37"/>
                      <a:pt x="283" y="37"/>
                    </a:cubicBezTo>
                    <a:cubicBezTo>
                      <a:pt x="283" y="16"/>
                      <a:pt x="262" y="0"/>
                      <a:pt x="236" y="0"/>
                    </a:cubicBezTo>
                    <a:cubicBezTo>
                      <a:pt x="121" y="0"/>
                      <a:pt x="121" y="0"/>
                      <a:pt x="121" y="0"/>
                    </a:cubicBezTo>
                    <a:cubicBezTo>
                      <a:pt x="95" y="0"/>
                      <a:pt x="74" y="16"/>
                      <a:pt x="74" y="37"/>
                    </a:cubicBezTo>
                    <a:cubicBezTo>
                      <a:pt x="74" y="65"/>
                      <a:pt x="74" y="65"/>
                      <a:pt x="74" y="65"/>
                    </a:cubicBezTo>
                    <a:cubicBezTo>
                      <a:pt x="49" y="65"/>
                      <a:pt x="49" y="65"/>
                      <a:pt x="49" y="65"/>
                    </a:cubicBezTo>
                    <a:cubicBezTo>
                      <a:pt x="22" y="65"/>
                      <a:pt x="0" y="86"/>
                      <a:pt x="0" y="113"/>
                    </a:cubicBezTo>
                    <a:cubicBezTo>
                      <a:pt x="0" y="815"/>
                      <a:pt x="0" y="815"/>
                      <a:pt x="0" y="815"/>
                    </a:cubicBezTo>
                    <a:cubicBezTo>
                      <a:pt x="0" y="842"/>
                      <a:pt x="22" y="864"/>
                      <a:pt x="49" y="86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2" tIns="60941" rIns="121882" bIns="609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Light"/>
                  <a:ea typeface="+mn-ea"/>
                  <a:cs typeface="+mn-cs"/>
                </a:endParaRPr>
              </a:p>
            </p:txBody>
          </p:sp>
          <p:sp>
            <p:nvSpPr>
              <p:cNvPr id="155" name="Freeform 36">
                <a:extLst>
                  <a:ext uri="{FF2B5EF4-FFF2-40B4-BE49-F238E27FC236}">
                    <a16:creationId xmlns:a16="http://schemas.microsoft.com/office/drawing/2014/main" id="{C35F655F-3C3C-D052-B1A5-BA6855F072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7" y="-294"/>
                <a:ext cx="290" cy="1542"/>
              </a:xfrm>
              <a:custGeom>
                <a:avLst/>
                <a:gdLst>
                  <a:gd name="T0" fmla="*/ 6 w 123"/>
                  <a:gd name="T1" fmla="*/ 84 h 653"/>
                  <a:gd name="T2" fmla="*/ 25 w 123"/>
                  <a:gd name="T3" fmla="*/ 198 h 653"/>
                  <a:gd name="T4" fmla="*/ 25 w 123"/>
                  <a:gd name="T5" fmla="*/ 653 h 653"/>
                  <a:gd name="T6" fmla="*/ 98 w 123"/>
                  <a:gd name="T7" fmla="*/ 653 h 653"/>
                  <a:gd name="T8" fmla="*/ 98 w 123"/>
                  <a:gd name="T9" fmla="*/ 198 h 653"/>
                  <a:gd name="T10" fmla="*/ 117 w 123"/>
                  <a:gd name="T11" fmla="*/ 84 h 653"/>
                  <a:gd name="T12" fmla="*/ 122 w 123"/>
                  <a:gd name="T13" fmla="*/ 57 h 653"/>
                  <a:gd name="T14" fmla="*/ 123 w 123"/>
                  <a:gd name="T15" fmla="*/ 38 h 653"/>
                  <a:gd name="T16" fmla="*/ 112 w 123"/>
                  <a:gd name="T17" fmla="*/ 0 h 653"/>
                  <a:gd name="T18" fmla="*/ 11 w 123"/>
                  <a:gd name="T19" fmla="*/ 0 h 653"/>
                  <a:gd name="T20" fmla="*/ 0 w 123"/>
                  <a:gd name="T21" fmla="*/ 38 h 653"/>
                  <a:gd name="T22" fmla="*/ 1 w 123"/>
                  <a:gd name="T23" fmla="*/ 57 h 653"/>
                  <a:gd name="T24" fmla="*/ 6 w 123"/>
                  <a:gd name="T25" fmla="*/ 84 h 6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3" h="653">
                    <a:moveTo>
                      <a:pt x="6" y="84"/>
                    </a:moveTo>
                    <a:cubicBezTo>
                      <a:pt x="25" y="198"/>
                      <a:pt x="25" y="198"/>
                      <a:pt x="25" y="198"/>
                    </a:cubicBezTo>
                    <a:cubicBezTo>
                      <a:pt x="25" y="653"/>
                      <a:pt x="25" y="653"/>
                      <a:pt x="25" y="653"/>
                    </a:cubicBezTo>
                    <a:cubicBezTo>
                      <a:pt x="98" y="653"/>
                      <a:pt x="98" y="653"/>
                      <a:pt x="98" y="653"/>
                    </a:cubicBezTo>
                    <a:cubicBezTo>
                      <a:pt x="98" y="198"/>
                      <a:pt x="98" y="198"/>
                      <a:pt x="98" y="198"/>
                    </a:cubicBezTo>
                    <a:cubicBezTo>
                      <a:pt x="117" y="84"/>
                      <a:pt x="117" y="84"/>
                      <a:pt x="117" y="84"/>
                    </a:cubicBezTo>
                    <a:cubicBezTo>
                      <a:pt x="122" y="57"/>
                      <a:pt x="122" y="57"/>
                      <a:pt x="122" y="57"/>
                    </a:cubicBezTo>
                    <a:cubicBezTo>
                      <a:pt x="123" y="51"/>
                      <a:pt x="123" y="44"/>
                      <a:pt x="123" y="38"/>
                    </a:cubicBezTo>
                    <a:cubicBezTo>
                      <a:pt x="123" y="17"/>
                      <a:pt x="118" y="0"/>
                      <a:pt x="112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17"/>
                      <a:pt x="0" y="38"/>
                    </a:cubicBezTo>
                    <a:cubicBezTo>
                      <a:pt x="0" y="45"/>
                      <a:pt x="0" y="51"/>
                      <a:pt x="1" y="57"/>
                    </a:cubicBezTo>
                    <a:lnTo>
                      <a:pt x="6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2" tIns="60941" rIns="121882" bIns="609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Light"/>
                  <a:ea typeface="+mn-ea"/>
                  <a:cs typeface="+mn-cs"/>
                </a:endParaRPr>
              </a:p>
            </p:txBody>
          </p:sp>
          <p:sp>
            <p:nvSpPr>
              <p:cNvPr id="156" name="Freeform 37">
                <a:extLst>
                  <a:ext uri="{FF2B5EF4-FFF2-40B4-BE49-F238E27FC236}">
                    <a16:creationId xmlns:a16="http://schemas.microsoft.com/office/drawing/2014/main" id="{D16E23BE-6F20-294E-6DE5-EB351AA23D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66" y="1855"/>
                <a:ext cx="432" cy="1902"/>
              </a:xfrm>
              <a:custGeom>
                <a:avLst/>
                <a:gdLst>
                  <a:gd name="T0" fmla="*/ 183 w 183"/>
                  <a:gd name="T1" fmla="*/ 756 h 805"/>
                  <a:gd name="T2" fmla="*/ 183 w 183"/>
                  <a:gd name="T3" fmla="*/ 49 h 805"/>
                  <a:gd name="T4" fmla="*/ 142 w 183"/>
                  <a:gd name="T5" fmla="*/ 0 h 805"/>
                  <a:gd name="T6" fmla="*/ 41 w 183"/>
                  <a:gd name="T7" fmla="*/ 0 h 805"/>
                  <a:gd name="T8" fmla="*/ 0 w 183"/>
                  <a:gd name="T9" fmla="*/ 49 h 805"/>
                  <a:gd name="T10" fmla="*/ 0 w 183"/>
                  <a:gd name="T11" fmla="*/ 756 h 805"/>
                  <a:gd name="T12" fmla="*/ 41 w 183"/>
                  <a:gd name="T13" fmla="*/ 805 h 805"/>
                  <a:gd name="T14" fmla="*/ 142 w 183"/>
                  <a:gd name="T15" fmla="*/ 805 h 805"/>
                  <a:gd name="T16" fmla="*/ 183 w 183"/>
                  <a:gd name="T17" fmla="*/ 756 h 805"/>
                  <a:gd name="T18" fmla="*/ 92 w 183"/>
                  <a:gd name="T19" fmla="*/ 279 h 805"/>
                  <a:gd name="T20" fmla="*/ 45 w 183"/>
                  <a:gd name="T21" fmla="*/ 232 h 805"/>
                  <a:gd name="T22" fmla="*/ 92 w 183"/>
                  <a:gd name="T23" fmla="*/ 186 h 805"/>
                  <a:gd name="T24" fmla="*/ 138 w 183"/>
                  <a:gd name="T25" fmla="*/ 232 h 805"/>
                  <a:gd name="T26" fmla="*/ 92 w 183"/>
                  <a:gd name="T27" fmla="*/ 279 h 8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3" h="805">
                    <a:moveTo>
                      <a:pt x="183" y="756"/>
                    </a:moveTo>
                    <a:cubicBezTo>
                      <a:pt x="183" y="49"/>
                      <a:pt x="183" y="49"/>
                      <a:pt x="183" y="49"/>
                    </a:cubicBezTo>
                    <a:cubicBezTo>
                      <a:pt x="183" y="22"/>
                      <a:pt x="165" y="0"/>
                      <a:pt x="142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18" y="0"/>
                      <a:pt x="0" y="22"/>
                      <a:pt x="0" y="49"/>
                    </a:cubicBezTo>
                    <a:cubicBezTo>
                      <a:pt x="0" y="756"/>
                      <a:pt x="0" y="756"/>
                      <a:pt x="0" y="756"/>
                    </a:cubicBezTo>
                    <a:cubicBezTo>
                      <a:pt x="0" y="783"/>
                      <a:pt x="18" y="805"/>
                      <a:pt x="41" y="805"/>
                    </a:cubicBezTo>
                    <a:cubicBezTo>
                      <a:pt x="142" y="805"/>
                      <a:pt x="142" y="805"/>
                      <a:pt x="142" y="805"/>
                    </a:cubicBezTo>
                    <a:cubicBezTo>
                      <a:pt x="165" y="805"/>
                      <a:pt x="183" y="783"/>
                      <a:pt x="183" y="756"/>
                    </a:cubicBezTo>
                    <a:close/>
                    <a:moveTo>
                      <a:pt x="92" y="279"/>
                    </a:moveTo>
                    <a:cubicBezTo>
                      <a:pt x="66" y="279"/>
                      <a:pt x="45" y="258"/>
                      <a:pt x="45" y="232"/>
                    </a:cubicBezTo>
                    <a:cubicBezTo>
                      <a:pt x="45" y="207"/>
                      <a:pt x="66" y="186"/>
                      <a:pt x="92" y="186"/>
                    </a:cubicBezTo>
                    <a:cubicBezTo>
                      <a:pt x="117" y="186"/>
                      <a:pt x="138" y="207"/>
                      <a:pt x="138" y="232"/>
                    </a:cubicBezTo>
                    <a:cubicBezTo>
                      <a:pt x="138" y="258"/>
                      <a:pt x="117" y="279"/>
                      <a:pt x="92" y="27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2" tIns="60941" rIns="121882" bIns="609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Light"/>
                  <a:ea typeface="+mn-ea"/>
                  <a:cs typeface="+mn-cs"/>
                </a:endParaRPr>
              </a:p>
            </p:txBody>
          </p:sp>
          <p:sp>
            <p:nvSpPr>
              <p:cNvPr id="157" name="Oval 38">
                <a:extLst>
                  <a:ext uri="{FF2B5EF4-FFF2-40B4-BE49-F238E27FC236}">
                    <a16:creationId xmlns:a16="http://schemas.microsoft.com/office/drawing/2014/main" id="{5012A68A-2694-19E2-7400-099293EF03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6" y="2356"/>
                <a:ext cx="92" cy="9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2" tIns="60941" rIns="121882" bIns="609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Light"/>
                  <a:ea typeface="+mn-ea"/>
                  <a:cs typeface="+mn-cs"/>
                </a:endParaRPr>
              </a:p>
            </p:txBody>
          </p:sp>
        </p:grpSp>
        <p:sp>
          <p:nvSpPr>
            <p:cNvPr id="151" name="Freeform 91">
              <a:extLst>
                <a:ext uri="{FF2B5EF4-FFF2-40B4-BE49-F238E27FC236}">
                  <a16:creationId xmlns:a16="http://schemas.microsoft.com/office/drawing/2014/main" id="{63C55405-5741-D57C-EABF-B2EB810839BE}"/>
                </a:ext>
              </a:extLst>
            </p:cNvPr>
            <p:cNvSpPr>
              <a:spLocks noChangeAspect="1" noEditPoints="1"/>
            </p:cNvSpPr>
            <p:nvPr>
              <p:custDataLst>
                <p:tags r:id="rId20"/>
              </p:custDataLst>
            </p:nvPr>
          </p:nvSpPr>
          <p:spPr bwMode="auto">
            <a:xfrm>
              <a:off x="740741" y="5634555"/>
              <a:ext cx="482699" cy="570599"/>
            </a:xfrm>
            <a:custGeom>
              <a:avLst/>
              <a:gdLst>
                <a:gd name="T0" fmla="*/ 400 w 1760"/>
                <a:gd name="T1" fmla="*/ 0 h 2080"/>
                <a:gd name="T2" fmla="*/ 1520 w 1760"/>
                <a:gd name="T3" fmla="*/ 0 h 2080"/>
                <a:gd name="T4" fmla="*/ 1760 w 1760"/>
                <a:gd name="T5" fmla="*/ 240 h 2080"/>
                <a:gd name="T6" fmla="*/ 1760 w 1760"/>
                <a:gd name="T7" fmla="*/ 2080 h 2080"/>
                <a:gd name="T8" fmla="*/ 160 w 1760"/>
                <a:gd name="T9" fmla="*/ 2080 h 2080"/>
                <a:gd name="T10" fmla="*/ 160 w 1760"/>
                <a:gd name="T11" fmla="*/ 2000 h 2080"/>
                <a:gd name="T12" fmla="*/ 400 w 1760"/>
                <a:gd name="T13" fmla="*/ 1760 h 2080"/>
                <a:gd name="T14" fmla="*/ 1240 w 1760"/>
                <a:gd name="T15" fmla="*/ 1760 h 2080"/>
                <a:gd name="T16" fmla="*/ 1280 w 1760"/>
                <a:gd name="T17" fmla="*/ 1720 h 2080"/>
                <a:gd name="T18" fmla="*/ 1280 w 1760"/>
                <a:gd name="T19" fmla="*/ 680 h 2080"/>
                <a:gd name="T20" fmla="*/ 1240 w 1760"/>
                <a:gd name="T21" fmla="*/ 640 h 2080"/>
                <a:gd name="T22" fmla="*/ 400 w 1760"/>
                <a:gd name="T23" fmla="*/ 640 h 2080"/>
                <a:gd name="T24" fmla="*/ 160 w 1760"/>
                <a:gd name="T25" fmla="*/ 400 h 2080"/>
                <a:gd name="T26" fmla="*/ 160 w 1760"/>
                <a:gd name="T27" fmla="*/ 240 h 2080"/>
                <a:gd name="T28" fmla="*/ 400 w 1760"/>
                <a:gd name="T29" fmla="*/ 0 h 2080"/>
                <a:gd name="T30" fmla="*/ 1200 w 1760"/>
                <a:gd name="T31" fmla="*/ 1168 h 2080"/>
                <a:gd name="T32" fmla="*/ 1000 w 1760"/>
                <a:gd name="T33" fmla="*/ 1623 h 2080"/>
                <a:gd name="T34" fmla="*/ 1000 w 1760"/>
                <a:gd name="T35" fmla="*/ 1680 h 2080"/>
                <a:gd name="T36" fmla="*/ 480 w 1760"/>
                <a:gd name="T37" fmla="*/ 1680 h 2080"/>
                <a:gd name="T38" fmla="*/ 480 w 1760"/>
                <a:gd name="T39" fmla="*/ 1624 h 2080"/>
                <a:gd name="T40" fmla="*/ 312 w 1760"/>
                <a:gd name="T41" fmla="*/ 1464 h 2080"/>
                <a:gd name="T42" fmla="*/ 168 w 1760"/>
                <a:gd name="T43" fmla="*/ 1444 h 2080"/>
                <a:gd name="T44" fmla="*/ 0 w 1760"/>
                <a:gd name="T45" fmla="*/ 1260 h 2080"/>
                <a:gd name="T46" fmla="*/ 180 w 1760"/>
                <a:gd name="T47" fmla="*/ 1080 h 2080"/>
                <a:gd name="T48" fmla="*/ 240 w 1760"/>
                <a:gd name="T49" fmla="*/ 1080 h 2080"/>
                <a:gd name="T50" fmla="*/ 240 w 1760"/>
                <a:gd name="T51" fmla="*/ 960 h 2080"/>
                <a:gd name="T52" fmla="*/ 1200 w 1760"/>
                <a:gd name="T53" fmla="*/ 960 h 2080"/>
                <a:gd name="T54" fmla="*/ 1200 w 1760"/>
                <a:gd name="T55" fmla="*/ 1168 h 2080"/>
                <a:gd name="T56" fmla="*/ 1120 w 1760"/>
                <a:gd name="T57" fmla="*/ 1168 h 2080"/>
                <a:gd name="T58" fmla="*/ 1120 w 1760"/>
                <a:gd name="T59" fmla="*/ 1040 h 2080"/>
                <a:gd name="T60" fmla="*/ 320 w 1760"/>
                <a:gd name="T61" fmla="*/ 1040 h 2080"/>
                <a:gd name="T62" fmla="*/ 320 w 1760"/>
                <a:gd name="T63" fmla="*/ 1160 h 2080"/>
                <a:gd name="T64" fmla="*/ 180 w 1760"/>
                <a:gd name="T65" fmla="*/ 1160 h 2080"/>
                <a:gd name="T66" fmla="*/ 80 w 1760"/>
                <a:gd name="T67" fmla="*/ 1260 h 2080"/>
                <a:gd name="T68" fmla="*/ 173 w 1760"/>
                <a:gd name="T69" fmla="*/ 1364 h 2080"/>
                <a:gd name="T70" fmla="*/ 352 w 1760"/>
                <a:gd name="T71" fmla="*/ 1392 h 2080"/>
                <a:gd name="T72" fmla="*/ 368 w 1760"/>
                <a:gd name="T73" fmla="*/ 1398 h 2080"/>
                <a:gd name="T74" fmla="*/ 538 w 1760"/>
                <a:gd name="T75" fmla="*/ 1564 h 2080"/>
                <a:gd name="T76" fmla="*/ 560 w 1760"/>
                <a:gd name="T77" fmla="*/ 1576 h 2080"/>
                <a:gd name="T78" fmla="*/ 560 w 1760"/>
                <a:gd name="T79" fmla="*/ 1600 h 2080"/>
                <a:gd name="T80" fmla="*/ 920 w 1760"/>
                <a:gd name="T81" fmla="*/ 1600 h 2080"/>
                <a:gd name="T82" fmla="*/ 920 w 1760"/>
                <a:gd name="T83" fmla="*/ 1576 h 2080"/>
                <a:gd name="T84" fmla="*/ 942 w 1760"/>
                <a:gd name="T85" fmla="*/ 1564 h 2080"/>
                <a:gd name="T86" fmla="*/ 1120 w 1760"/>
                <a:gd name="T87" fmla="*/ 1168 h 2080"/>
                <a:gd name="T88" fmla="*/ 1040 w 1760"/>
                <a:gd name="T89" fmla="*/ 680 h 2080"/>
                <a:gd name="T90" fmla="*/ 1040 w 1760"/>
                <a:gd name="T91" fmla="*/ 692 h 2080"/>
                <a:gd name="T92" fmla="*/ 940 w 1760"/>
                <a:gd name="T93" fmla="*/ 810 h 2080"/>
                <a:gd name="T94" fmla="*/ 800 w 1760"/>
                <a:gd name="T95" fmla="*/ 834 h 2080"/>
                <a:gd name="T96" fmla="*/ 800 w 1760"/>
                <a:gd name="T97" fmla="*/ 880 h 2080"/>
                <a:gd name="T98" fmla="*/ 640 w 1760"/>
                <a:gd name="T99" fmla="*/ 880 h 2080"/>
                <a:gd name="T100" fmla="*/ 640 w 1760"/>
                <a:gd name="T101" fmla="*/ 834 h 2080"/>
                <a:gd name="T102" fmla="*/ 500 w 1760"/>
                <a:gd name="T103" fmla="*/ 810 h 2080"/>
                <a:gd name="T104" fmla="*/ 400 w 1760"/>
                <a:gd name="T105" fmla="*/ 692 h 2080"/>
                <a:gd name="T106" fmla="*/ 400 w 1760"/>
                <a:gd name="T107" fmla="*/ 680 h 2080"/>
                <a:gd name="T108" fmla="*/ 1040 w 1760"/>
                <a:gd name="T109" fmla="*/ 680 h 2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60" h="2080">
                  <a:moveTo>
                    <a:pt x="400" y="0"/>
                  </a:moveTo>
                  <a:cubicBezTo>
                    <a:pt x="1520" y="0"/>
                    <a:pt x="1520" y="0"/>
                    <a:pt x="1520" y="0"/>
                  </a:cubicBezTo>
                  <a:cubicBezTo>
                    <a:pt x="1652" y="0"/>
                    <a:pt x="1760" y="108"/>
                    <a:pt x="1760" y="240"/>
                  </a:cubicBezTo>
                  <a:cubicBezTo>
                    <a:pt x="1760" y="2080"/>
                    <a:pt x="1760" y="2080"/>
                    <a:pt x="1760" y="2080"/>
                  </a:cubicBezTo>
                  <a:cubicBezTo>
                    <a:pt x="160" y="2080"/>
                    <a:pt x="160" y="2080"/>
                    <a:pt x="160" y="2080"/>
                  </a:cubicBezTo>
                  <a:cubicBezTo>
                    <a:pt x="160" y="2000"/>
                    <a:pt x="160" y="2000"/>
                    <a:pt x="160" y="2000"/>
                  </a:cubicBezTo>
                  <a:cubicBezTo>
                    <a:pt x="160" y="1868"/>
                    <a:pt x="268" y="1760"/>
                    <a:pt x="400" y="1760"/>
                  </a:cubicBezTo>
                  <a:cubicBezTo>
                    <a:pt x="1240" y="1760"/>
                    <a:pt x="1240" y="1760"/>
                    <a:pt x="1240" y="1760"/>
                  </a:cubicBezTo>
                  <a:cubicBezTo>
                    <a:pt x="1262" y="1760"/>
                    <a:pt x="1280" y="1742"/>
                    <a:pt x="1280" y="1720"/>
                  </a:cubicBezTo>
                  <a:cubicBezTo>
                    <a:pt x="1280" y="680"/>
                    <a:pt x="1280" y="680"/>
                    <a:pt x="1280" y="680"/>
                  </a:cubicBezTo>
                  <a:cubicBezTo>
                    <a:pt x="1280" y="658"/>
                    <a:pt x="1262" y="640"/>
                    <a:pt x="1240" y="640"/>
                  </a:cubicBezTo>
                  <a:cubicBezTo>
                    <a:pt x="400" y="640"/>
                    <a:pt x="400" y="640"/>
                    <a:pt x="400" y="640"/>
                  </a:cubicBezTo>
                  <a:cubicBezTo>
                    <a:pt x="268" y="640"/>
                    <a:pt x="160" y="532"/>
                    <a:pt x="160" y="400"/>
                  </a:cubicBezTo>
                  <a:cubicBezTo>
                    <a:pt x="160" y="240"/>
                    <a:pt x="160" y="240"/>
                    <a:pt x="160" y="240"/>
                  </a:cubicBezTo>
                  <a:cubicBezTo>
                    <a:pt x="160" y="108"/>
                    <a:pt x="268" y="0"/>
                    <a:pt x="400" y="0"/>
                  </a:cubicBezTo>
                  <a:close/>
                  <a:moveTo>
                    <a:pt x="1200" y="1168"/>
                  </a:moveTo>
                  <a:cubicBezTo>
                    <a:pt x="1200" y="1334"/>
                    <a:pt x="1149" y="1529"/>
                    <a:pt x="1000" y="1623"/>
                  </a:cubicBezTo>
                  <a:cubicBezTo>
                    <a:pt x="1000" y="1680"/>
                    <a:pt x="1000" y="1680"/>
                    <a:pt x="1000" y="1680"/>
                  </a:cubicBezTo>
                  <a:cubicBezTo>
                    <a:pt x="480" y="1680"/>
                    <a:pt x="480" y="1680"/>
                    <a:pt x="480" y="1680"/>
                  </a:cubicBezTo>
                  <a:cubicBezTo>
                    <a:pt x="480" y="1624"/>
                    <a:pt x="480" y="1624"/>
                    <a:pt x="480" y="1624"/>
                  </a:cubicBezTo>
                  <a:cubicBezTo>
                    <a:pt x="414" y="1586"/>
                    <a:pt x="350" y="1530"/>
                    <a:pt x="312" y="1464"/>
                  </a:cubicBezTo>
                  <a:cubicBezTo>
                    <a:pt x="267" y="1452"/>
                    <a:pt x="214" y="1447"/>
                    <a:pt x="168" y="1444"/>
                  </a:cubicBezTo>
                  <a:cubicBezTo>
                    <a:pt x="70" y="1438"/>
                    <a:pt x="0" y="1357"/>
                    <a:pt x="0" y="1260"/>
                  </a:cubicBezTo>
                  <a:cubicBezTo>
                    <a:pt x="0" y="1161"/>
                    <a:pt x="81" y="1080"/>
                    <a:pt x="180" y="1080"/>
                  </a:cubicBezTo>
                  <a:cubicBezTo>
                    <a:pt x="240" y="1080"/>
                    <a:pt x="240" y="1080"/>
                    <a:pt x="240" y="1080"/>
                  </a:cubicBezTo>
                  <a:cubicBezTo>
                    <a:pt x="240" y="960"/>
                    <a:pt x="240" y="960"/>
                    <a:pt x="240" y="960"/>
                  </a:cubicBezTo>
                  <a:cubicBezTo>
                    <a:pt x="1200" y="960"/>
                    <a:pt x="1200" y="960"/>
                    <a:pt x="1200" y="960"/>
                  </a:cubicBezTo>
                  <a:lnTo>
                    <a:pt x="1200" y="1168"/>
                  </a:lnTo>
                  <a:close/>
                  <a:moveTo>
                    <a:pt x="1120" y="1168"/>
                  </a:moveTo>
                  <a:cubicBezTo>
                    <a:pt x="1120" y="1040"/>
                    <a:pt x="1120" y="1040"/>
                    <a:pt x="1120" y="1040"/>
                  </a:cubicBezTo>
                  <a:cubicBezTo>
                    <a:pt x="320" y="1040"/>
                    <a:pt x="320" y="1040"/>
                    <a:pt x="320" y="1040"/>
                  </a:cubicBezTo>
                  <a:cubicBezTo>
                    <a:pt x="320" y="1160"/>
                    <a:pt x="320" y="1160"/>
                    <a:pt x="320" y="1160"/>
                  </a:cubicBezTo>
                  <a:cubicBezTo>
                    <a:pt x="180" y="1160"/>
                    <a:pt x="180" y="1160"/>
                    <a:pt x="180" y="1160"/>
                  </a:cubicBezTo>
                  <a:cubicBezTo>
                    <a:pt x="125" y="1160"/>
                    <a:pt x="80" y="1205"/>
                    <a:pt x="80" y="1260"/>
                  </a:cubicBezTo>
                  <a:cubicBezTo>
                    <a:pt x="80" y="1315"/>
                    <a:pt x="117" y="1361"/>
                    <a:pt x="173" y="1364"/>
                  </a:cubicBezTo>
                  <a:cubicBezTo>
                    <a:pt x="229" y="1368"/>
                    <a:pt x="299" y="1374"/>
                    <a:pt x="352" y="1392"/>
                  </a:cubicBezTo>
                  <a:cubicBezTo>
                    <a:pt x="368" y="1398"/>
                    <a:pt x="368" y="1398"/>
                    <a:pt x="368" y="1398"/>
                  </a:cubicBezTo>
                  <a:cubicBezTo>
                    <a:pt x="406" y="1473"/>
                    <a:pt x="463" y="1527"/>
                    <a:pt x="538" y="1564"/>
                  </a:cubicBezTo>
                  <a:cubicBezTo>
                    <a:pt x="560" y="1576"/>
                    <a:pt x="560" y="1576"/>
                    <a:pt x="560" y="1576"/>
                  </a:cubicBezTo>
                  <a:cubicBezTo>
                    <a:pt x="560" y="1600"/>
                    <a:pt x="560" y="1600"/>
                    <a:pt x="560" y="1600"/>
                  </a:cubicBezTo>
                  <a:cubicBezTo>
                    <a:pt x="920" y="1600"/>
                    <a:pt x="920" y="1600"/>
                    <a:pt x="920" y="1600"/>
                  </a:cubicBezTo>
                  <a:cubicBezTo>
                    <a:pt x="920" y="1576"/>
                    <a:pt x="920" y="1576"/>
                    <a:pt x="920" y="1576"/>
                  </a:cubicBezTo>
                  <a:cubicBezTo>
                    <a:pt x="942" y="1564"/>
                    <a:pt x="942" y="1564"/>
                    <a:pt x="942" y="1564"/>
                  </a:cubicBezTo>
                  <a:cubicBezTo>
                    <a:pt x="1078" y="1497"/>
                    <a:pt x="1120" y="1306"/>
                    <a:pt x="1120" y="1168"/>
                  </a:cubicBezTo>
                  <a:close/>
                  <a:moveTo>
                    <a:pt x="1040" y="680"/>
                  </a:moveTo>
                  <a:cubicBezTo>
                    <a:pt x="1040" y="692"/>
                    <a:pt x="1040" y="692"/>
                    <a:pt x="1040" y="692"/>
                  </a:cubicBezTo>
                  <a:cubicBezTo>
                    <a:pt x="1040" y="751"/>
                    <a:pt x="998" y="801"/>
                    <a:pt x="940" y="810"/>
                  </a:cubicBezTo>
                  <a:cubicBezTo>
                    <a:pt x="928" y="812"/>
                    <a:pt x="800" y="834"/>
                    <a:pt x="800" y="834"/>
                  </a:cubicBezTo>
                  <a:cubicBezTo>
                    <a:pt x="800" y="880"/>
                    <a:pt x="800" y="880"/>
                    <a:pt x="800" y="880"/>
                  </a:cubicBezTo>
                  <a:cubicBezTo>
                    <a:pt x="747" y="880"/>
                    <a:pt x="693" y="880"/>
                    <a:pt x="640" y="880"/>
                  </a:cubicBezTo>
                  <a:cubicBezTo>
                    <a:pt x="640" y="834"/>
                    <a:pt x="640" y="834"/>
                    <a:pt x="640" y="834"/>
                  </a:cubicBezTo>
                  <a:cubicBezTo>
                    <a:pt x="640" y="834"/>
                    <a:pt x="512" y="812"/>
                    <a:pt x="500" y="810"/>
                  </a:cubicBezTo>
                  <a:cubicBezTo>
                    <a:pt x="442" y="801"/>
                    <a:pt x="400" y="751"/>
                    <a:pt x="400" y="692"/>
                  </a:cubicBezTo>
                  <a:cubicBezTo>
                    <a:pt x="400" y="680"/>
                    <a:pt x="400" y="680"/>
                    <a:pt x="400" y="680"/>
                  </a:cubicBezTo>
                  <a:cubicBezTo>
                    <a:pt x="602" y="680"/>
                    <a:pt x="838" y="680"/>
                    <a:pt x="1040" y="68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882" tIns="60941" rIns="121882" bIns="609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/>
                <a:ea typeface="+mn-ea"/>
                <a:cs typeface="+mn-cs"/>
              </a:endParaRPr>
            </a:p>
          </p:txBody>
        </p:sp>
      </p:grpSp>
      <p:sp>
        <p:nvSpPr>
          <p:cNvPr id="158" name="Freeform 76">
            <a:extLst>
              <a:ext uri="{FF2B5EF4-FFF2-40B4-BE49-F238E27FC236}">
                <a16:creationId xmlns:a16="http://schemas.microsoft.com/office/drawing/2014/main" id="{5857ABC4-9754-A778-8368-E2FA289A8D69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 bwMode="auto">
          <a:xfrm>
            <a:off x="1210161" y="4768574"/>
            <a:ext cx="550094" cy="373687"/>
          </a:xfrm>
          <a:custGeom>
            <a:avLst/>
            <a:gdLst>
              <a:gd name="T0" fmla="*/ 640 w 2120"/>
              <a:gd name="T1" fmla="*/ 520 h 1440"/>
              <a:gd name="T2" fmla="*/ 600 w 2120"/>
              <a:gd name="T3" fmla="*/ 560 h 1440"/>
              <a:gd name="T4" fmla="*/ 400 w 2120"/>
              <a:gd name="T5" fmla="*/ 560 h 1440"/>
              <a:gd name="T6" fmla="*/ 400 w 2120"/>
              <a:gd name="T7" fmla="*/ 680 h 1440"/>
              <a:gd name="T8" fmla="*/ 0 w 2120"/>
              <a:gd name="T9" fmla="*/ 680 h 1440"/>
              <a:gd name="T10" fmla="*/ 0 w 2120"/>
              <a:gd name="T11" fmla="*/ 760 h 1440"/>
              <a:gd name="T12" fmla="*/ 400 w 2120"/>
              <a:gd name="T13" fmla="*/ 760 h 1440"/>
              <a:gd name="T14" fmla="*/ 400 w 2120"/>
              <a:gd name="T15" fmla="*/ 880 h 1440"/>
              <a:gd name="T16" fmla="*/ 600 w 2120"/>
              <a:gd name="T17" fmla="*/ 880 h 1440"/>
              <a:gd name="T18" fmla="*/ 640 w 2120"/>
              <a:gd name="T19" fmla="*/ 920 h 1440"/>
              <a:gd name="T20" fmla="*/ 1040 w 2120"/>
              <a:gd name="T21" fmla="*/ 1360 h 1440"/>
              <a:gd name="T22" fmla="*/ 1366 w 2120"/>
              <a:gd name="T23" fmla="*/ 1360 h 1440"/>
              <a:gd name="T24" fmla="*/ 1480 w 2120"/>
              <a:gd name="T25" fmla="*/ 1440 h 1440"/>
              <a:gd name="T26" fmla="*/ 1560 w 2120"/>
              <a:gd name="T27" fmla="*/ 1440 h 1440"/>
              <a:gd name="T28" fmla="*/ 1680 w 2120"/>
              <a:gd name="T29" fmla="*/ 1320 h 1440"/>
              <a:gd name="T30" fmla="*/ 1680 w 2120"/>
              <a:gd name="T31" fmla="*/ 1120 h 1440"/>
              <a:gd name="T32" fmla="*/ 2040 w 2120"/>
              <a:gd name="T33" fmla="*/ 1120 h 1440"/>
              <a:gd name="T34" fmla="*/ 2120 w 2120"/>
              <a:gd name="T35" fmla="*/ 1040 h 1440"/>
              <a:gd name="T36" fmla="*/ 2040 w 2120"/>
              <a:gd name="T37" fmla="*/ 960 h 1440"/>
              <a:gd name="T38" fmla="*/ 1680 w 2120"/>
              <a:gd name="T39" fmla="*/ 960 h 1440"/>
              <a:gd name="T40" fmla="*/ 1680 w 2120"/>
              <a:gd name="T41" fmla="*/ 480 h 1440"/>
              <a:gd name="T42" fmla="*/ 2040 w 2120"/>
              <a:gd name="T43" fmla="*/ 480 h 1440"/>
              <a:gd name="T44" fmla="*/ 2120 w 2120"/>
              <a:gd name="T45" fmla="*/ 400 h 1440"/>
              <a:gd name="T46" fmla="*/ 2040 w 2120"/>
              <a:gd name="T47" fmla="*/ 320 h 1440"/>
              <a:gd name="T48" fmla="*/ 1680 w 2120"/>
              <a:gd name="T49" fmla="*/ 320 h 1440"/>
              <a:gd name="T50" fmla="*/ 1680 w 2120"/>
              <a:gd name="T51" fmla="*/ 120 h 1440"/>
              <a:gd name="T52" fmla="*/ 1560 w 2120"/>
              <a:gd name="T53" fmla="*/ 0 h 1440"/>
              <a:gd name="T54" fmla="*/ 1480 w 2120"/>
              <a:gd name="T55" fmla="*/ 0 h 1440"/>
              <a:gd name="T56" fmla="*/ 1366 w 2120"/>
              <a:gd name="T57" fmla="*/ 80 h 1440"/>
              <a:gd name="T58" fmla="*/ 1040 w 2120"/>
              <a:gd name="T59" fmla="*/ 80 h 1440"/>
              <a:gd name="T60" fmla="*/ 640 w 2120"/>
              <a:gd name="T61" fmla="*/ 520 h 1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2120" h="1440">
                <a:moveTo>
                  <a:pt x="640" y="520"/>
                </a:moveTo>
                <a:cubicBezTo>
                  <a:pt x="640" y="542"/>
                  <a:pt x="622" y="560"/>
                  <a:pt x="600" y="560"/>
                </a:cubicBezTo>
                <a:cubicBezTo>
                  <a:pt x="400" y="560"/>
                  <a:pt x="400" y="560"/>
                  <a:pt x="400" y="560"/>
                </a:cubicBezTo>
                <a:cubicBezTo>
                  <a:pt x="400" y="680"/>
                  <a:pt x="400" y="680"/>
                  <a:pt x="400" y="680"/>
                </a:cubicBezTo>
                <a:cubicBezTo>
                  <a:pt x="0" y="680"/>
                  <a:pt x="0" y="680"/>
                  <a:pt x="0" y="680"/>
                </a:cubicBezTo>
                <a:cubicBezTo>
                  <a:pt x="0" y="760"/>
                  <a:pt x="0" y="760"/>
                  <a:pt x="0" y="760"/>
                </a:cubicBezTo>
                <a:cubicBezTo>
                  <a:pt x="400" y="760"/>
                  <a:pt x="400" y="760"/>
                  <a:pt x="400" y="760"/>
                </a:cubicBezTo>
                <a:cubicBezTo>
                  <a:pt x="400" y="880"/>
                  <a:pt x="400" y="880"/>
                  <a:pt x="400" y="880"/>
                </a:cubicBezTo>
                <a:cubicBezTo>
                  <a:pt x="600" y="880"/>
                  <a:pt x="600" y="880"/>
                  <a:pt x="600" y="880"/>
                </a:cubicBezTo>
                <a:cubicBezTo>
                  <a:pt x="622" y="880"/>
                  <a:pt x="640" y="898"/>
                  <a:pt x="640" y="920"/>
                </a:cubicBezTo>
                <a:cubicBezTo>
                  <a:pt x="640" y="1180"/>
                  <a:pt x="765" y="1360"/>
                  <a:pt x="1040" y="1360"/>
                </a:cubicBezTo>
                <a:cubicBezTo>
                  <a:pt x="1366" y="1360"/>
                  <a:pt x="1366" y="1360"/>
                  <a:pt x="1366" y="1360"/>
                </a:cubicBezTo>
                <a:cubicBezTo>
                  <a:pt x="1383" y="1408"/>
                  <a:pt x="1429" y="1440"/>
                  <a:pt x="1480" y="1440"/>
                </a:cubicBezTo>
                <a:cubicBezTo>
                  <a:pt x="1560" y="1440"/>
                  <a:pt x="1560" y="1440"/>
                  <a:pt x="1560" y="1440"/>
                </a:cubicBezTo>
                <a:cubicBezTo>
                  <a:pt x="1626" y="1440"/>
                  <a:pt x="1680" y="1386"/>
                  <a:pt x="1680" y="1320"/>
                </a:cubicBezTo>
                <a:cubicBezTo>
                  <a:pt x="1680" y="1120"/>
                  <a:pt x="1680" y="1120"/>
                  <a:pt x="1680" y="1120"/>
                </a:cubicBezTo>
                <a:cubicBezTo>
                  <a:pt x="2040" y="1120"/>
                  <a:pt x="2040" y="1120"/>
                  <a:pt x="2040" y="1120"/>
                </a:cubicBezTo>
                <a:cubicBezTo>
                  <a:pt x="2084" y="1120"/>
                  <a:pt x="2120" y="1084"/>
                  <a:pt x="2120" y="1040"/>
                </a:cubicBezTo>
                <a:cubicBezTo>
                  <a:pt x="2120" y="996"/>
                  <a:pt x="2084" y="960"/>
                  <a:pt x="2040" y="960"/>
                </a:cubicBezTo>
                <a:cubicBezTo>
                  <a:pt x="1680" y="960"/>
                  <a:pt x="1680" y="960"/>
                  <a:pt x="1680" y="960"/>
                </a:cubicBezTo>
                <a:cubicBezTo>
                  <a:pt x="1680" y="480"/>
                  <a:pt x="1680" y="480"/>
                  <a:pt x="1680" y="480"/>
                </a:cubicBezTo>
                <a:cubicBezTo>
                  <a:pt x="2040" y="480"/>
                  <a:pt x="2040" y="480"/>
                  <a:pt x="2040" y="480"/>
                </a:cubicBezTo>
                <a:cubicBezTo>
                  <a:pt x="2084" y="480"/>
                  <a:pt x="2120" y="444"/>
                  <a:pt x="2120" y="400"/>
                </a:cubicBezTo>
                <a:cubicBezTo>
                  <a:pt x="2120" y="356"/>
                  <a:pt x="2084" y="320"/>
                  <a:pt x="2040" y="320"/>
                </a:cubicBezTo>
                <a:cubicBezTo>
                  <a:pt x="1680" y="320"/>
                  <a:pt x="1680" y="320"/>
                  <a:pt x="1680" y="320"/>
                </a:cubicBezTo>
                <a:cubicBezTo>
                  <a:pt x="1680" y="120"/>
                  <a:pt x="1680" y="120"/>
                  <a:pt x="1680" y="120"/>
                </a:cubicBezTo>
                <a:cubicBezTo>
                  <a:pt x="1680" y="54"/>
                  <a:pt x="1626" y="0"/>
                  <a:pt x="1560" y="0"/>
                </a:cubicBezTo>
                <a:cubicBezTo>
                  <a:pt x="1480" y="0"/>
                  <a:pt x="1480" y="0"/>
                  <a:pt x="1480" y="0"/>
                </a:cubicBezTo>
                <a:cubicBezTo>
                  <a:pt x="1429" y="0"/>
                  <a:pt x="1383" y="33"/>
                  <a:pt x="1366" y="80"/>
                </a:cubicBezTo>
                <a:cubicBezTo>
                  <a:pt x="1040" y="80"/>
                  <a:pt x="1040" y="80"/>
                  <a:pt x="1040" y="80"/>
                </a:cubicBezTo>
                <a:cubicBezTo>
                  <a:pt x="765" y="80"/>
                  <a:pt x="640" y="261"/>
                  <a:pt x="640" y="52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21882" tIns="60941" rIns="121882" bIns="6094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1">
              <a:ln>
                <a:noFill/>
              </a:ln>
              <a:solidFill>
                <a:srgbClr val="3B4145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159" name="Grafik 39">
            <a:extLst>
              <a:ext uri="{FF2B5EF4-FFF2-40B4-BE49-F238E27FC236}">
                <a16:creationId xmlns:a16="http://schemas.microsoft.com/office/drawing/2014/main" id="{D1144388-FFE6-5B86-FD12-479CDEC9E635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8918456" y="4723588"/>
            <a:ext cx="574972" cy="468000"/>
          </a:xfrm>
          <a:prstGeom prst="rect">
            <a:avLst/>
          </a:prstGeom>
        </p:spPr>
      </p:pic>
      <p:sp>
        <p:nvSpPr>
          <p:cNvPr id="160" name="Rechteck 23">
            <a:extLst>
              <a:ext uri="{FF2B5EF4-FFF2-40B4-BE49-F238E27FC236}">
                <a16:creationId xmlns:a16="http://schemas.microsoft.com/office/drawing/2014/main" id="{2E9FA703-D68D-3CC5-426E-EFD23D59A5BC}"/>
              </a:ext>
            </a:extLst>
          </p:cNvPr>
          <p:cNvSpPr/>
          <p:nvPr/>
        </p:nvSpPr>
        <p:spPr bwMode="gray">
          <a:xfrm>
            <a:off x="8442898" y="5282455"/>
            <a:ext cx="1526088" cy="384296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874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519FBC"/>
                </a:solidFill>
                <a:effectLst/>
                <a:uLnTx/>
                <a:uFillTx/>
                <a:latin typeface="Lato"/>
                <a:ea typeface="+mn-ea"/>
                <a:cs typeface="Arial" pitchFamily="34" charset="0"/>
              </a:rPr>
              <a:t>Air Conditions</a:t>
            </a:r>
          </a:p>
        </p:txBody>
      </p:sp>
      <p:sp>
        <p:nvSpPr>
          <p:cNvPr id="161" name="Text Placeholder 2">
            <a:extLst>
              <a:ext uri="{FF2B5EF4-FFF2-40B4-BE49-F238E27FC236}">
                <a16:creationId xmlns:a16="http://schemas.microsoft.com/office/drawing/2014/main" id="{99C3E039-4BF0-A006-B2C3-22916C5DBE26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739932" y="944306"/>
            <a:ext cx="8164380" cy="206146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8000" indent="-252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52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Lato" panose="020F050202020403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2000" indent="-252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8000" indent="-252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52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000" indent="-252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4000" indent="-252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A5B0C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B4145"/>
                </a:solidFill>
                <a:effectLst/>
                <a:uLnTx/>
                <a:uFillTx/>
                <a:latin typeface="Arial" panose="020B0604020202020204"/>
              </a:rPr>
              <a:t>Sales Value EURO in % / growth rate YoY in %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B4145"/>
                </a:solidFill>
                <a:effectLst/>
                <a:uLnTx/>
                <a:uFillTx/>
                <a:latin typeface="Arial" panose="020B0604020202020204"/>
                <a:sym typeface="Webdings" panose="05030102010509060703" pitchFamily="18" charset="2"/>
              </a:rPr>
              <a:t>GREECE YTD: </a:t>
            </a:r>
            <a:r>
              <a:rPr lang="en-US" sz="1600" dirty="0">
                <a:solidFill>
                  <a:srgbClr val="3B4145"/>
                </a:solidFill>
                <a:latin typeface="Arial" panose="020B0604020202020204"/>
                <a:sym typeface="Webdings" panose="05030102010509060703" pitchFamily="18" charset="2"/>
              </a:rPr>
              <a:t>Dec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B4145"/>
                </a:solidFill>
                <a:effectLst/>
                <a:uLnTx/>
                <a:uFillTx/>
                <a:latin typeface="Arial" panose="020B0604020202020204"/>
                <a:sym typeface="Webdings" panose="05030102010509060703" pitchFamily="18" charset="2"/>
              </a:rPr>
              <a:t>ember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B4145"/>
                </a:solidFill>
                <a:effectLst/>
                <a:uLnTx/>
                <a:uFillTx/>
                <a:latin typeface="Arial" panose="020B0604020202020204"/>
              </a:rPr>
              <a:t> 2025</a:t>
            </a:r>
          </a:p>
        </p:txBody>
      </p:sp>
      <p:pic>
        <p:nvPicPr>
          <p:cNvPr id="162" name="Picture 23">
            <a:extLst>
              <a:ext uri="{FF2B5EF4-FFF2-40B4-BE49-F238E27FC236}">
                <a16:creationId xmlns:a16="http://schemas.microsoft.com/office/drawing/2014/main" id="{D6326A7B-FB29-D385-A337-130EC8621D11}"/>
              </a:ext>
            </a:extLst>
          </p:cNvPr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3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342335" y="955585"/>
            <a:ext cx="324000" cy="21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133661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375C43-88AF-DE27-08FA-A2A0C55673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9A25EBB-66C1-7337-36FF-0F49D1B58C8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88030" y="6458411"/>
            <a:ext cx="404321" cy="28295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04DF46-C0DC-4ADC-9A6F-918CC4703A43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3B4145">
                    <a:tint val="75000"/>
                    <a:alpha val="0"/>
                  </a:srgbClr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srgbClr val="3B4145">
                  <a:tint val="75000"/>
                  <a:alpha val="0"/>
                </a:srgbClr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90AFAD-5FFD-6575-3FD3-78E669E5080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4553" y="6145091"/>
            <a:ext cx="11607800" cy="194127"/>
          </a:xfrm>
        </p:spPr>
        <p:txBody>
          <a:bodyPr/>
          <a:lstStyle/>
          <a:p>
            <a:r>
              <a:rPr lang="en-US" sz="900" dirty="0"/>
              <a:t>Source: GfK Market Intelligence: Sales Tracking, Greece Coverage. Sales revenue growth 2025 vs 2024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6641E62-C67C-2420-9A19-395465D9A6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>
                <a:solidFill>
                  <a:schemeClr val="accent1"/>
                </a:solidFill>
              </a:rPr>
              <a:t>NielsenIQ</a:t>
            </a:r>
            <a:r>
              <a:rPr lang="en-US" sz="2400" dirty="0">
                <a:solidFill>
                  <a:schemeClr val="tx1">
                    <a:lumMod val="50000"/>
                  </a:schemeClr>
                </a:solidFill>
              </a:rPr>
              <a:t> | </a:t>
            </a:r>
            <a:r>
              <a:rPr lang="en-US" sz="2400" dirty="0"/>
              <a:t>Tech &amp; Durables Market: Demand vs Revenue</a:t>
            </a:r>
          </a:p>
        </p:txBody>
      </p:sp>
      <p:graphicFrame>
        <p:nvGraphicFramePr>
          <p:cNvPr id="41" name="Content Placeholder 4">
            <a:extLst>
              <a:ext uri="{FF2B5EF4-FFF2-40B4-BE49-F238E27FC236}">
                <a16:creationId xmlns:a16="http://schemas.microsoft.com/office/drawing/2014/main" id="{6F9C239A-0812-1671-18FE-6BCC4FC373C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0572271"/>
              </p:ext>
            </p:extLst>
          </p:nvPr>
        </p:nvGraphicFramePr>
        <p:xfrm>
          <a:off x="176803" y="1174744"/>
          <a:ext cx="11423300" cy="45991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44" name="Rechteck 1">
            <a:extLst>
              <a:ext uri="{FF2B5EF4-FFF2-40B4-BE49-F238E27FC236}">
                <a16:creationId xmlns:a16="http://schemas.microsoft.com/office/drawing/2014/main" id="{D9A0DF97-9648-FB16-D560-3FD82D49976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79843" y="1940896"/>
            <a:ext cx="135000" cy="135000"/>
          </a:xfrm>
          <a:prstGeom prst="rect">
            <a:avLst/>
          </a:prstGeom>
          <a:solidFill>
            <a:srgbClr val="6A757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none" lIns="270000" tIns="0" rIns="0" b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3B4145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ales Value Euro</a:t>
            </a:r>
          </a:p>
        </p:txBody>
      </p:sp>
      <p:sp>
        <p:nvSpPr>
          <p:cNvPr id="45" name="Rechteck 2">
            <a:extLst>
              <a:ext uri="{FF2B5EF4-FFF2-40B4-BE49-F238E27FC236}">
                <a16:creationId xmlns:a16="http://schemas.microsoft.com/office/drawing/2014/main" id="{8A3B21C2-788E-F678-7E28-F5616DC7D93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61983" y="1940896"/>
            <a:ext cx="135000" cy="135000"/>
          </a:xfrm>
          <a:prstGeom prst="rect">
            <a:avLst/>
          </a:prstGeom>
          <a:pattFill prst="solidDmnd">
            <a:fgClr>
              <a:srgbClr val="6A757C"/>
            </a:fgClr>
            <a:bgClr>
              <a:srgbClr val="FFFFFF"/>
            </a:bgClr>
          </a:pattFill>
          <a:ln w="12700" cap="flat" cmpd="sng" algn="ctr">
            <a:noFill/>
            <a:prstDash val="solid"/>
            <a:miter lim="800000"/>
          </a:ln>
          <a:effectLst/>
        </p:spPr>
        <p:txBody>
          <a:bodyPr wrap="none" lIns="270000" tIns="0" rIns="0" b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3B4145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ales Volume</a:t>
            </a:r>
          </a:p>
        </p:txBody>
      </p:sp>
      <p:sp>
        <p:nvSpPr>
          <p:cNvPr id="122" name="Rechteck 15">
            <a:extLst>
              <a:ext uri="{FF2B5EF4-FFF2-40B4-BE49-F238E27FC236}">
                <a16:creationId xmlns:a16="http://schemas.microsoft.com/office/drawing/2014/main" id="{875CB1FD-36D8-B390-AAB8-262484A503BB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720148" y="5157202"/>
            <a:ext cx="1748587" cy="384177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874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EA5B0C"/>
                </a:solidFill>
                <a:effectLst/>
                <a:uLnTx/>
                <a:uFillTx/>
                <a:latin typeface="Lato"/>
                <a:ea typeface="+mn-ea"/>
                <a:cs typeface="Arial" pitchFamily="34" charset="0"/>
              </a:rPr>
              <a:t>TCG</a:t>
            </a:r>
          </a:p>
        </p:txBody>
      </p:sp>
      <p:sp>
        <p:nvSpPr>
          <p:cNvPr id="123" name="Rechteck 15">
            <a:extLst>
              <a:ext uri="{FF2B5EF4-FFF2-40B4-BE49-F238E27FC236}">
                <a16:creationId xmlns:a16="http://schemas.microsoft.com/office/drawing/2014/main" id="{975895E4-2DCF-0505-A27B-0D877325AD46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2260414" y="5165153"/>
            <a:ext cx="1748587" cy="384177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874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2335F"/>
                </a:solidFill>
                <a:effectLst/>
                <a:uLnTx/>
                <a:uFillTx/>
                <a:latin typeface="Lato"/>
                <a:ea typeface="+mn-ea"/>
                <a:cs typeface="Arial" pitchFamily="34" charset="0"/>
              </a:rPr>
              <a:t>Telecom</a:t>
            </a:r>
          </a:p>
        </p:txBody>
      </p:sp>
      <p:grpSp>
        <p:nvGrpSpPr>
          <p:cNvPr id="124" name="Group 341">
            <a:extLst>
              <a:ext uri="{FF2B5EF4-FFF2-40B4-BE49-F238E27FC236}">
                <a16:creationId xmlns:a16="http://schemas.microsoft.com/office/drawing/2014/main" id="{6C1784D7-3797-9AE5-45CA-A1D9680C03D3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2997841" y="4505290"/>
            <a:ext cx="273734" cy="527909"/>
            <a:chOff x="2987780" y="987480"/>
            <a:chExt cx="298709" cy="576080"/>
          </a:xfrm>
          <a:solidFill>
            <a:srgbClr val="AA213F"/>
          </a:solidFill>
        </p:grpSpPr>
        <p:sp>
          <p:nvSpPr>
            <p:cNvPr id="125" name="Freeform: Shape 324">
              <a:extLst>
                <a:ext uri="{FF2B5EF4-FFF2-40B4-BE49-F238E27FC236}">
                  <a16:creationId xmlns:a16="http://schemas.microsoft.com/office/drawing/2014/main" id="{AB476DE3-33D8-1142-04B9-A91C969D7E81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>
              <a:off x="2987780" y="987480"/>
              <a:ext cx="298709" cy="576080"/>
            </a:xfrm>
            <a:custGeom>
              <a:avLst/>
              <a:gdLst>
                <a:gd name="connsiteX0" fmla="*/ 181731 w 185710"/>
                <a:gd name="connsiteY0" fmla="*/ 0 h 358155"/>
                <a:gd name="connsiteX1" fmla="*/ 144589 w 185710"/>
                <a:gd name="connsiteY1" fmla="*/ 0 h 358155"/>
                <a:gd name="connsiteX2" fmla="*/ 53060 w 185710"/>
                <a:gd name="connsiteY2" fmla="*/ 0 h 358155"/>
                <a:gd name="connsiteX3" fmla="*/ 15918 w 185710"/>
                <a:gd name="connsiteY3" fmla="*/ 0 h 358155"/>
                <a:gd name="connsiteX4" fmla="*/ 0 w 185710"/>
                <a:gd name="connsiteY4" fmla="*/ 15918 h 358155"/>
                <a:gd name="connsiteX5" fmla="*/ 0 w 185710"/>
                <a:gd name="connsiteY5" fmla="*/ 348869 h 358155"/>
                <a:gd name="connsiteX6" fmla="*/ 15918 w 185710"/>
                <a:gd name="connsiteY6" fmla="*/ 364788 h 358155"/>
                <a:gd name="connsiteX7" fmla="*/ 181731 w 185710"/>
                <a:gd name="connsiteY7" fmla="*/ 364788 h 358155"/>
                <a:gd name="connsiteX8" fmla="*/ 197649 w 185710"/>
                <a:gd name="connsiteY8" fmla="*/ 348869 h 358155"/>
                <a:gd name="connsiteX9" fmla="*/ 197649 w 185710"/>
                <a:gd name="connsiteY9" fmla="*/ 15918 h 358155"/>
                <a:gd name="connsiteX10" fmla="*/ 181731 w 185710"/>
                <a:gd name="connsiteY10" fmla="*/ 0 h 358155"/>
                <a:gd name="connsiteX11" fmla="*/ 76937 w 185710"/>
                <a:gd name="connsiteY11" fmla="*/ 11938 h 358155"/>
                <a:gd name="connsiteX12" fmla="*/ 79590 w 185710"/>
                <a:gd name="connsiteY12" fmla="*/ 9285 h 358155"/>
                <a:gd name="connsiteX13" fmla="*/ 116732 w 185710"/>
                <a:gd name="connsiteY13" fmla="*/ 9285 h 358155"/>
                <a:gd name="connsiteX14" fmla="*/ 119385 w 185710"/>
                <a:gd name="connsiteY14" fmla="*/ 11938 h 358155"/>
                <a:gd name="connsiteX15" fmla="*/ 119385 w 185710"/>
                <a:gd name="connsiteY15" fmla="*/ 13265 h 358155"/>
                <a:gd name="connsiteX16" fmla="*/ 116732 w 185710"/>
                <a:gd name="connsiteY16" fmla="*/ 15918 h 358155"/>
                <a:gd name="connsiteX17" fmla="*/ 79590 w 185710"/>
                <a:gd name="connsiteY17" fmla="*/ 15918 h 358155"/>
                <a:gd name="connsiteX18" fmla="*/ 76937 w 185710"/>
                <a:gd name="connsiteY18" fmla="*/ 11938 h 358155"/>
                <a:gd name="connsiteX19" fmla="*/ 76937 w 185710"/>
                <a:gd name="connsiteY19" fmla="*/ 11938 h 358155"/>
                <a:gd name="connsiteX20" fmla="*/ 63672 w 185710"/>
                <a:gd name="connsiteY20" fmla="*/ 6633 h 358155"/>
                <a:gd name="connsiteX21" fmla="*/ 68978 w 185710"/>
                <a:gd name="connsiteY21" fmla="*/ 11938 h 358155"/>
                <a:gd name="connsiteX22" fmla="*/ 63672 w 185710"/>
                <a:gd name="connsiteY22" fmla="*/ 17245 h 358155"/>
                <a:gd name="connsiteX23" fmla="*/ 58366 w 185710"/>
                <a:gd name="connsiteY23" fmla="*/ 11938 h 358155"/>
                <a:gd name="connsiteX24" fmla="*/ 63672 w 185710"/>
                <a:gd name="connsiteY24" fmla="*/ 6633 h 358155"/>
                <a:gd name="connsiteX25" fmla="*/ 119385 w 185710"/>
                <a:gd name="connsiteY25" fmla="*/ 350196 h 358155"/>
                <a:gd name="connsiteX26" fmla="*/ 112753 w 185710"/>
                <a:gd name="connsiteY26" fmla="*/ 356829 h 358155"/>
                <a:gd name="connsiteX27" fmla="*/ 84896 w 185710"/>
                <a:gd name="connsiteY27" fmla="*/ 356829 h 358155"/>
                <a:gd name="connsiteX28" fmla="*/ 78264 w 185710"/>
                <a:gd name="connsiteY28" fmla="*/ 350196 h 358155"/>
                <a:gd name="connsiteX29" fmla="*/ 78264 w 185710"/>
                <a:gd name="connsiteY29" fmla="*/ 347543 h 358155"/>
                <a:gd name="connsiteX30" fmla="*/ 84896 w 185710"/>
                <a:gd name="connsiteY30" fmla="*/ 340911 h 358155"/>
                <a:gd name="connsiteX31" fmla="*/ 112753 w 185710"/>
                <a:gd name="connsiteY31" fmla="*/ 340911 h 358155"/>
                <a:gd name="connsiteX32" fmla="*/ 119385 w 185710"/>
                <a:gd name="connsiteY32" fmla="*/ 347543 h 358155"/>
                <a:gd name="connsiteX33" fmla="*/ 119385 w 185710"/>
                <a:gd name="connsiteY33" fmla="*/ 350196 h 358155"/>
                <a:gd name="connsiteX34" fmla="*/ 187037 w 185710"/>
                <a:gd name="connsiteY34" fmla="*/ 331625 h 358155"/>
                <a:gd name="connsiteX35" fmla="*/ 176425 w 185710"/>
                <a:gd name="connsiteY35" fmla="*/ 335604 h 358155"/>
                <a:gd name="connsiteX36" fmla="*/ 17245 w 185710"/>
                <a:gd name="connsiteY36" fmla="*/ 335604 h 358155"/>
                <a:gd name="connsiteX37" fmla="*/ 10612 w 185710"/>
                <a:gd name="connsiteY37" fmla="*/ 330299 h 358155"/>
                <a:gd name="connsiteX38" fmla="*/ 10612 w 185710"/>
                <a:gd name="connsiteY38" fmla="*/ 17245 h 358155"/>
                <a:gd name="connsiteX39" fmla="*/ 15918 w 185710"/>
                <a:gd name="connsiteY39" fmla="*/ 10612 h 358155"/>
                <a:gd name="connsiteX40" fmla="*/ 53060 w 185710"/>
                <a:gd name="connsiteY40" fmla="*/ 10612 h 358155"/>
                <a:gd name="connsiteX41" fmla="*/ 53060 w 185710"/>
                <a:gd name="connsiteY41" fmla="*/ 10612 h 358155"/>
                <a:gd name="connsiteX42" fmla="*/ 63672 w 185710"/>
                <a:gd name="connsiteY42" fmla="*/ 22550 h 358155"/>
                <a:gd name="connsiteX43" fmla="*/ 135303 w 185710"/>
                <a:gd name="connsiteY43" fmla="*/ 22550 h 358155"/>
                <a:gd name="connsiteX44" fmla="*/ 145915 w 185710"/>
                <a:gd name="connsiteY44" fmla="*/ 11938 h 358155"/>
                <a:gd name="connsiteX45" fmla="*/ 145915 w 185710"/>
                <a:gd name="connsiteY45" fmla="*/ 11938 h 358155"/>
                <a:gd name="connsiteX46" fmla="*/ 183057 w 185710"/>
                <a:gd name="connsiteY46" fmla="*/ 11938 h 358155"/>
                <a:gd name="connsiteX47" fmla="*/ 188363 w 185710"/>
                <a:gd name="connsiteY47" fmla="*/ 19898 h 358155"/>
                <a:gd name="connsiteX48" fmla="*/ 188363 w 185710"/>
                <a:gd name="connsiteY48" fmla="*/ 331625 h 35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85710" h="358155">
                  <a:moveTo>
                    <a:pt x="181731" y="0"/>
                  </a:moveTo>
                  <a:lnTo>
                    <a:pt x="144589" y="0"/>
                  </a:lnTo>
                  <a:lnTo>
                    <a:pt x="53060" y="0"/>
                  </a:lnTo>
                  <a:lnTo>
                    <a:pt x="15918" y="0"/>
                  </a:lnTo>
                  <a:cubicBezTo>
                    <a:pt x="6633" y="0"/>
                    <a:pt x="0" y="6633"/>
                    <a:pt x="0" y="15918"/>
                  </a:cubicBezTo>
                  <a:lnTo>
                    <a:pt x="0" y="348869"/>
                  </a:lnTo>
                  <a:cubicBezTo>
                    <a:pt x="0" y="358155"/>
                    <a:pt x="6633" y="364788"/>
                    <a:pt x="15918" y="364788"/>
                  </a:cubicBezTo>
                  <a:lnTo>
                    <a:pt x="181731" y="364788"/>
                  </a:lnTo>
                  <a:cubicBezTo>
                    <a:pt x="191016" y="364788"/>
                    <a:pt x="197649" y="358155"/>
                    <a:pt x="197649" y="348869"/>
                  </a:cubicBezTo>
                  <a:lnTo>
                    <a:pt x="197649" y="15918"/>
                  </a:lnTo>
                  <a:cubicBezTo>
                    <a:pt x="197649" y="7959"/>
                    <a:pt x="191016" y="0"/>
                    <a:pt x="181731" y="0"/>
                  </a:cubicBezTo>
                  <a:close/>
                  <a:moveTo>
                    <a:pt x="76937" y="11938"/>
                  </a:moveTo>
                  <a:cubicBezTo>
                    <a:pt x="76937" y="10612"/>
                    <a:pt x="78264" y="9285"/>
                    <a:pt x="79590" y="9285"/>
                  </a:cubicBezTo>
                  <a:lnTo>
                    <a:pt x="116732" y="9285"/>
                  </a:lnTo>
                  <a:cubicBezTo>
                    <a:pt x="118058" y="9285"/>
                    <a:pt x="119385" y="10612"/>
                    <a:pt x="119385" y="11938"/>
                  </a:cubicBezTo>
                  <a:lnTo>
                    <a:pt x="119385" y="13265"/>
                  </a:lnTo>
                  <a:cubicBezTo>
                    <a:pt x="119385" y="14591"/>
                    <a:pt x="118058" y="15918"/>
                    <a:pt x="116732" y="15918"/>
                  </a:cubicBezTo>
                  <a:lnTo>
                    <a:pt x="79590" y="15918"/>
                  </a:lnTo>
                  <a:cubicBezTo>
                    <a:pt x="78264" y="15918"/>
                    <a:pt x="76937" y="14591"/>
                    <a:pt x="76937" y="11938"/>
                  </a:cubicBezTo>
                  <a:lnTo>
                    <a:pt x="76937" y="11938"/>
                  </a:lnTo>
                  <a:close/>
                  <a:moveTo>
                    <a:pt x="63672" y="6633"/>
                  </a:moveTo>
                  <a:cubicBezTo>
                    <a:pt x="66325" y="6633"/>
                    <a:pt x="68978" y="9285"/>
                    <a:pt x="68978" y="11938"/>
                  </a:cubicBezTo>
                  <a:cubicBezTo>
                    <a:pt x="68978" y="14591"/>
                    <a:pt x="66325" y="17245"/>
                    <a:pt x="63672" y="17245"/>
                  </a:cubicBezTo>
                  <a:cubicBezTo>
                    <a:pt x="61019" y="17245"/>
                    <a:pt x="58366" y="14591"/>
                    <a:pt x="58366" y="11938"/>
                  </a:cubicBezTo>
                  <a:cubicBezTo>
                    <a:pt x="58366" y="9285"/>
                    <a:pt x="61019" y="6633"/>
                    <a:pt x="63672" y="6633"/>
                  </a:cubicBezTo>
                  <a:close/>
                  <a:moveTo>
                    <a:pt x="119385" y="350196"/>
                  </a:moveTo>
                  <a:cubicBezTo>
                    <a:pt x="119385" y="354176"/>
                    <a:pt x="116732" y="356829"/>
                    <a:pt x="112753" y="356829"/>
                  </a:cubicBezTo>
                  <a:lnTo>
                    <a:pt x="84896" y="356829"/>
                  </a:lnTo>
                  <a:cubicBezTo>
                    <a:pt x="80917" y="356829"/>
                    <a:pt x="78264" y="354176"/>
                    <a:pt x="78264" y="350196"/>
                  </a:cubicBezTo>
                  <a:lnTo>
                    <a:pt x="78264" y="347543"/>
                  </a:lnTo>
                  <a:cubicBezTo>
                    <a:pt x="78264" y="343564"/>
                    <a:pt x="80917" y="340911"/>
                    <a:pt x="84896" y="340911"/>
                  </a:cubicBezTo>
                  <a:lnTo>
                    <a:pt x="112753" y="340911"/>
                  </a:lnTo>
                  <a:cubicBezTo>
                    <a:pt x="116732" y="340911"/>
                    <a:pt x="119385" y="343564"/>
                    <a:pt x="119385" y="347543"/>
                  </a:cubicBezTo>
                  <a:lnTo>
                    <a:pt x="119385" y="350196"/>
                  </a:lnTo>
                  <a:close/>
                  <a:moveTo>
                    <a:pt x="187037" y="331625"/>
                  </a:moveTo>
                  <a:cubicBezTo>
                    <a:pt x="187037" y="336931"/>
                    <a:pt x="181731" y="335604"/>
                    <a:pt x="176425" y="335604"/>
                  </a:cubicBezTo>
                  <a:lnTo>
                    <a:pt x="17245" y="335604"/>
                  </a:lnTo>
                  <a:cubicBezTo>
                    <a:pt x="11939" y="335604"/>
                    <a:pt x="10612" y="335604"/>
                    <a:pt x="10612" y="330299"/>
                  </a:cubicBezTo>
                  <a:lnTo>
                    <a:pt x="10612" y="17245"/>
                  </a:lnTo>
                  <a:cubicBezTo>
                    <a:pt x="10612" y="11938"/>
                    <a:pt x="10612" y="10612"/>
                    <a:pt x="15918" y="10612"/>
                  </a:cubicBezTo>
                  <a:lnTo>
                    <a:pt x="53060" y="10612"/>
                  </a:lnTo>
                  <a:lnTo>
                    <a:pt x="53060" y="10612"/>
                  </a:lnTo>
                  <a:cubicBezTo>
                    <a:pt x="53060" y="17245"/>
                    <a:pt x="57040" y="22550"/>
                    <a:pt x="63672" y="22550"/>
                  </a:cubicBezTo>
                  <a:lnTo>
                    <a:pt x="135303" y="22550"/>
                  </a:lnTo>
                  <a:cubicBezTo>
                    <a:pt x="140609" y="22550"/>
                    <a:pt x="145915" y="18571"/>
                    <a:pt x="145915" y="11938"/>
                  </a:cubicBezTo>
                  <a:lnTo>
                    <a:pt x="145915" y="11938"/>
                  </a:lnTo>
                  <a:lnTo>
                    <a:pt x="183057" y="11938"/>
                  </a:lnTo>
                  <a:cubicBezTo>
                    <a:pt x="188363" y="11938"/>
                    <a:pt x="188363" y="14591"/>
                    <a:pt x="188363" y="19898"/>
                  </a:cubicBezTo>
                  <a:lnTo>
                    <a:pt x="188363" y="331625"/>
                  </a:lnTo>
                  <a:close/>
                </a:path>
              </a:pathLst>
            </a:custGeom>
            <a:grpFill/>
            <a:ln w="1303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1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b="0" i="0" u="none" strike="noStrike" kern="0" cap="none" spc="0" normalizeH="0" baseline="0" noProof="0">
                <a:ln>
                  <a:noFill/>
                </a:ln>
                <a:solidFill>
                  <a:srgbClr val="3B4145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grpSp>
          <p:nvGrpSpPr>
            <p:cNvPr id="126" name="Group 325">
              <a:extLst>
                <a:ext uri="{FF2B5EF4-FFF2-40B4-BE49-F238E27FC236}">
                  <a16:creationId xmlns:a16="http://schemas.microsoft.com/office/drawing/2014/main" id="{04C66F0E-19E7-C027-9C42-DC85455B453A}"/>
                </a:ext>
              </a:extLst>
            </p:cNvPr>
            <p:cNvGrpSpPr/>
            <p:nvPr>
              <p:custDataLst>
                <p:tags r:id="rId28"/>
              </p:custDataLst>
            </p:nvPr>
          </p:nvGrpSpPr>
          <p:grpSpPr>
            <a:xfrm>
              <a:off x="3117379" y="1068719"/>
              <a:ext cx="149355" cy="117900"/>
              <a:chOff x="3923910" y="843510"/>
              <a:chExt cx="1368815" cy="1080540"/>
            </a:xfrm>
            <a:grpFill/>
          </p:grpSpPr>
          <p:sp>
            <p:nvSpPr>
              <p:cNvPr id="127" name="Rectangle 326">
                <a:extLst>
                  <a:ext uri="{FF2B5EF4-FFF2-40B4-BE49-F238E27FC236}">
                    <a16:creationId xmlns:a16="http://schemas.microsoft.com/office/drawing/2014/main" id="{6623C6CB-35D0-B1EB-EB7D-0F5FCA745BB3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 bwMode="gray">
              <a:xfrm>
                <a:off x="3923910" y="1491600"/>
                <a:ext cx="216030" cy="43245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3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3B4145"/>
                  </a:solidFill>
                  <a:effectLst/>
                  <a:uLnTx/>
                  <a:uFillTx/>
                  <a:latin typeface="Lato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28" name="Rectangle 327">
                <a:extLst>
                  <a:ext uri="{FF2B5EF4-FFF2-40B4-BE49-F238E27FC236}">
                    <a16:creationId xmlns:a16="http://schemas.microsoft.com/office/drawing/2014/main" id="{CAF58FF8-2247-5E97-3486-99537D27714E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 bwMode="gray">
              <a:xfrm>
                <a:off x="4211950" y="1347788"/>
                <a:ext cx="216030" cy="576262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3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3B4145"/>
                  </a:solidFill>
                  <a:effectLst/>
                  <a:uLnTx/>
                  <a:uFillTx/>
                  <a:latin typeface="Lato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29" name="Rectangle 328">
                <a:extLst>
                  <a:ext uri="{FF2B5EF4-FFF2-40B4-BE49-F238E27FC236}">
                    <a16:creationId xmlns:a16="http://schemas.microsoft.com/office/drawing/2014/main" id="{147252E2-129D-FC95-5BFF-6965637F6B6A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 bwMode="gray">
              <a:xfrm>
                <a:off x="4499990" y="1203560"/>
                <a:ext cx="216030" cy="72049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3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3B4145"/>
                  </a:solidFill>
                  <a:effectLst/>
                  <a:uLnTx/>
                  <a:uFillTx/>
                  <a:latin typeface="Lato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30" name="Rectangle 329">
                <a:extLst>
                  <a:ext uri="{FF2B5EF4-FFF2-40B4-BE49-F238E27FC236}">
                    <a16:creationId xmlns:a16="http://schemas.microsoft.com/office/drawing/2014/main" id="{82AD38A2-DCF2-159D-988C-61791EF6CE3C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 bwMode="gray">
              <a:xfrm>
                <a:off x="4788030" y="1059540"/>
                <a:ext cx="216030" cy="86451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3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3B4145"/>
                  </a:solidFill>
                  <a:effectLst/>
                  <a:uLnTx/>
                  <a:uFillTx/>
                  <a:latin typeface="Lato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31" name="Rectangle 330">
                <a:extLst>
                  <a:ext uri="{FF2B5EF4-FFF2-40B4-BE49-F238E27FC236}">
                    <a16:creationId xmlns:a16="http://schemas.microsoft.com/office/drawing/2014/main" id="{B27E7AAB-881D-9B26-4EB7-CF1E8A669DB3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 bwMode="gray">
              <a:xfrm>
                <a:off x="5076695" y="843510"/>
                <a:ext cx="216030" cy="108054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3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3B4145"/>
                  </a:solidFill>
                  <a:effectLst/>
                  <a:uLnTx/>
                  <a:uFillTx/>
                  <a:latin typeface="Lato"/>
                  <a:ea typeface="+mn-ea"/>
                  <a:cs typeface="Arial" pitchFamily="34" charset="0"/>
                </a:endParaRPr>
              </a:p>
            </p:txBody>
          </p:sp>
        </p:grpSp>
      </p:grpSp>
      <p:sp>
        <p:nvSpPr>
          <p:cNvPr id="132" name="Rechteck 40">
            <a:extLst>
              <a:ext uri="{FF2B5EF4-FFF2-40B4-BE49-F238E27FC236}">
                <a16:creationId xmlns:a16="http://schemas.microsoft.com/office/drawing/2014/main" id="{0885CA7F-A1E8-EA8A-1255-D3AD64CA3078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3832487" y="5165153"/>
            <a:ext cx="1748587" cy="384177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874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23A9B2"/>
                </a:solidFill>
                <a:effectLst/>
                <a:uLnTx/>
                <a:uFillTx/>
                <a:latin typeface="Lato"/>
                <a:ea typeface="+mn-ea"/>
                <a:cs typeface="Arial" pitchFamily="34" charset="0"/>
              </a:rPr>
              <a:t>IT &amp; Office </a:t>
            </a:r>
          </a:p>
        </p:txBody>
      </p: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1B527841-FF3A-DF8E-7A35-298DB5DE596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244120" y="4651757"/>
            <a:ext cx="925321" cy="382996"/>
            <a:chOff x="5089177" y="4715670"/>
            <a:chExt cx="925607" cy="383115"/>
          </a:xfrm>
          <a:solidFill>
            <a:srgbClr val="23A9B2"/>
          </a:solidFill>
        </p:grpSpPr>
        <p:sp>
          <p:nvSpPr>
            <p:cNvPr id="134" name="Freeform 102">
              <a:extLst>
                <a:ext uri="{FF2B5EF4-FFF2-40B4-BE49-F238E27FC236}">
                  <a16:creationId xmlns:a16="http://schemas.microsoft.com/office/drawing/2014/main" id="{9A0EE00F-3490-4F59-16A4-C516C4F06776}"/>
                </a:ext>
              </a:extLst>
            </p:cNvPr>
            <p:cNvSpPr>
              <a:spLocks noChangeAspect="1" noEditPoints="1"/>
            </p:cNvSpPr>
            <p:nvPr>
              <p:custDataLst>
                <p:tags r:id="rId25"/>
              </p:custDataLst>
            </p:nvPr>
          </p:nvSpPr>
          <p:spPr bwMode="auto">
            <a:xfrm>
              <a:off x="5089177" y="4751702"/>
              <a:ext cx="441765" cy="347083"/>
            </a:xfrm>
            <a:custGeom>
              <a:avLst/>
              <a:gdLst>
                <a:gd name="T0" fmla="*/ 2240 w 2240"/>
                <a:gd name="T1" fmla="*/ 1360 h 1760"/>
                <a:gd name="T2" fmla="*/ 2240 w 2240"/>
                <a:gd name="T3" fmla="*/ 1560 h 1760"/>
                <a:gd name="T4" fmla="*/ 2040 w 2240"/>
                <a:gd name="T5" fmla="*/ 1760 h 1760"/>
                <a:gd name="T6" fmla="*/ 200 w 2240"/>
                <a:gd name="T7" fmla="*/ 1760 h 1760"/>
                <a:gd name="T8" fmla="*/ 0 w 2240"/>
                <a:gd name="T9" fmla="*/ 1560 h 1760"/>
                <a:gd name="T10" fmla="*/ 0 w 2240"/>
                <a:gd name="T11" fmla="*/ 1360 h 1760"/>
                <a:gd name="T12" fmla="*/ 2240 w 2240"/>
                <a:gd name="T13" fmla="*/ 1360 h 1760"/>
                <a:gd name="T14" fmla="*/ 160 w 2240"/>
                <a:gd name="T15" fmla="*/ 1280 h 1760"/>
                <a:gd name="T16" fmla="*/ 160 w 2240"/>
                <a:gd name="T17" fmla="*/ 120 h 1760"/>
                <a:gd name="T18" fmla="*/ 280 w 2240"/>
                <a:gd name="T19" fmla="*/ 0 h 1760"/>
                <a:gd name="T20" fmla="*/ 1960 w 2240"/>
                <a:gd name="T21" fmla="*/ 0 h 1760"/>
                <a:gd name="T22" fmla="*/ 2080 w 2240"/>
                <a:gd name="T23" fmla="*/ 120 h 1760"/>
                <a:gd name="T24" fmla="*/ 2080 w 2240"/>
                <a:gd name="T25" fmla="*/ 1280 h 1760"/>
                <a:gd name="T26" fmla="*/ 2000 w 2240"/>
                <a:gd name="T27" fmla="*/ 1280 h 1760"/>
                <a:gd name="T28" fmla="*/ 2000 w 2240"/>
                <a:gd name="T29" fmla="*/ 120 h 1760"/>
                <a:gd name="T30" fmla="*/ 1960 w 2240"/>
                <a:gd name="T31" fmla="*/ 80 h 1760"/>
                <a:gd name="T32" fmla="*/ 280 w 2240"/>
                <a:gd name="T33" fmla="*/ 80 h 1760"/>
                <a:gd name="T34" fmla="*/ 240 w 2240"/>
                <a:gd name="T35" fmla="*/ 120 h 1760"/>
                <a:gd name="T36" fmla="*/ 240 w 2240"/>
                <a:gd name="T37" fmla="*/ 1280 h 1760"/>
                <a:gd name="T38" fmla="*/ 160 w 2240"/>
                <a:gd name="T39" fmla="*/ 1280 h 1760"/>
                <a:gd name="T40" fmla="*/ 960 w 2240"/>
                <a:gd name="T41" fmla="*/ 1600 h 1760"/>
                <a:gd name="T42" fmla="*/ 1280 w 2240"/>
                <a:gd name="T43" fmla="*/ 1600 h 1760"/>
                <a:gd name="T44" fmla="*/ 1320 w 2240"/>
                <a:gd name="T45" fmla="*/ 1560 h 1760"/>
                <a:gd name="T46" fmla="*/ 1280 w 2240"/>
                <a:gd name="T47" fmla="*/ 1520 h 1760"/>
                <a:gd name="T48" fmla="*/ 960 w 2240"/>
                <a:gd name="T49" fmla="*/ 1520 h 1760"/>
                <a:gd name="T50" fmla="*/ 920 w 2240"/>
                <a:gd name="T51" fmla="*/ 1560 h 1760"/>
                <a:gd name="T52" fmla="*/ 960 w 2240"/>
                <a:gd name="T53" fmla="*/ 1600 h 1760"/>
                <a:gd name="T54" fmla="*/ 320 w 2240"/>
                <a:gd name="T55" fmla="*/ 1280 h 1760"/>
                <a:gd name="T56" fmla="*/ 320 w 2240"/>
                <a:gd name="T57" fmla="*/ 160 h 1760"/>
                <a:gd name="T58" fmla="*/ 1920 w 2240"/>
                <a:gd name="T59" fmla="*/ 160 h 1760"/>
                <a:gd name="T60" fmla="*/ 1920 w 2240"/>
                <a:gd name="T61" fmla="*/ 1280 h 1760"/>
                <a:gd name="T62" fmla="*/ 320 w 2240"/>
                <a:gd name="T63" fmla="*/ 1280 h 1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40" h="1760">
                  <a:moveTo>
                    <a:pt x="2240" y="1360"/>
                  </a:moveTo>
                  <a:cubicBezTo>
                    <a:pt x="2240" y="1560"/>
                    <a:pt x="2240" y="1560"/>
                    <a:pt x="2240" y="1560"/>
                  </a:cubicBezTo>
                  <a:cubicBezTo>
                    <a:pt x="2240" y="1670"/>
                    <a:pt x="2150" y="1760"/>
                    <a:pt x="2040" y="1760"/>
                  </a:cubicBezTo>
                  <a:cubicBezTo>
                    <a:pt x="200" y="1760"/>
                    <a:pt x="200" y="1760"/>
                    <a:pt x="200" y="1760"/>
                  </a:cubicBezTo>
                  <a:cubicBezTo>
                    <a:pt x="90" y="1760"/>
                    <a:pt x="0" y="1670"/>
                    <a:pt x="0" y="1560"/>
                  </a:cubicBezTo>
                  <a:cubicBezTo>
                    <a:pt x="0" y="1360"/>
                    <a:pt x="0" y="1360"/>
                    <a:pt x="0" y="1360"/>
                  </a:cubicBezTo>
                  <a:cubicBezTo>
                    <a:pt x="747" y="1360"/>
                    <a:pt x="1493" y="1360"/>
                    <a:pt x="2240" y="1360"/>
                  </a:cubicBezTo>
                  <a:close/>
                  <a:moveTo>
                    <a:pt x="160" y="1280"/>
                  </a:moveTo>
                  <a:cubicBezTo>
                    <a:pt x="160" y="120"/>
                    <a:pt x="160" y="120"/>
                    <a:pt x="160" y="120"/>
                  </a:cubicBezTo>
                  <a:cubicBezTo>
                    <a:pt x="160" y="54"/>
                    <a:pt x="214" y="0"/>
                    <a:pt x="280" y="0"/>
                  </a:cubicBezTo>
                  <a:cubicBezTo>
                    <a:pt x="1960" y="0"/>
                    <a:pt x="1960" y="0"/>
                    <a:pt x="1960" y="0"/>
                  </a:cubicBezTo>
                  <a:cubicBezTo>
                    <a:pt x="2026" y="0"/>
                    <a:pt x="2080" y="54"/>
                    <a:pt x="2080" y="120"/>
                  </a:cubicBezTo>
                  <a:cubicBezTo>
                    <a:pt x="2080" y="1280"/>
                    <a:pt x="2080" y="1280"/>
                    <a:pt x="2080" y="1280"/>
                  </a:cubicBezTo>
                  <a:cubicBezTo>
                    <a:pt x="2000" y="1280"/>
                    <a:pt x="2000" y="1280"/>
                    <a:pt x="2000" y="1280"/>
                  </a:cubicBezTo>
                  <a:cubicBezTo>
                    <a:pt x="2000" y="120"/>
                    <a:pt x="2000" y="120"/>
                    <a:pt x="2000" y="120"/>
                  </a:cubicBezTo>
                  <a:cubicBezTo>
                    <a:pt x="2000" y="98"/>
                    <a:pt x="1982" y="80"/>
                    <a:pt x="1960" y="80"/>
                  </a:cubicBezTo>
                  <a:cubicBezTo>
                    <a:pt x="280" y="80"/>
                    <a:pt x="280" y="80"/>
                    <a:pt x="280" y="80"/>
                  </a:cubicBezTo>
                  <a:cubicBezTo>
                    <a:pt x="258" y="80"/>
                    <a:pt x="240" y="98"/>
                    <a:pt x="240" y="120"/>
                  </a:cubicBezTo>
                  <a:cubicBezTo>
                    <a:pt x="240" y="1280"/>
                    <a:pt x="240" y="1280"/>
                    <a:pt x="240" y="1280"/>
                  </a:cubicBezTo>
                  <a:lnTo>
                    <a:pt x="160" y="1280"/>
                  </a:lnTo>
                  <a:close/>
                  <a:moveTo>
                    <a:pt x="960" y="1600"/>
                  </a:moveTo>
                  <a:cubicBezTo>
                    <a:pt x="1280" y="1600"/>
                    <a:pt x="1280" y="1600"/>
                    <a:pt x="1280" y="1600"/>
                  </a:cubicBezTo>
                  <a:cubicBezTo>
                    <a:pt x="1302" y="1600"/>
                    <a:pt x="1320" y="1582"/>
                    <a:pt x="1320" y="1560"/>
                  </a:cubicBezTo>
                  <a:cubicBezTo>
                    <a:pt x="1320" y="1538"/>
                    <a:pt x="1302" y="1520"/>
                    <a:pt x="1280" y="1520"/>
                  </a:cubicBezTo>
                  <a:cubicBezTo>
                    <a:pt x="960" y="1520"/>
                    <a:pt x="960" y="1520"/>
                    <a:pt x="960" y="1520"/>
                  </a:cubicBezTo>
                  <a:cubicBezTo>
                    <a:pt x="938" y="1520"/>
                    <a:pt x="920" y="1538"/>
                    <a:pt x="920" y="1560"/>
                  </a:cubicBezTo>
                  <a:cubicBezTo>
                    <a:pt x="920" y="1582"/>
                    <a:pt x="938" y="1600"/>
                    <a:pt x="960" y="1600"/>
                  </a:cubicBezTo>
                  <a:close/>
                  <a:moveTo>
                    <a:pt x="320" y="1280"/>
                  </a:moveTo>
                  <a:cubicBezTo>
                    <a:pt x="320" y="160"/>
                    <a:pt x="320" y="160"/>
                    <a:pt x="320" y="160"/>
                  </a:cubicBezTo>
                  <a:cubicBezTo>
                    <a:pt x="1920" y="160"/>
                    <a:pt x="1920" y="160"/>
                    <a:pt x="1920" y="160"/>
                  </a:cubicBezTo>
                  <a:cubicBezTo>
                    <a:pt x="1920" y="1280"/>
                    <a:pt x="1920" y="1280"/>
                    <a:pt x="1920" y="1280"/>
                  </a:cubicBezTo>
                  <a:lnTo>
                    <a:pt x="320" y="12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882" tIns="60941" rIns="121882" bIns="609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/>
                <a:ea typeface="+mn-ea"/>
                <a:cs typeface="+mn-cs"/>
              </a:endParaRPr>
            </a:p>
          </p:txBody>
        </p:sp>
        <p:grpSp>
          <p:nvGrpSpPr>
            <p:cNvPr id="135" name="Group 10">
              <a:extLst>
                <a:ext uri="{FF2B5EF4-FFF2-40B4-BE49-F238E27FC236}">
                  <a16:creationId xmlns:a16="http://schemas.microsoft.com/office/drawing/2014/main" id="{85F4552F-538D-4DF4-C46D-2994BC8717E6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auto">
            <a:xfrm>
              <a:off x="5645458" y="4715670"/>
              <a:ext cx="369326" cy="376392"/>
              <a:chOff x="423" y="-885"/>
              <a:chExt cx="4914" cy="5008"/>
            </a:xfrm>
            <a:grpFill/>
          </p:grpSpPr>
          <p:sp>
            <p:nvSpPr>
              <p:cNvPr id="136" name="Freeform 11">
                <a:extLst>
                  <a:ext uri="{FF2B5EF4-FFF2-40B4-BE49-F238E27FC236}">
                    <a16:creationId xmlns:a16="http://schemas.microsoft.com/office/drawing/2014/main" id="{E7D1156A-CE4C-4E7D-21A5-E9BAE28530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" y="1005"/>
                <a:ext cx="4914" cy="3118"/>
              </a:xfrm>
              <a:custGeom>
                <a:avLst/>
                <a:gdLst>
                  <a:gd name="T0" fmla="*/ 560 w 2080"/>
                  <a:gd name="T1" fmla="*/ 1200 h 1320"/>
                  <a:gd name="T2" fmla="*/ 960 w 2080"/>
                  <a:gd name="T3" fmla="*/ 1200 h 1320"/>
                  <a:gd name="T4" fmla="*/ 960 w 2080"/>
                  <a:gd name="T5" fmla="*/ 1160 h 1320"/>
                  <a:gd name="T6" fmla="*/ 1000 w 2080"/>
                  <a:gd name="T7" fmla="*/ 1160 h 1320"/>
                  <a:gd name="T8" fmla="*/ 1000 w 2080"/>
                  <a:gd name="T9" fmla="*/ 1040 h 1320"/>
                  <a:gd name="T10" fmla="*/ 200 w 2080"/>
                  <a:gd name="T11" fmla="*/ 1040 h 1320"/>
                  <a:gd name="T12" fmla="*/ 0 w 2080"/>
                  <a:gd name="T13" fmla="*/ 840 h 1320"/>
                  <a:gd name="T14" fmla="*/ 0 w 2080"/>
                  <a:gd name="T15" fmla="*/ 200 h 1320"/>
                  <a:gd name="T16" fmla="*/ 200 w 2080"/>
                  <a:gd name="T17" fmla="*/ 0 h 1320"/>
                  <a:gd name="T18" fmla="*/ 1880 w 2080"/>
                  <a:gd name="T19" fmla="*/ 0 h 1320"/>
                  <a:gd name="T20" fmla="*/ 2080 w 2080"/>
                  <a:gd name="T21" fmla="*/ 200 h 1320"/>
                  <a:gd name="T22" fmla="*/ 2080 w 2080"/>
                  <a:gd name="T23" fmla="*/ 840 h 1320"/>
                  <a:gd name="T24" fmla="*/ 1880 w 2080"/>
                  <a:gd name="T25" fmla="*/ 1040 h 1320"/>
                  <a:gd name="T26" fmla="*/ 1080 w 2080"/>
                  <a:gd name="T27" fmla="*/ 1040 h 1320"/>
                  <a:gd name="T28" fmla="*/ 1080 w 2080"/>
                  <a:gd name="T29" fmla="*/ 1160 h 1320"/>
                  <a:gd name="T30" fmla="*/ 1120 w 2080"/>
                  <a:gd name="T31" fmla="*/ 1160 h 1320"/>
                  <a:gd name="T32" fmla="*/ 1120 w 2080"/>
                  <a:gd name="T33" fmla="*/ 1200 h 1320"/>
                  <a:gd name="T34" fmla="*/ 1520 w 2080"/>
                  <a:gd name="T35" fmla="*/ 1200 h 1320"/>
                  <a:gd name="T36" fmla="*/ 1520 w 2080"/>
                  <a:gd name="T37" fmla="*/ 1280 h 1320"/>
                  <a:gd name="T38" fmla="*/ 1120 w 2080"/>
                  <a:gd name="T39" fmla="*/ 1280 h 1320"/>
                  <a:gd name="T40" fmla="*/ 1120 w 2080"/>
                  <a:gd name="T41" fmla="*/ 1320 h 1320"/>
                  <a:gd name="T42" fmla="*/ 960 w 2080"/>
                  <a:gd name="T43" fmla="*/ 1320 h 1320"/>
                  <a:gd name="T44" fmla="*/ 960 w 2080"/>
                  <a:gd name="T45" fmla="*/ 1280 h 1320"/>
                  <a:gd name="T46" fmla="*/ 560 w 2080"/>
                  <a:gd name="T47" fmla="*/ 1280 h 1320"/>
                  <a:gd name="T48" fmla="*/ 560 w 2080"/>
                  <a:gd name="T49" fmla="*/ 1200 h 1320"/>
                  <a:gd name="T50" fmla="*/ 560 w 2080"/>
                  <a:gd name="T51" fmla="*/ 160 h 1320"/>
                  <a:gd name="T52" fmla="*/ 480 w 2080"/>
                  <a:gd name="T53" fmla="*/ 240 h 1320"/>
                  <a:gd name="T54" fmla="*/ 560 w 2080"/>
                  <a:gd name="T55" fmla="*/ 320 h 1320"/>
                  <a:gd name="T56" fmla="*/ 640 w 2080"/>
                  <a:gd name="T57" fmla="*/ 240 h 1320"/>
                  <a:gd name="T58" fmla="*/ 560 w 2080"/>
                  <a:gd name="T59" fmla="*/ 160 h 1320"/>
                  <a:gd name="T60" fmla="*/ 320 w 2080"/>
                  <a:gd name="T61" fmla="*/ 160 h 1320"/>
                  <a:gd name="T62" fmla="*/ 240 w 2080"/>
                  <a:gd name="T63" fmla="*/ 240 h 1320"/>
                  <a:gd name="T64" fmla="*/ 320 w 2080"/>
                  <a:gd name="T65" fmla="*/ 320 h 1320"/>
                  <a:gd name="T66" fmla="*/ 400 w 2080"/>
                  <a:gd name="T67" fmla="*/ 240 h 1320"/>
                  <a:gd name="T68" fmla="*/ 320 w 2080"/>
                  <a:gd name="T69" fmla="*/ 160 h 1320"/>
                  <a:gd name="T70" fmla="*/ 440 w 2080"/>
                  <a:gd name="T71" fmla="*/ 560 h 1320"/>
                  <a:gd name="T72" fmla="*/ 320 w 2080"/>
                  <a:gd name="T73" fmla="*/ 680 h 1320"/>
                  <a:gd name="T74" fmla="*/ 320 w 2080"/>
                  <a:gd name="T75" fmla="*/ 760 h 1320"/>
                  <a:gd name="T76" fmla="*/ 440 w 2080"/>
                  <a:gd name="T77" fmla="*/ 880 h 1320"/>
                  <a:gd name="T78" fmla="*/ 1640 w 2080"/>
                  <a:gd name="T79" fmla="*/ 880 h 1320"/>
                  <a:gd name="T80" fmla="*/ 1760 w 2080"/>
                  <a:gd name="T81" fmla="*/ 760 h 1320"/>
                  <a:gd name="T82" fmla="*/ 1760 w 2080"/>
                  <a:gd name="T83" fmla="*/ 680 h 1320"/>
                  <a:gd name="T84" fmla="*/ 1640 w 2080"/>
                  <a:gd name="T85" fmla="*/ 560 h 1320"/>
                  <a:gd name="T86" fmla="*/ 440 w 2080"/>
                  <a:gd name="T87" fmla="*/ 560 h 1320"/>
                  <a:gd name="T88" fmla="*/ 400 w 2080"/>
                  <a:gd name="T89" fmla="*/ 720 h 1320"/>
                  <a:gd name="T90" fmla="*/ 1680 w 2080"/>
                  <a:gd name="T91" fmla="*/ 720 h 1320"/>
                  <a:gd name="T92" fmla="*/ 1680 w 2080"/>
                  <a:gd name="T93" fmla="*/ 760 h 1320"/>
                  <a:gd name="T94" fmla="*/ 1640 w 2080"/>
                  <a:gd name="T95" fmla="*/ 800 h 1320"/>
                  <a:gd name="T96" fmla="*/ 440 w 2080"/>
                  <a:gd name="T97" fmla="*/ 800 h 1320"/>
                  <a:gd name="T98" fmla="*/ 400 w 2080"/>
                  <a:gd name="T99" fmla="*/ 760 h 1320"/>
                  <a:gd name="T100" fmla="*/ 400 w 2080"/>
                  <a:gd name="T101" fmla="*/ 720 h 1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080" h="1320">
                    <a:moveTo>
                      <a:pt x="560" y="1200"/>
                    </a:moveTo>
                    <a:cubicBezTo>
                      <a:pt x="960" y="1200"/>
                      <a:pt x="960" y="1200"/>
                      <a:pt x="960" y="1200"/>
                    </a:cubicBezTo>
                    <a:cubicBezTo>
                      <a:pt x="960" y="1160"/>
                      <a:pt x="960" y="1160"/>
                      <a:pt x="960" y="1160"/>
                    </a:cubicBezTo>
                    <a:cubicBezTo>
                      <a:pt x="1000" y="1160"/>
                      <a:pt x="1000" y="1160"/>
                      <a:pt x="1000" y="1160"/>
                    </a:cubicBezTo>
                    <a:cubicBezTo>
                      <a:pt x="1000" y="1040"/>
                      <a:pt x="1000" y="1040"/>
                      <a:pt x="1000" y="1040"/>
                    </a:cubicBezTo>
                    <a:cubicBezTo>
                      <a:pt x="200" y="1040"/>
                      <a:pt x="200" y="1040"/>
                      <a:pt x="200" y="1040"/>
                    </a:cubicBezTo>
                    <a:cubicBezTo>
                      <a:pt x="90" y="1040"/>
                      <a:pt x="0" y="950"/>
                      <a:pt x="0" y="840"/>
                    </a:cubicBezTo>
                    <a:cubicBezTo>
                      <a:pt x="0" y="200"/>
                      <a:pt x="0" y="200"/>
                      <a:pt x="0" y="200"/>
                    </a:cubicBezTo>
                    <a:cubicBezTo>
                      <a:pt x="0" y="90"/>
                      <a:pt x="90" y="0"/>
                      <a:pt x="200" y="0"/>
                    </a:cubicBezTo>
                    <a:cubicBezTo>
                      <a:pt x="1880" y="0"/>
                      <a:pt x="1880" y="0"/>
                      <a:pt x="1880" y="0"/>
                    </a:cubicBezTo>
                    <a:cubicBezTo>
                      <a:pt x="1990" y="0"/>
                      <a:pt x="2080" y="90"/>
                      <a:pt x="2080" y="200"/>
                    </a:cubicBezTo>
                    <a:cubicBezTo>
                      <a:pt x="2080" y="840"/>
                      <a:pt x="2080" y="840"/>
                      <a:pt x="2080" y="840"/>
                    </a:cubicBezTo>
                    <a:cubicBezTo>
                      <a:pt x="2080" y="950"/>
                      <a:pt x="1990" y="1040"/>
                      <a:pt x="1880" y="1040"/>
                    </a:cubicBezTo>
                    <a:cubicBezTo>
                      <a:pt x="1080" y="1040"/>
                      <a:pt x="1080" y="1040"/>
                      <a:pt x="1080" y="1040"/>
                    </a:cubicBezTo>
                    <a:cubicBezTo>
                      <a:pt x="1080" y="1160"/>
                      <a:pt x="1080" y="1160"/>
                      <a:pt x="1080" y="1160"/>
                    </a:cubicBezTo>
                    <a:cubicBezTo>
                      <a:pt x="1120" y="1160"/>
                      <a:pt x="1120" y="1160"/>
                      <a:pt x="1120" y="1160"/>
                    </a:cubicBezTo>
                    <a:cubicBezTo>
                      <a:pt x="1120" y="1200"/>
                      <a:pt x="1120" y="1200"/>
                      <a:pt x="1120" y="1200"/>
                    </a:cubicBezTo>
                    <a:cubicBezTo>
                      <a:pt x="1520" y="1200"/>
                      <a:pt x="1520" y="1200"/>
                      <a:pt x="1520" y="1200"/>
                    </a:cubicBezTo>
                    <a:cubicBezTo>
                      <a:pt x="1520" y="1280"/>
                      <a:pt x="1520" y="1280"/>
                      <a:pt x="1520" y="1280"/>
                    </a:cubicBezTo>
                    <a:cubicBezTo>
                      <a:pt x="1120" y="1280"/>
                      <a:pt x="1120" y="1280"/>
                      <a:pt x="1120" y="1280"/>
                    </a:cubicBezTo>
                    <a:cubicBezTo>
                      <a:pt x="1120" y="1320"/>
                      <a:pt x="1120" y="1320"/>
                      <a:pt x="1120" y="1320"/>
                    </a:cubicBezTo>
                    <a:cubicBezTo>
                      <a:pt x="1066" y="1320"/>
                      <a:pt x="1013" y="1320"/>
                      <a:pt x="960" y="1320"/>
                    </a:cubicBezTo>
                    <a:cubicBezTo>
                      <a:pt x="960" y="1280"/>
                      <a:pt x="960" y="1280"/>
                      <a:pt x="960" y="1280"/>
                    </a:cubicBezTo>
                    <a:cubicBezTo>
                      <a:pt x="560" y="1280"/>
                      <a:pt x="560" y="1280"/>
                      <a:pt x="560" y="1280"/>
                    </a:cubicBezTo>
                    <a:lnTo>
                      <a:pt x="560" y="1200"/>
                    </a:lnTo>
                    <a:close/>
                    <a:moveTo>
                      <a:pt x="560" y="160"/>
                    </a:moveTo>
                    <a:cubicBezTo>
                      <a:pt x="516" y="160"/>
                      <a:pt x="480" y="196"/>
                      <a:pt x="480" y="240"/>
                    </a:cubicBezTo>
                    <a:cubicBezTo>
                      <a:pt x="480" y="284"/>
                      <a:pt x="516" y="320"/>
                      <a:pt x="560" y="320"/>
                    </a:cubicBezTo>
                    <a:cubicBezTo>
                      <a:pt x="604" y="320"/>
                      <a:pt x="640" y="284"/>
                      <a:pt x="640" y="240"/>
                    </a:cubicBezTo>
                    <a:cubicBezTo>
                      <a:pt x="640" y="196"/>
                      <a:pt x="604" y="160"/>
                      <a:pt x="560" y="160"/>
                    </a:cubicBezTo>
                    <a:close/>
                    <a:moveTo>
                      <a:pt x="320" y="160"/>
                    </a:moveTo>
                    <a:cubicBezTo>
                      <a:pt x="276" y="160"/>
                      <a:pt x="240" y="196"/>
                      <a:pt x="240" y="240"/>
                    </a:cubicBezTo>
                    <a:cubicBezTo>
                      <a:pt x="240" y="284"/>
                      <a:pt x="276" y="320"/>
                      <a:pt x="320" y="320"/>
                    </a:cubicBezTo>
                    <a:cubicBezTo>
                      <a:pt x="364" y="320"/>
                      <a:pt x="400" y="284"/>
                      <a:pt x="400" y="240"/>
                    </a:cubicBezTo>
                    <a:cubicBezTo>
                      <a:pt x="400" y="196"/>
                      <a:pt x="364" y="160"/>
                      <a:pt x="320" y="160"/>
                    </a:cubicBezTo>
                    <a:close/>
                    <a:moveTo>
                      <a:pt x="440" y="560"/>
                    </a:moveTo>
                    <a:cubicBezTo>
                      <a:pt x="374" y="560"/>
                      <a:pt x="320" y="614"/>
                      <a:pt x="320" y="680"/>
                    </a:cubicBezTo>
                    <a:cubicBezTo>
                      <a:pt x="320" y="760"/>
                      <a:pt x="320" y="760"/>
                      <a:pt x="320" y="760"/>
                    </a:cubicBezTo>
                    <a:cubicBezTo>
                      <a:pt x="320" y="826"/>
                      <a:pt x="374" y="880"/>
                      <a:pt x="440" y="880"/>
                    </a:cubicBezTo>
                    <a:cubicBezTo>
                      <a:pt x="1640" y="880"/>
                      <a:pt x="1640" y="880"/>
                      <a:pt x="1640" y="880"/>
                    </a:cubicBezTo>
                    <a:cubicBezTo>
                      <a:pt x="1706" y="880"/>
                      <a:pt x="1760" y="826"/>
                      <a:pt x="1760" y="760"/>
                    </a:cubicBezTo>
                    <a:cubicBezTo>
                      <a:pt x="1760" y="680"/>
                      <a:pt x="1760" y="680"/>
                      <a:pt x="1760" y="680"/>
                    </a:cubicBezTo>
                    <a:cubicBezTo>
                      <a:pt x="1760" y="614"/>
                      <a:pt x="1706" y="560"/>
                      <a:pt x="1640" y="560"/>
                    </a:cubicBezTo>
                    <a:lnTo>
                      <a:pt x="440" y="560"/>
                    </a:lnTo>
                    <a:close/>
                    <a:moveTo>
                      <a:pt x="400" y="720"/>
                    </a:moveTo>
                    <a:cubicBezTo>
                      <a:pt x="1680" y="720"/>
                      <a:pt x="1680" y="720"/>
                      <a:pt x="1680" y="720"/>
                    </a:cubicBezTo>
                    <a:cubicBezTo>
                      <a:pt x="1680" y="760"/>
                      <a:pt x="1680" y="760"/>
                      <a:pt x="1680" y="760"/>
                    </a:cubicBezTo>
                    <a:cubicBezTo>
                      <a:pt x="1680" y="782"/>
                      <a:pt x="1662" y="800"/>
                      <a:pt x="1640" y="800"/>
                    </a:cubicBezTo>
                    <a:cubicBezTo>
                      <a:pt x="440" y="800"/>
                      <a:pt x="440" y="800"/>
                      <a:pt x="440" y="800"/>
                    </a:cubicBezTo>
                    <a:cubicBezTo>
                      <a:pt x="418" y="800"/>
                      <a:pt x="400" y="782"/>
                      <a:pt x="400" y="760"/>
                    </a:cubicBezTo>
                    <a:lnTo>
                      <a:pt x="400" y="7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dk1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2" tIns="60941" rIns="121882" bIns="609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1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3B4145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endParaRPr>
              </a:p>
            </p:txBody>
          </p:sp>
          <p:sp>
            <p:nvSpPr>
              <p:cNvPr id="137" name="Freeform 12">
                <a:extLst>
                  <a:ext uri="{FF2B5EF4-FFF2-40B4-BE49-F238E27FC236}">
                    <a16:creationId xmlns:a16="http://schemas.microsoft.com/office/drawing/2014/main" id="{74F93F45-C01A-2BDB-F5AE-75B1B24AF6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68" y="-885"/>
                <a:ext cx="3024" cy="1701"/>
              </a:xfrm>
              <a:custGeom>
                <a:avLst/>
                <a:gdLst>
                  <a:gd name="T0" fmla="*/ 567 w 3024"/>
                  <a:gd name="T1" fmla="*/ 1323 h 1701"/>
                  <a:gd name="T2" fmla="*/ 2457 w 3024"/>
                  <a:gd name="T3" fmla="*/ 1323 h 1701"/>
                  <a:gd name="T4" fmla="*/ 2457 w 3024"/>
                  <a:gd name="T5" fmla="*/ 1512 h 1701"/>
                  <a:gd name="T6" fmla="*/ 567 w 3024"/>
                  <a:gd name="T7" fmla="*/ 1512 h 1701"/>
                  <a:gd name="T8" fmla="*/ 567 w 3024"/>
                  <a:gd name="T9" fmla="*/ 1323 h 1701"/>
                  <a:gd name="T10" fmla="*/ 567 w 3024"/>
                  <a:gd name="T11" fmla="*/ 945 h 1701"/>
                  <a:gd name="T12" fmla="*/ 2457 w 3024"/>
                  <a:gd name="T13" fmla="*/ 945 h 1701"/>
                  <a:gd name="T14" fmla="*/ 2457 w 3024"/>
                  <a:gd name="T15" fmla="*/ 1134 h 1701"/>
                  <a:gd name="T16" fmla="*/ 567 w 3024"/>
                  <a:gd name="T17" fmla="*/ 1134 h 1701"/>
                  <a:gd name="T18" fmla="*/ 567 w 3024"/>
                  <a:gd name="T19" fmla="*/ 945 h 1701"/>
                  <a:gd name="T20" fmla="*/ 567 w 3024"/>
                  <a:gd name="T21" fmla="*/ 567 h 1701"/>
                  <a:gd name="T22" fmla="*/ 2457 w 3024"/>
                  <a:gd name="T23" fmla="*/ 567 h 1701"/>
                  <a:gd name="T24" fmla="*/ 2457 w 3024"/>
                  <a:gd name="T25" fmla="*/ 756 h 1701"/>
                  <a:gd name="T26" fmla="*/ 567 w 3024"/>
                  <a:gd name="T27" fmla="*/ 756 h 1701"/>
                  <a:gd name="T28" fmla="*/ 567 w 3024"/>
                  <a:gd name="T29" fmla="*/ 567 h 1701"/>
                  <a:gd name="T30" fmla="*/ 3024 w 3024"/>
                  <a:gd name="T31" fmla="*/ 0 h 1701"/>
                  <a:gd name="T32" fmla="*/ 3024 w 3024"/>
                  <a:gd name="T33" fmla="*/ 1701 h 1701"/>
                  <a:gd name="T34" fmla="*/ 2835 w 3024"/>
                  <a:gd name="T35" fmla="*/ 1701 h 1701"/>
                  <a:gd name="T36" fmla="*/ 2835 w 3024"/>
                  <a:gd name="T37" fmla="*/ 189 h 1701"/>
                  <a:gd name="T38" fmla="*/ 189 w 3024"/>
                  <a:gd name="T39" fmla="*/ 189 h 1701"/>
                  <a:gd name="T40" fmla="*/ 189 w 3024"/>
                  <a:gd name="T41" fmla="*/ 1701 h 1701"/>
                  <a:gd name="T42" fmla="*/ 0 w 3024"/>
                  <a:gd name="T43" fmla="*/ 1701 h 1701"/>
                  <a:gd name="T44" fmla="*/ 0 w 3024"/>
                  <a:gd name="T45" fmla="*/ 0 h 1701"/>
                  <a:gd name="T46" fmla="*/ 3024 w 3024"/>
                  <a:gd name="T47" fmla="*/ 0 h 17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024" h="1701">
                    <a:moveTo>
                      <a:pt x="567" y="1323"/>
                    </a:moveTo>
                    <a:lnTo>
                      <a:pt x="2457" y="1323"/>
                    </a:lnTo>
                    <a:lnTo>
                      <a:pt x="2457" y="1512"/>
                    </a:lnTo>
                    <a:lnTo>
                      <a:pt x="567" y="1512"/>
                    </a:lnTo>
                    <a:lnTo>
                      <a:pt x="567" y="1323"/>
                    </a:lnTo>
                    <a:close/>
                    <a:moveTo>
                      <a:pt x="567" y="945"/>
                    </a:moveTo>
                    <a:lnTo>
                      <a:pt x="2457" y="945"/>
                    </a:lnTo>
                    <a:lnTo>
                      <a:pt x="2457" y="1134"/>
                    </a:lnTo>
                    <a:lnTo>
                      <a:pt x="567" y="1134"/>
                    </a:lnTo>
                    <a:lnTo>
                      <a:pt x="567" y="945"/>
                    </a:lnTo>
                    <a:close/>
                    <a:moveTo>
                      <a:pt x="567" y="567"/>
                    </a:moveTo>
                    <a:lnTo>
                      <a:pt x="2457" y="567"/>
                    </a:lnTo>
                    <a:lnTo>
                      <a:pt x="2457" y="756"/>
                    </a:lnTo>
                    <a:lnTo>
                      <a:pt x="567" y="756"/>
                    </a:lnTo>
                    <a:lnTo>
                      <a:pt x="567" y="567"/>
                    </a:lnTo>
                    <a:close/>
                    <a:moveTo>
                      <a:pt x="3024" y="0"/>
                    </a:moveTo>
                    <a:lnTo>
                      <a:pt x="3024" y="1701"/>
                    </a:lnTo>
                    <a:lnTo>
                      <a:pt x="2835" y="1701"/>
                    </a:lnTo>
                    <a:lnTo>
                      <a:pt x="2835" y="189"/>
                    </a:lnTo>
                    <a:lnTo>
                      <a:pt x="189" y="189"/>
                    </a:lnTo>
                    <a:lnTo>
                      <a:pt x="189" y="1701"/>
                    </a:lnTo>
                    <a:lnTo>
                      <a:pt x="0" y="1701"/>
                    </a:lnTo>
                    <a:lnTo>
                      <a:pt x="0" y="0"/>
                    </a:lnTo>
                    <a:lnTo>
                      <a:pt x="30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dk1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2" tIns="60941" rIns="121882" bIns="609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1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3B4145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endParaRPr>
              </a:p>
            </p:txBody>
          </p:sp>
        </p:grpSp>
      </p:grpSp>
      <p:sp>
        <p:nvSpPr>
          <p:cNvPr id="138" name="Rechteck 44">
            <a:extLst>
              <a:ext uri="{FF2B5EF4-FFF2-40B4-BE49-F238E27FC236}">
                <a16:creationId xmlns:a16="http://schemas.microsoft.com/office/drawing/2014/main" id="{1C51BD15-F2C6-2D40-3917-D5F2DEBD0264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5388663" y="5165153"/>
            <a:ext cx="1748587" cy="384177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874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  <a:lumOff val="50000"/>
                  </a:schemeClr>
                </a:solidFill>
                <a:effectLst/>
                <a:uLnTx/>
                <a:uFillTx/>
                <a:latin typeface="Lato"/>
                <a:ea typeface="+mn-ea"/>
                <a:cs typeface="Arial" pitchFamily="34" charset="0"/>
              </a:rPr>
              <a:t>CE &amp; Photo </a:t>
            </a:r>
          </a:p>
        </p:txBody>
      </p: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DF66236F-BA79-F553-91DB-48F36F252E1B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5785641" y="4657794"/>
            <a:ext cx="954631" cy="373687"/>
            <a:chOff x="6878169" y="4721709"/>
            <a:chExt cx="954925" cy="373802"/>
          </a:xfrm>
          <a:solidFill>
            <a:schemeClr val="tx2">
              <a:lumMod val="50000"/>
              <a:lumOff val="50000"/>
            </a:schemeClr>
          </a:solidFill>
        </p:grpSpPr>
        <p:sp>
          <p:nvSpPr>
            <p:cNvPr id="140" name="Freeform 26">
              <a:extLst>
                <a:ext uri="{FF2B5EF4-FFF2-40B4-BE49-F238E27FC236}">
                  <a16:creationId xmlns:a16="http://schemas.microsoft.com/office/drawing/2014/main" id="{C06D8080-1F83-22DA-96CB-66A95303D906}"/>
                </a:ext>
              </a:extLst>
            </p:cNvPr>
            <p:cNvSpPr>
              <a:spLocks noChangeAspect="1" noEditPoints="1"/>
            </p:cNvSpPr>
            <p:nvPr>
              <p:custDataLst>
                <p:tags r:id="rId23"/>
              </p:custDataLst>
            </p:nvPr>
          </p:nvSpPr>
          <p:spPr bwMode="auto">
            <a:xfrm>
              <a:off x="7411694" y="4751702"/>
              <a:ext cx="421400" cy="340360"/>
            </a:xfrm>
            <a:custGeom>
              <a:avLst/>
              <a:gdLst>
                <a:gd name="T0" fmla="*/ 560 w 2080"/>
                <a:gd name="T1" fmla="*/ 240 h 1680"/>
                <a:gd name="T2" fmla="*/ 640 w 2080"/>
                <a:gd name="T3" fmla="*/ 160 h 1680"/>
                <a:gd name="T4" fmla="*/ 800 w 2080"/>
                <a:gd name="T5" fmla="*/ 0 h 1680"/>
                <a:gd name="T6" fmla="*/ 1280 w 2080"/>
                <a:gd name="T7" fmla="*/ 0 h 1680"/>
                <a:gd name="T8" fmla="*/ 1440 w 2080"/>
                <a:gd name="T9" fmla="*/ 160 h 1680"/>
                <a:gd name="T10" fmla="*/ 1520 w 2080"/>
                <a:gd name="T11" fmla="*/ 240 h 1680"/>
                <a:gd name="T12" fmla="*/ 1920 w 2080"/>
                <a:gd name="T13" fmla="*/ 240 h 1680"/>
                <a:gd name="T14" fmla="*/ 2080 w 2080"/>
                <a:gd name="T15" fmla="*/ 400 h 1680"/>
                <a:gd name="T16" fmla="*/ 2080 w 2080"/>
                <a:gd name="T17" fmla="*/ 1520 h 1680"/>
                <a:gd name="T18" fmla="*/ 1920 w 2080"/>
                <a:gd name="T19" fmla="*/ 1680 h 1680"/>
                <a:gd name="T20" fmla="*/ 160 w 2080"/>
                <a:gd name="T21" fmla="*/ 1680 h 1680"/>
                <a:gd name="T22" fmla="*/ 0 w 2080"/>
                <a:gd name="T23" fmla="*/ 1520 h 1680"/>
                <a:gd name="T24" fmla="*/ 0 w 2080"/>
                <a:gd name="T25" fmla="*/ 400 h 1680"/>
                <a:gd name="T26" fmla="*/ 160 w 2080"/>
                <a:gd name="T27" fmla="*/ 240 h 1680"/>
                <a:gd name="T28" fmla="*/ 560 w 2080"/>
                <a:gd name="T29" fmla="*/ 240 h 1680"/>
                <a:gd name="T30" fmla="*/ 1400 w 2080"/>
                <a:gd name="T31" fmla="*/ 920 h 1680"/>
                <a:gd name="T32" fmla="*/ 1320 w 2080"/>
                <a:gd name="T33" fmla="*/ 920 h 1680"/>
                <a:gd name="T34" fmla="*/ 1040 w 2080"/>
                <a:gd name="T35" fmla="*/ 1200 h 1680"/>
                <a:gd name="T36" fmla="*/ 1040 w 2080"/>
                <a:gd name="T37" fmla="*/ 1280 h 1680"/>
                <a:gd name="T38" fmla="*/ 1400 w 2080"/>
                <a:gd name="T39" fmla="*/ 920 h 1680"/>
                <a:gd name="T40" fmla="*/ 800 w 2080"/>
                <a:gd name="T41" fmla="*/ 160 h 1680"/>
                <a:gd name="T42" fmla="*/ 800 w 2080"/>
                <a:gd name="T43" fmla="*/ 240 h 1680"/>
                <a:gd name="T44" fmla="*/ 1280 w 2080"/>
                <a:gd name="T45" fmla="*/ 240 h 1680"/>
                <a:gd name="T46" fmla="*/ 1280 w 2080"/>
                <a:gd name="T47" fmla="*/ 160 h 1680"/>
                <a:gd name="T48" fmla="*/ 800 w 2080"/>
                <a:gd name="T49" fmla="*/ 160 h 1680"/>
                <a:gd name="T50" fmla="*/ 1760 w 2080"/>
                <a:gd name="T51" fmla="*/ 440 h 1680"/>
                <a:gd name="T52" fmla="*/ 1640 w 2080"/>
                <a:gd name="T53" fmla="*/ 560 h 1680"/>
                <a:gd name="T54" fmla="*/ 1760 w 2080"/>
                <a:gd name="T55" fmla="*/ 680 h 1680"/>
                <a:gd name="T56" fmla="*/ 1880 w 2080"/>
                <a:gd name="T57" fmla="*/ 560 h 1680"/>
                <a:gd name="T58" fmla="*/ 1760 w 2080"/>
                <a:gd name="T59" fmla="*/ 440 h 1680"/>
                <a:gd name="T60" fmla="*/ 1040 w 2080"/>
                <a:gd name="T61" fmla="*/ 400 h 1680"/>
                <a:gd name="T62" fmla="*/ 520 w 2080"/>
                <a:gd name="T63" fmla="*/ 920 h 1680"/>
                <a:gd name="T64" fmla="*/ 1040 w 2080"/>
                <a:gd name="T65" fmla="*/ 1440 h 1680"/>
                <a:gd name="T66" fmla="*/ 1560 w 2080"/>
                <a:gd name="T67" fmla="*/ 920 h 1680"/>
                <a:gd name="T68" fmla="*/ 1040 w 2080"/>
                <a:gd name="T69" fmla="*/ 400 h 1680"/>
                <a:gd name="T70" fmla="*/ 1040 w 2080"/>
                <a:gd name="T71" fmla="*/ 480 h 1680"/>
                <a:gd name="T72" fmla="*/ 1480 w 2080"/>
                <a:gd name="T73" fmla="*/ 920 h 1680"/>
                <a:gd name="T74" fmla="*/ 1040 w 2080"/>
                <a:gd name="T75" fmla="*/ 1360 h 1680"/>
                <a:gd name="T76" fmla="*/ 600 w 2080"/>
                <a:gd name="T77" fmla="*/ 920 h 1680"/>
                <a:gd name="T78" fmla="*/ 1040 w 2080"/>
                <a:gd name="T79" fmla="*/ 480 h 1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80" h="1680">
                  <a:moveTo>
                    <a:pt x="560" y="240"/>
                  </a:moveTo>
                  <a:cubicBezTo>
                    <a:pt x="604" y="240"/>
                    <a:pt x="640" y="204"/>
                    <a:pt x="640" y="160"/>
                  </a:cubicBezTo>
                  <a:cubicBezTo>
                    <a:pt x="640" y="72"/>
                    <a:pt x="712" y="0"/>
                    <a:pt x="800" y="0"/>
                  </a:cubicBezTo>
                  <a:cubicBezTo>
                    <a:pt x="1280" y="0"/>
                    <a:pt x="1280" y="0"/>
                    <a:pt x="1280" y="0"/>
                  </a:cubicBezTo>
                  <a:cubicBezTo>
                    <a:pt x="1368" y="0"/>
                    <a:pt x="1440" y="72"/>
                    <a:pt x="1440" y="160"/>
                  </a:cubicBezTo>
                  <a:cubicBezTo>
                    <a:pt x="1440" y="204"/>
                    <a:pt x="1476" y="240"/>
                    <a:pt x="1520" y="240"/>
                  </a:cubicBezTo>
                  <a:cubicBezTo>
                    <a:pt x="1920" y="240"/>
                    <a:pt x="1920" y="240"/>
                    <a:pt x="1920" y="240"/>
                  </a:cubicBezTo>
                  <a:cubicBezTo>
                    <a:pt x="2008" y="240"/>
                    <a:pt x="2080" y="312"/>
                    <a:pt x="2080" y="400"/>
                  </a:cubicBezTo>
                  <a:cubicBezTo>
                    <a:pt x="2080" y="1520"/>
                    <a:pt x="2080" y="1520"/>
                    <a:pt x="2080" y="1520"/>
                  </a:cubicBezTo>
                  <a:cubicBezTo>
                    <a:pt x="2080" y="1608"/>
                    <a:pt x="2008" y="1680"/>
                    <a:pt x="1920" y="1680"/>
                  </a:cubicBezTo>
                  <a:cubicBezTo>
                    <a:pt x="160" y="1680"/>
                    <a:pt x="160" y="1680"/>
                    <a:pt x="160" y="1680"/>
                  </a:cubicBezTo>
                  <a:cubicBezTo>
                    <a:pt x="72" y="1680"/>
                    <a:pt x="0" y="1608"/>
                    <a:pt x="0" y="1520"/>
                  </a:cubicBezTo>
                  <a:cubicBezTo>
                    <a:pt x="0" y="400"/>
                    <a:pt x="0" y="400"/>
                    <a:pt x="0" y="400"/>
                  </a:cubicBezTo>
                  <a:cubicBezTo>
                    <a:pt x="0" y="312"/>
                    <a:pt x="72" y="240"/>
                    <a:pt x="160" y="240"/>
                  </a:cubicBezTo>
                  <a:lnTo>
                    <a:pt x="560" y="240"/>
                  </a:lnTo>
                  <a:close/>
                  <a:moveTo>
                    <a:pt x="1400" y="920"/>
                  </a:moveTo>
                  <a:cubicBezTo>
                    <a:pt x="1320" y="920"/>
                    <a:pt x="1320" y="920"/>
                    <a:pt x="1320" y="920"/>
                  </a:cubicBezTo>
                  <a:cubicBezTo>
                    <a:pt x="1320" y="1075"/>
                    <a:pt x="1195" y="1200"/>
                    <a:pt x="1040" y="1200"/>
                  </a:cubicBezTo>
                  <a:cubicBezTo>
                    <a:pt x="1040" y="1280"/>
                    <a:pt x="1040" y="1280"/>
                    <a:pt x="1040" y="1280"/>
                  </a:cubicBezTo>
                  <a:cubicBezTo>
                    <a:pt x="1239" y="1280"/>
                    <a:pt x="1400" y="1119"/>
                    <a:pt x="1400" y="920"/>
                  </a:cubicBezTo>
                  <a:close/>
                  <a:moveTo>
                    <a:pt x="800" y="160"/>
                  </a:moveTo>
                  <a:cubicBezTo>
                    <a:pt x="800" y="240"/>
                    <a:pt x="800" y="240"/>
                    <a:pt x="800" y="240"/>
                  </a:cubicBezTo>
                  <a:cubicBezTo>
                    <a:pt x="1280" y="240"/>
                    <a:pt x="1280" y="240"/>
                    <a:pt x="1280" y="240"/>
                  </a:cubicBezTo>
                  <a:cubicBezTo>
                    <a:pt x="1280" y="160"/>
                    <a:pt x="1280" y="160"/>
                    <a:pt x="1280" y="160"/>
                  </a:cubicBezTo>
                  <a:lnTo>
                    <a:pt x="800" y="160"/>
                  </a:lnTo>
                  <a:close/>
                  <a:moveTo>
                    <a:pt x="1760" y="440"/>
                  </a:moveTo>
                  <a:cubicBezTo>
                    <a:pt x="1694" y="440"/>
                    <a:pt x="1640" y="494"/>
                    <a:pt x="1640" y="560"/>
                  </a:cubicBezTo>
                  <a:cubicBezTo>
                    <a:pt x="1640" y="626"/>
                    <a:pt x="1694" y="680"/>
                    <a:pt x="1760" y="680"/>
                  </a:cubicBezTo>
                  <a:cubicBezTo>
                    <a:pt x="1826" y="680"/>
                    <a:pt x="1880" y="626"/>
                    <a:pt x="1880" y="560"/>
                  </a:cubicBezTo>
                  <a:cubicBezTo>
                    <a:pt x="1880" y="494"/>
                    <a:pt x="1826" y="440"/>
                    <a:pt x="1760" y="440"/>
                  </a:cubicBezTo>
                  <a:close/>
                  <a:moveTo>
                    <a:pt x="1040" y="400"/>
                  </a:moveTo>
                  <a:cubicBezTo>
                    <a:pt x="753" y="400"/>
                    <a:pt x="520" y="633"/>
                    <a:pt x="520" y="920"/>
                  </a:cubicBezTo>
                  <a:cubicBezTo>
                    <a:pt x="520" y="1207"/>
                    <a:pt x="753" y="1440"/>
                    <a:pt x="1040" y="1440"/>
                  </a:cubicBezTo>
                  <a:cubicBezTo>
                    <a:pt x="1327" y="1440"/>
                    <a:pt x="1560" y="1207"/>
                    <a:pt x="1560" y="920"/>
                  </a:cubicBezTo>
                  <a:cubicBezTo>
                    <a:pt x="1560" y="633"/>
                    <a:pt x="1327" y="400"/>
                    <a:pt x="1040" y="400"/>
                  </a:cubicBezTo>
                  <a:close/>
                  <a:moveTo>
                    <a:pt x="1040" y="480"/>
                  </a:moveTo>
                  <a:cubicBezTo>
                    <a:pt x="1283" y="480"/>
                    <a:pt x="1480" y="677"/>
                    <a:pt x="1480" y="920"/>
                  </a:cubicBezTo>
                  <a:cubicBezTo>
                    <a:pt x="1480" y="1163"/>
                    <a:pt x="1283" y="1360"/>
                    <a:pt x="1040" y="1360"/>
                  </a:cubicBezTo>
                  <a:cubicBezTo>
                    <a:pt x="797" y="1360"/>
                    <a:pt x="600" y="1163"/>
                    <a:pt x="600" y="920"/>
                  </a:cubicBezTo>
                  <a:cubicBezTo>
                    <a:pt x="600" y="677"/>
                    <a:pt x="797" y="480"/>
                    <a:pt x="1040" y="48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882" tIns="60941" rIns="121882" bIns="609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4368BD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41" name="Freeform 55">
              <a:extLst>
                <a:ext uri="{FF2B5EF4-FFF2-40B4-BE49-F238E27FC236}">
                  <a16:creationId xmlns:a16="http://schemas.microsoft.com/office/drawing/2014/main" id="{9ED33F69-2F5A-93A5-62AE-314823C403A4}"/>
                </a:ext>
              </a:extLst>
            </p:cNvPr>
            <p:cNvSpPr>
              <a:spLocks noChangeAspect="1" noEditPoints="1"/>
            </p:cNvSpPr>
            <p:nvPr>
              <p:custDataLst>
                <p:tags r:id="rId24"/>
              </p:custDataLst>
            </p:nvPr>
          </p:nvSpPr>
          <p:spPr bwMode="auto">
            <a:xfrm>
              <a:off x="6878169" y="4721709"/>
              <a:ext cx="441765" cy="373802"/>
            </a:xfrm>
            <a:custGeom>
              <a:avLst/>
              <a:gdLst>
                <a:gd name="T0" fmla="*/ 2080 w 2080"/>
                <a:gd name="T1" fmla="*/ 0 h 1760"/>
                <a:gd name="T2" fmla="*/ 2080 w 2080"/>
                <a:gd name="T3" fmla="*/ 1440 h 1760"/>
                <a:gd name="T4" fmla="*/ 0 w 2080"/>
                <a:gd name="T5" fmla="*/ 1440 h 1760"/>
                <a:gd name="T6" fmla="*/ 0 w 2080"/>
                <a:gd name="T7" fmla="*/ 0 h 1760"/>
                <a:gd name="T8" fmla="*/ 2080 w 2080"/>
                <a:gd name="T9" fmla="*/ 0 h 1760"/>
                <a:gd name="T10" fmla="*/ 400 w 2080"/>
                <a:gd name="T11" fmla="*/ 1680 h 1760"/>
                <a:gd name="T12" fmla="*/ 880 w 2080"/>
                <a:gd name="T13" fmla="*/ 1680 h 1760"/>
                <a:gd name="T14" fmla="*/ 880 w 2080"/>
                <a:gd name="T15" fmla="*/ 1520 h 1760"/>
                <a:gd name="T16" fmla="*/ 1200 w 2080"/>
                <a:gd name="T17" fmla="*/ 1520 h 1760"/>
                <a:gd name="T18" fmla="*/ 1200 w 2080"/>
                <a:gd name="T19" fmla="*/ 1680 h 1760"/>
                <a:gd name="T20" fmla="*/ 1680 w 2080"/>
                <a:gd name="T21" fmla="*/ 1680 h 1760"/>
                <a:gd name="T22" fmla="*/ 1680 w 2080"/>
                <a:gd name="T23" fmla="*/ 1760 h 1760"/>
                <a:gd name="T24" fmla="*/ 400 w 2080"/>
                <a:gd name="T25" fmla="*/ 1760 h 1760"/>
                <a:gd name="T26" fmla="*/ 400 w 2080"/>
                <a:gd name="T27" fmla="*/ 1680 h 1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80" h="1760">
                  <a:moveTo>
                    <a:pt x="2080" y="0"/>
                  </a:moveTo>
                  <a:cubicBezTo>
                    <a:pt x="2080" y="1440"/>
                    <a:pt x="2080" y="1440"/>
                    <a:pt x="2080" y="1440"/>
                  </a:cubicBezTo>
                  <a:cubicBezTo>
                    <a:pt x="0" y="1440"/>
                    <a:pt x="0" y="1440"/>
                    <a:pt x="0" y="144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080" y="0"/>
                  </a:lnTo>
                  <a:close/>
                  <a:moveTo>
                    <a:pt x="400" y="1680"/>
                  </a:moveTo>
                  <a:cubicBezTo>
                    <a:pt x="880" y="1680"/>
                    <a:pt x="880" y="1680"/>
                    <a:pt x="880" y="1680"/>
                  </a:cubicBezTo>
                  <a:cubicBezTo>
                    <a:pt x="880" y="1520"/>
                    <a:pt x="880" y="1520"/>
                    <a:pt x="880" y="1520"/>
                  </a:cubicBezTo>
                  <a:cubicBezTo>
                    <a:pt x="1200" y="1520"/>
                    <a:pt x="1200" y="1520"/>
                    <a:pt x="1200" y="1520"/>
                  </a:cubicBezTo>
                  <a:cubicBezTo>
                    <a:pt x="1200" y="1680"/>
                    <a:pt x="1200" y="1680"/>
                    <a:pt x="1200" y="1680"/>
                  </a:cubicBezTo>
                  <a:cubicBezTo>
                    <a:pt x="1680" y="1680"/>
                    <a:pt x="1680" y="1680"/>
                    <a:pt x="1680" y="1680"/>
                  </a:cubicBezTo>
                  <a:cubicBezTo>
                    <a:pt x="1680" y="1760"/>
                    <a:pt x="1680" y="1760"/>
                    <a:pt x="1680" y="1760"/>
                  </a:cubicBezTo>
                  <a:cubicBezTo>
                    <a:pt x="1253" y="1760"/>
                    <a:pt x="827" y="1760"/>
                    <a:pt x="400" y="1760"/>
                  </a:cubicBezTo>
                  <a:lnTo>
                    <a:pt x="400" y="16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882" tIns="60941" rIns="121882" bIns="609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1">
                <a:ln>
                  <a:noFill/>
                </a:ln>
                <a:solidFill>
                  <a:srgbClr val="4368BD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  <p:sp>
        <p:nvSpPr>
          <p:cNvPr id="142" name="Rechteck 28">
            <a:extLst>
              <a:ext uri="{FF2B5EF4-FFF2-40B4-BE49-F238E27FC236}">
                <a16:creationId xmlns:a16="http://schemas.microsoft.com/office/drawing/2014/main" id="{6C9C4080-49B0-6D8B-F611-5F930DA590E1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6881218" y="5165153"/>
            <a:ext cx="1748587" cy="384177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874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A52F"/>
                </a:solidFill>
                <a:effectLst/>
                <a:uLnTx/>
                <a:uFillTx/>
                <a:latin typeface="Lato"/>
                <a:ea typeface="+mn-ea"/>
                <a:cs typeface="Arial" pitchFamily="34" charset="0"/>
              </a:rPr>
              <a:t>Major Domestic Appliances</a:t>
            </a:r>
            <a:endParaRPr kumimoji="0" lang="en-US" sz="1050" b="1" i="1" u="none" strike="noStrike" kern="0" cap="none" spc="0" normalizeH="0" baseline="0" noProof="0" dirty="0">
              <a:ln>
                <a:noFill/>
              </a:ln>
              <a:solidFill>
                <a:srgbClr val="FFA52F"/>
              </a:solidFill>
              <a:effectLst/>
              <a:uLnTx/>
              <a:uFillTx/>
              <a:latin typeface="Lato"/>
              <a:ea typeface="+mn-ea"/>
              <a:cs typeface="Arial" pitchFamily="34" charset="0"/>
            </a:endParaRP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99B4F7BC-924E-E524-574F-0C2EF19D005B}"/>
              </a:ext>
            </a:extLst>
          </p:cNvPr>
          <p:cNvGrpSpPr/>
          <p:nvPr>
            <p:custDataLst>
              <p:tags r:id="rId12"/>
            </p:custDataLst>
          </p:nvPr>
        </p:nvGrpSpPr>
        <p:grpSpPr>
          <a:xfrm>
            <a:off x="7494590" y="4644544"/>
            <a:ext cx="521851" cy="395443"/>
            <a:chOff x="1071562" y="3429000"/>
            <a:chExt cx="333101" cy="252414"/>
          </a:xfrm>
          <a:solidFill>
            <a:schemeClr val="accent6"/>
          </a:solidFill>
        </p:grpSpPr>
        <p:sp>
          <p:nvSpPr>
            <p:cNvPr id="144" name="Freeform 112">
              <a:extLst>
                <a:ext uri="{FF2B5EF4-FFF2-40B4-BE49-F238E27FC236}">
                  <a16:creationId xmlns:a16="http://schemas.microsoft.com/office/drawing/2014/main" id="{1E4EDEAB-DEA9-55B4-DFC9-015F18FBC841}"/>
                </a:ext>
              </a:extLst>
            </p:cNvPr>
            <p:cNvSpPr>
              <a:spLocks noChangeAspect="1" noEditPoints="1"/>
            </p:cNvSpPr>
            <p:nvPr>
              <p:custDataLst>
                <p:tags r:id="rId21"/>
              </p:custDataLst>
            </p:nvPr>
          </p:nvSpPr>
          <p:spPr bwMode="auto">
            <a:xfrm>
              <a:off x="1071562" y="3429000"/>
              <a:ext cx="184403" cy="252411"/>
            </a:xfrm>
            <a:custGeom>
              <a:avLst/>
              <a:gdLst>
                <a:gd name="T0" fmla="*/ 1080 w 1520"/>
                <a:gd name="T1" fmla="*/ 140 h 2080"/>
                <a:gd name="T2" fmla="*/ 1160 w 1520"/>
                <a:gd name="T3" fmla="*/ 220 h 2080"/>
                <a:gd name="T4" fmla="*/ 1080 w 1520"/>
                <a:gd name="T5" fmla="*/ 300 h 2080"/>
                <a:gd name="T6" fmla="*/ 1000 w 1520"/>
                <a:gd name="T7" fmla="*/ 220 h 2080"/>
                <a:gd name="T8" fmla="*/ 1080 w 1520"/>
                <a:gd name="T9" fmla="*/ 140 h 2080"/>
                <a:gd name="T10" fmla="*/ 1520 w 1520"/>
                <a:gd name="T11" fmla="*/ 0 h 2080"/>
                <a:gd name="T12" fmla="*/ 520 w 1520"/>
                <a:gd name="T13" fmla="*/ 0 h 2080"/>
                <a:gd name="T14" fmla="*/ 520 w 1520"/>
                <a:gd name="T15" fmla="*/ 360 h 2080"/>
                <a:gd name="T16" fmla="*/ 1520 w 1520"/>
                <a:gd name="T17" fmla="*/ 360 h 2080"/>
                <a:gd name="T18" fmla="*/ 1520 w 1520"/>
                <a:gd name="T19" fmla="*/ 0 h 2080"/>
                <a:gd name="T20" fmla="*/ 440 w 1520"/>
                <a:gd name="T21" fmla="*/ 0 h 2080"/>
                <a:gd name="T22" fmla="*/ 0 w 1520"/>
                <a:gd name="T23" fmla="*/ 0 h 2080"/>
                <a:gd name="T24" fmla="*/ 0 w 1520"/>
                <a:gd name="T25" fmla="*/ 360 h 2080"/>
                <a:gd name="T26" fmla="*/ 440 w 1520"/>
                <a:gd name="T27" fmla="*/ 360 h 2080"/>
                <a:gd name="T28" fmla="*/ 440 w 1520"/>
                <a:gd name="T29" fmla="*/ 0 h 2080"/>
                <a:gd name="T30" fmla="*/ 0 w 1520"/>
                <a:gd name="T31" fmla="*/ 440 h 2080"/>
                <a:gd name="T32" fmla="*/ 0 w 1520"/>
                <a:gd name="T33" fmla="*/ 2080 h 2080"/>
                <a:gd name="T34" fmla="*/ 1520 w 1520"/>
                <a:gd name="T35" fmla="*/ 2080 h 2080"/>
                <a:gd name="T36" fmla="*/ 1520 w 1520"/>
                <a:gd name="T37" fmla="*/ 440 h 2080"/>
                <a:gd name="T38" fmla="*/ 0 w 1520"/>
                <a:gd name="T39" fmla="*/ 440 h 2080"/>
                <a:gd name="T40" fmla="*/ 1320 w 1520"/>
                <a:gd name="T41" fmla="*/ 1240 h 2080"/>
                <a:gd name="T42" fmla="*/ 760 w 1520"/>
                <a:gd name="T43" fmla="*/ 1800 h 2080"/>
                <a:gd name="T44" fmla="*/ 200 w 1520"/>
                <a:gd name="T45" fmla="*/ 1240 h 2080"/>
                <a:gd name="T46" fmla="*/ 760 w 1520"/>
                <a:gd name="T47" fmla="*/ 680 h 2080"/>
                <a:gd name="T48" fmla="*/ 1320 w 1520"/>
                <a:gd name="T49" fmla="*/ 1240 h 2080"/>
                <a:gd name="T50" fmla="*/ 760 w 1520"/>
                <a:gd name="T51" fmla="*/ 760 h 2080"/>
                <a:gd name="T52" fmla="*/ 280 w 1520"/>
                <a:gd name="T53" fmla="*/ 1240 h 2080"/>
                <a:gd name="T54" fmla="*/ 760 w 1520"/>
                <a:gd name="T55" fmla="*/ 1720 h 2080"/>
                <a:gd name="T56" fmla="*/ 1240 w 1520"/>
                <a:gd name="T57" fmla="*/ 1240 h 2080"/>
                <a:gd name="T58" fmla="*/ 760 w 1520"/>
                <a:gd name="T59" fmla="*/ 760 h 2080"/>
                <a:gd name="T60" fmla="*/ 1160 w 1520"/>
                <a:gd name="T61" fmla="*/ 1240 h 2080"/>
                <a:gd name="T62" fmla="*/ 760 w 1520"/>
                <a:gd name="T63" fmla="*/ 1640 h 2080"/>
                <a:gd name="T64" fmla="*/ 360 w 1520"/>
                <a:gd name="T65" fmla="*/ 1240 h 2080"/>
                <a:gd name="T66" fmla="*/ 760 w 1520"/>
                <a:gd name="T67" fmla="*/ 840 h 2080"/>
                <a:gd name="T68" fmla="*/ 1160 w 1520"/>
                <a:gd name="T69" fmla="*/ 1240 h 2080"/>
                <a:gd name="T70" fmla="*/ 1080 w 1520"/>
                <a:gd name="T71" fmla="*/ 1240 h 2080"/>
                <a:gd name="T72" fmla="*/ 760 w 1520"/>
                <a:gd name="T73" fmla="*/ 920 h 2080"/>
                <a:gd name="T74" fmla="*/ 440 w 1520"/>
                <a:gd name="T75" fmla="*/ 1240 h 2080"/>
                <a:gd name="T76" fmla="*/ 760 w 1520"/>
                <a:gd name="T77" fmla="*/ 1560 h 2080"/>
                <a:gd name="T78" fmla="*/ 1080 w 1520"/>
                <a:gd name="T79" fmla="*/ 1240 h 2080"/>
                <a:gd name="T80" fmla="*/ 1280 w 1520"/>
                <a:gd name="T81" fmla="*/ 140 h 2080"/>
                <a:gd name="T82" fmla="*/ 1360 w 1520"/>
                <a:gd name="T83" fmla="*/ 220 h 2080"/>
                <a:gd name="T84" fmla="*/ 1280 w 1520"/>
                <a:gd name="T85" fmla="*/ 300 h 2080"/>
                <a:gd name="T86" fmla="*/ 1200 w 1520"/>
                <a:gd name="T87" fmla="*/ 220 h 2080"/>
                <a:gd name="T88" fmla="*/ 1280 w 1520"/>
                <a:gd name="T89" fmla="*/ 140 h 2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520" h="2080">
                  <a:moveTo>
                    <a:pt x="1080" y="140"/>
                  </a:moveTo>
                  <a:cubicBezTo>
                    <a:pt x="1124" y="140"/>
                    <a:pt x="1160" y="176"/>
                    <a:pt x="1160" y="220"/>
                  </a:cubicBezTo>
                  <a:cubicBezTo>
                    <a:pt x="1160" y="264"/>
                    <a:pt x="1124" y="300"/>
                    <a:pt x="1080" y="300"/>
                  </a:cubicBezTo>
                  <a:cubicBezTo>
                    <a:pt x="1036" y="300"/>
                    <a:pt x="1000" y="264"/>
                    <a:pt x="1000" y="220"/>
                  </a:cubicBezTo>
                  <a:cubicBezTo>
                    <a:pt x="1000" y="176"/>
                    <a:pt x="1036" y="140"/>
                    <a:pt x="1080" y="140"/>
                  </a:cubicBezTo>
                  <a:close/>
                  <a:moveTo>
                    <a:pt x="1520" y="0"/>
                  </a:moveTo>
                  <a:cubicBezTo>
                    <a:pt x="520" y="0"/>
                    <a:pt x="520" y="0"/>
                    <a:pt x="520" y="0"/>
                  </a:cubicBezTo>
                  <a:cubicBezTo>
                    <a:pt x="520" y="360"/>
                    <a:pt x="520" y="360"/>
                    <a:pt x="520" y="360"/>
                  </a:cubicBezTo>
                  <a:cubicBezTo>
                    <a:pt x="1520" y="360"/>
                    <a:pt x="1520" y="360"/>
                    <a:pt x="1520" y="360"/>
                  </a:cubicBezTo>
                  <a:lnTo>
                    <a:pt x="1520" y="0"/>
                  </a:lnTo>
                  <a:close/>
                  <a:moveTo>
                    <a:pt x="44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60"/>
                    <a:pt x="0" y="360"/>
                    <a:pt x="0" y="360"/>
                  </a:cubicBezTo>
                  <a:cubicBezTo>
                    <a:pt x="440" y="360"/>
                    <a:pt x="440" y="360"/>
                    <a:pt x="440" y="360"/>
                  </a:cubicBezTo>
                  <a:lnTo>
                    <a:pt x="440" y="0"/>
                  </a:lnTo>
                  <a:close/>
                  <a:moveTo>
                    <a:pt x="0" y="440"/>
                  </a:moveTo>
                  <a:cubicBezTo>
                    <a:pt x="0" y="2080"/>
                    <a:pt x="0" y="2080"/>
                    <a:pt x="0" y="2080"/>
                  </a:cubicBezTo>
                  <a:cubicBezTo>
                    <a:pt x="1520" y="2080"/>
                    <a:pt x="1520" y="2080"/>
                    <a:pt x="1520" y="2080"/>
                  </a:cubicBezTo>
                  <a:cubicBezTo>
                    <a:pt x="1520" y="440"/>
                    <a:pt x="1520" y="440"/>
                    <a:pt x="1520" y="440"/>
                  </a:cubicBezTo>
                  <a:lnTo>
                    <a:pt x="0" y="440"/>
                  </a:lnTo>
                  <a:close/>
                  <a:moveTo>
                    <a:pt x="1320" y="1240"/>
                  </a:moveTo>
                  <a:cubicBezTo>
                    <a:pt x="1320" y="1549"/>
                    <a:pt x="1069" y="1800"/>
                    <a:pt x="760" y="1800"/>
                  </a:cubicBezTo>
                  <a:cubicBezTo>
                    <a:pt x="451" y="1800"/>
                    <a:pt x="200" y="1549"/>
                    <a:pt x="200" y="1240"/>
                  </a:cubicBezTo>
                  <a:cubicBezTo>
                    <a:pt x="200" y="931"/>
                    <a:pt x="451" y="680"/>
                    <a:pt x="760" y="680"/>
                  </a:cubicBezTo>
                  <a:cubicBezTo>
                    <a:pt x="1069" y="680"/>
                    <a:pt x="1320" y="931"/>
                    <a:pt x="1320" y="1240"/>
                  </a:cubicBezTo>
                  <a:close/>
                  <a:moveTo>
                    <a:pt x="760" y="760"/>
                  </a:moveTo>
                  <a:cubicBezTo>
                    <a:pt x="495" y="760"/>
                    <a:pt x="280" y="975"/>
                    <a:pt x="280" y="1240"/>
                  </a:cubicBezTo>
                  <a:cubicBezTo>
                    <a:pt x="280" y="1505"/>
                    <a:pt x="495" y="1720"/>
                    <a:pt x="760" y="1720"/>
                  </a:cubicBezTo>
                  <a:cubicBezTo>
                    <a:pt x="1025" y="1720"/>
                    <a:pt x="1240" y="1505"/>
                    <a:pt x="1240" y="1240"/>
                  </a:cubicBezTo>
                  <a:cubicBezTo>
                    <a:pt x="1240" y="975"/>
                    <a:pt x="1025" y="760"/>
                    <a:pt x="760" y="760"/>
                  </a:cubicBezTo>
                  <a:close/>
                  <a:moveTo>
                    <a:pt x="1160" y="1240"/>
                  </a:moveTo>
                  <a:cubicBezTo>
                    <a:pt x="1160" y="1461"/>
                    <a:pt x="981" y="1640"/>
                    <a:pt x="760" y="1640"/>
                  </a:cubicBezTo>
                  <a:cubicBezTo>
                    <a:pt x="539" y="1640"/>
                    <a:pt x="360" y="1461"/>
                    <a:pt x="360" y="1240"/>
                  </a:cubicBezTo>
                  <a:cubicBezTo>
                    <a:pt x="360" y="1019"/>
                    <a:pt x="539" y="840"/>
                    <a:pt x="760" y="840"/>
                  </a:cubicBezTo>
                  <a:cubicBezTo>
                    <a:pt x="981" y="840"/>
                    <a:pt x="1160" y="1019"/>
                    <a:pt x="1160" y="1240"/>
                  </a:cubicBezTo>
                  <a:close/>
                  <a:moveTo>
                    <a:pt x="1080" y="1240"/>
                  </a:moveTo>
                  <a:cubicBezTo>
                    <a:pt x="1080" y="1063"/>
                    <a:pt x="937" y="920"/>
                    <a:pt x="760" y="920"/>
                  </a:cubicBezTo>
                  <a:cubicBezTo>
                    <a:pt x="583" y="920"/>
                    <a:pt x="440" y="1063"/>
                    <a:pt x="440" y="1240"/>
                  </a:cubicBezTo>
                  <a:cubicBezTo>
                    <a:pt x="440" y="1417"/>
                    <a:pt x="583" y="1560"/>
                    <a:pt x="760" y="1560"/>
                  </a:cubicBezTo>
                  <a:cubicBezTo>
                    <a:pt x="937" y="1560"/>
                    <a:pt x="1080" y="1417"/>
                    <a:pt x="1080" y="1240"/>
                  </a:cubicBezTo>
                  <a:close/>
                  <a:moveTo>
                    <a:pt x="1280" y="140"/>
                  </a:moveTo>
                  <a:cubicBezTo>
                    <a:pt x="1324" y="140"/>
                    <a:pt x="1360" y="176"/>
                    <a:pt x="1360" y="220"/>
                  </a:cubicBezTo>
                  <a:cubicBezTo>
                    <a:pt x="1360" y="264"/>
                    <a:pt x="1324" y="300"/>
                    <a:pt x="1280" y="300"/>
                  </a:cubicBezTo>
                  <a:cubicBezTo>
                    <a:pt x="1236" y="300"/>
                    <a:pt x="1200" y="264"/>
                    <a:pt x="1200" y="220"/>
                  </a:cubicBezTo>
                  <a:cubicBezTo>
                    <a:pt x="1200" y="176"/>
                    <a:pt x="1236" y="140"/>
                    <a:pt x="1280" y="1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882" tIns="60941" rIns="121882" bIns="609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/>
                <a:ea typeface="+mn-ea"/>
                <a:cs typeface="+mn-cs"/>
              </a:endParaRPr>
            </a:p>
          </p:txBody>
        </p:sp>
        <p:grpSp>
          <p:nvGrpSpPr>
            <p:cNvPr id="145" name="Group 156">
              <a:extLst>
                <a:ext uri="{FF2B5EF4-FFF2-40B4-BE49-F238E27FC236}">
                  <a16:creationId xmlns:a16="http://schemas.microsoft.com/office/drawing/2014/main" id="{095323BA-9EC8-15C4-BCBC-242EC84A1DEF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1277814" y="3429001"/>
              <a:ext cx="126849" cy="252413"/>
              <a:chOff x="1647" y="-295"/>
              <a:chExt cx="2468" cy="4911"/>
            </a:xfrm>
            <a:grpFill/>
          </p:grpSpPr>
          <p:sp>
            <p:nvSpPr>
              <p:cNvPr id="146" name="Freeform 157">
                <a:extLst>
                  <a:ext uri="{FF2B5EF4-FFF2-40B4-BE49-F238E27FC236}">
                    <a16:creationId xmlns:a16="http://schemas.microsoft.com/office/drawing/2014/main" id="{3075AD53-7E36-0EA0-CD30-C8BAF56CEC4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47" y="-295"/>
                <a:ext cx="2468" cy="1467"/>
              </a:xfrm>
              <a:custGeom>
                <a:avLst/>
                <a:gdLst>
                  <a:gd name="T0" fmla="*/ 1045 w 1045"/>
                  <a:gd name="T1" fmla="*/ 197 h 621"/>
                  <a:gd name="T2" fmla="*/ 945 w 1045"/>
                  <a:gd name="T3" fmla="*/ 0 h 621"/>
                  <a:gd name="T4" fmla="*/ 100 w 1045"/>
                  <a:gd name="T5" fmla="*/ 0 h 621"/>
                  <a:gd name="T6" fmla="*/ 0 w 1045"/>
                  <a:gd name="T7" fmla="*/ 197 h 621"/>
                  <a:gd name="T8" fmla="*/ 0 w 1045"/>
                  <a:gd name="T9" fmla="*/ 621 h 621"/>
                  <a:gd name="T10" fmla="*/ 1045 w 1045"/>
                  <a:gd name="T11" fmla="*/ 621 h 621"/>
                  <a:gd name="T12" fmla="*/ 1045 w 1045"/>
                  <a:gd name="T13" fmla="*/ 197 h 621"/>
                  <a:gd name="T14" fmla="*/ 127 w 1045"/>
                  <a:gd name="T15" fmla="*/ 508 h 621"/>
                  <a:gd name="T16" fmla="*/ 114 w 1045"/>
                  <a:gd name="T17" fmla="*/ 519 h 621"/>
                  <a:gd name="T18" fmla="*/ 100 w 1045"/>
                  <a:gd name="T19" fmla="*/ 508 h 621"/>
                  <a:gd name="T20" fmla="*/ 100 w 1045"/>
                  <a:gd name="T21" fmla="*/ 346 h 621"/>
                  <a:gd name="T22" fmla="*/ 114 w 1045"/>
                  <a:gd name="T23" fmla="*/ 335 h 621"/>
                  <a:gd name="T24" fmla="*/ 127 w 1045"/>
                  <a:gd name="T25" fmla="*/ 346 h 621"/>
                  <a:gd name="T26" fmla="*/ 127 w 1045"/>
                  <a:gd name="T27" fmla="*/ 508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45" h="621">
                    <a:moveTo>
                      <a:pt x="1045" y="197"/>
                    </a:moveTo>
                    <a:cubicBezTo>
                      <a:pt x="1045" y="88"/>
                      <a:pt x="1000" y="0"/>
                      <a:pt x="945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45" y="0"/>
                      <a:pt x="0" y="88"/>
                      <a:pt x="0" y="197"/>
                    </a:cubicBezTo>
                    <a:cubicBezTo>
                      <a:pt x="0" y="621"/>
                      <a:pt x="0" y="621"/>
                      <a:pt x="0" y="621"/>
                    </a:cubicBezTo>
                    <a:cubicBezTo>
                      <a:pt x="1045" y="621"/>
                      <a:pt x="1045" y="621"/>
                      <a:pt x="1045" y="621"/>
                    </a:cubicBezTo>
                    <a:cubicBezTo>
                      <a:pt x="1045" y="197"/>
                      <a:pt x="1045" y="197"/>
                      <a:pt x="1045" y="197"/>
                    </a:cubicBezTo>
                    <a:close/>
                    <a:moveTo>
                      <a:pt x="127" y="508"/>
                    </a:moveTo>
                    <a:cubicBezTo>
                      <a:pt x="127" y="514"/>
                      <a:pt x="121" y="519"/>
                      <a:pt x="114" y="519"/>
                    </a:cubicBezTo>
                    <a:cubicBezTo>
                      <a:pt x="106" y="519"/>
                      <a:pt x="100" y="514"/>
                      <a:pt x="100" y="508"/>
                    </a:cubicBezTo>
                    <a:cubicBezTo>
                      <a:pt x="100" y="346"/>
                      <a:pt x="100" y="346"/>
                      <a:pt x="100" y="346"/>
                    </a:cubicBezTo>
                    <a:cubicBezTo>
                      <a:pt x="100" y="340"/>
                      <a:pt x="106" y="335"/>
                      <a:pt x="114" y="335"/>
                    </a:cubicBezTo>
                    <a:cubicBezTo>
                      <a:pt x="121" y="335"/>
                      <a:pt x="127" y="340"/>
                      <a:pt x="127" y="346"/>
                    </a:cubicBezTo>
                    <a:lnTo>
                      <a:pt x="127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2" tIns="60941" rIns="121882" bIns="609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Light"/>
                  <a:ea typeface="+mn-ea"/>
                  <a:cs typeface="+mn-cs"/>
                </a:endParaRPr>
              </a:p>
            </p:txBody>
          </p:sp>
          <p:sp>
            <p:nvSpPr>
              <p:cNvPr id="147" name="Freeform 158">
                <a:extLst>
                  <a:ext uri="{FF2B5EF4-FFF2-40B4-BE49-F238E27FC236}">
                    <a16:creationId xmlns:a16="http://schemas.microsoft.com/office/drawing/2014/main" id="{BDAFA80F-9235-AD4F-30B5-9501861F9A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47" y="1359"/>
                <a:ext cx="2468" cy="3257"/>
              </a:xfrm>
              <a:custGeom>
                <a:avLst/>
                <a:gdLst>
                  <a:gd name="T0" fmla="*/ 0 w 1045"/>
                  <a:gd name="T1" fmla="*/ 0 h 1379"/>
                  <a:gd name="T2" fmla="*/ 0 w 1045"/>
                  <a:gd name="T3" fmla="*/ 1116 h 1379"/>
                  <a:gd name="T4" fmla="*/ 100 w 1045"/>
                  <a:gd name="T5" fmla="*/ 1313 h 1379"/>
                  <a:gd name="T6" fmla="*/ 100 w 1045"/>
                  <a:gd name="T7" fmla="*/ 1379 h 1379"/>
                  <a:gd name="T8" fmla="*/ 172 w 1045"/>
                  <a:gd name="T9" fmla="*/ 1379 h 1379"/>
                  <a:gd name="T10" fmla="*/ 172 w 1045"/>
                  <a:gd name="T11" fmla="*/ 1313 h 1379"/>
                  <a:gd name="T12" fmla="*/ 873 w 1045"/>
                  <a:gd name="T13" fmla="*/ 1313 h 1379"/>
                  <a:gd name="T14" fmla="*/ 873 w 1045"/>
                  <a:gd name="T15" fmla="*/ 1379 h 1379"/>
                  <a:gd name="T16" fmla="*/ 945 w 1045"/>
                  <a:gd name="T17" fmla="*/ 1379 h 1379"/>
                  <a:gd name="T18" fmla="*/ 945 w 1045"/>
                  <a:gd name="T19" fmla="*/ 1313 h 1379"/>
                  <a:gd name="T20" fmla="*/ 1045 w 1045"/>
                  <a:gd name="T21" fmla="*/ 1116 h 1379"/>
                  <a:gd name="T22" fmla="*/ 1045 w 1045"/>
                  <a:gd name="T23" fmla="*/ 0 h 1379"/>
                  <a:gd name="T24" fmla="*/ 0 w 1045"/>
                  <a:gd name="T25" fmla="*/ 0 h 1379"/>
                  <a:gd name="T26" fmla="*/ 127 w 1045"/>
                  <a:gd name="T27" fmla="*/ 276 h 1379"/>
                  <a:gd name="T28" fmla="*/ 114 w 1045"/>
                  <a:gd name="T29" fmla="*/ 287 h 1379"/>
                  <a:gd name="T30" fmla="*/ 100 w 1045"/>
                  <a:gd name="T31" fmla="*/ 276 h 1379"/>
                  <a:gd name="T32" fmla="*/ 100 w 1045"/>
                  <a:gd name="T33" fmla="*/ 114 h 1379"/>
                  <a:gd name="T34" fmla="*/ 114 w 1045"/>
                  <a:gd name="T35" fmla="*/ 103 h 1379"/>
                  <a:gd name="T36" fmla="*/ 127 w 1045"/>
                  <a:gd name="T37" fmla="*/ 114 h 1379"/>
                  <a:gd name="T38" fmla="*/ 127 w 1045"/>
                  <a:gd name="T39" fmla="*/ 276 h 1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45" h="1379">
                    <a:moveTo>
                      <a:pt x="0" y="0"/>
                    </a:moveTo>
                    <a:cubicBezTo>
                      <a:pt x="0" y="1116"/>
                      <a:pt x="0" y="1116"/>
                      <a:pt x="0" y="1116"/>
                    </a:cubicBezTo>
                    <a:cubicBezTo>
                      <a:pt x="0" y="1224"/>
                      <a:pt x="45" y="1313"/>
                      <a:pt x="100" y="1313"/>
                    </a:cubicBezTo>
                    <a:cubicBezTo>
                      <a:pt x="100" y="1379"/>
                      <a:pt x="100" y="1379"/>
                      <a:pt x="100" y="1379"/>
                    </a:cubicBezTo>
                    <a:cubicBezTo>
                      <a:pt x="172" y="1379"/>
                      <a:pt x="172" y="1379"/>
                      <a:pt x="172" y="1379"/>
                    </a:cubicBezTo>
                    <a:cubicBezTo>
                      <a:pt x="172" y="1313"/>
                      <a:pt x="172" y="1313"/>
                      <a:pt x="172" y="1313"/>
                    </a:cubicBezTo>
                    <a:cubicBezTo>
                      <a:pt x="873" y="1313"/>
                      <a:pt x="873" y="1313"/>
                      <a:pt x="873" y="1313"/>
                    </a:cubicBezTo>
                    <a:cubicBezTo>
                      <a:pt x="873" y="1379"/>
                      <a:pt x="873" y="1379"/>
                      <a:pt x="873" y="1379"/>
                    </a:cubicBezTo>
                    <a:cubicBezTo>
                      <a:pt x="945" y="1379"/>
                      <a:pt x="945" y="1379"/>
                      <a:pt x="945" y="1379"/>
                    </a:cubicBezTo>
                    <a:cubicBezTo>
                      <a:pt x="945" y="1313"/>
                      <a:pt x="945" y="1313"/>
                      <a:pt x="945" y="1313"/>
                    </a:cubicBezTo>
                    <a:cubicBezTo>
                      <a:pt x="1000" y="1313"/>
                      <a:pt x="1045" y="1224"/>
                      <a:pt x="1045" y="1116"/>
                    </a:cubicBezTo>
                    <a:cubicBezTo>
                      <a:pt x="1045" y="0"/>
                      <a:pt x="1045" y="0"/>
                      <a:pt x="1045" y="0"/>
                    </a:cubicBezTo>
                    <a:lnTo>
                      <a:pt x="0" y="0"/>
                    </a:lnTo>
                    <a:close/>
                    <a:moveTo>
                      <a:pt x="127" y="276"/>
                    </a:moveTo>
                    <a:cubicBezTo>
                      <a:pt x="127" y="282"/>
                      <a:pt x="121" y="287"/>
                      <a:pt x="114" y="287"/>
                    </a:cubicBezTo>
                    <a:cubicBezTo>
                      <a:pt x="106" y="287"/>
                      <a:pt x="100" y="282"/>
                      <a:pt x="100" y="276"/>
                    </a:cubicBezTo>
                    <a:cubicBezTo>
                      <a:pt x="100" y="114"/>
                      <a:pt x="100" y="114"/>
                      <a:pt x="100" y="114"/>
                    </a:cubicBezTo>
                    <a:cubicBezTo>
                      <a:pt x="100" y="108"/>
                      <a:pt x="106" y="103"/>
                      <a:pt x="114" y="103"/>
                    </a:cubicBezTo>
                    <a:cubicBezTo>
                      <a:pt x="121" y="103"/>
                      <a:pt x="127" y="108"/>
                      <a:pt x="127" y="114"/>
                    </a:cubicBezTo>
                    <a:lnTo>
                      <a:pt x="127" y="2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2" tIns="60941" rIns="121882" bIns="609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Light"/>
                  <a:ea typeface="+mn-ea"/>
                  <a:cs typeface="+mn-cs"/>
                </a:endParaRPr>
              </a:p>
            </p:txBody>
          </p:sp>
        </p:grpSp>
      </p:grpSp>
      <p:sp>
        <p:nvSpPr>
          <p:cNvPr id="148" name="Rechteck 38">
            <a:extLst>
              <a:ext uri="{FF2B5EF4-FFF2-40B4-BE49-F238E27FC236}">
                <a16:creationId xmlns:a16="http://schemas.microsoft.com/office/drawing/2014/main" id="{AA40E58A-D5EB-8629-932E-553E9FAF62DF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9964037" y="5165153"/>
            <a:ext cx="1748587" cy="384177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874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Lato"/>
                <a:ea typeface="+mn-ea"/>
                <a:cs typeface="Arial" pitchFamily="34" charset="0"/>
              </a:rPr>
              <a:t>Small Domestic Appliances incl.       Home Comfort</a:t>
            </a:r>
          </a:p>
        </p:txBody>
      </p:sp>
      <p:grpSp>
        <p:nvGrpSpPr>
          <p:cNvPr id="149" name="Gruppieren 2">
            <a:extLst>
              <a:ext uri="{FF2B5EF4-FFF2-40B4-BE49-F238E27FC236}">
                <a16:creationId xmlns:a16="http://schemas.microsoft.com/office/drawing/2014/main" id="{344C931D-917B-1294-F430-1E5E65D7B323}"/>
              </a:ext>
            </a:extLst>
          </p:cNvPr>
          <p:cNvGrpSpPr/>
          <p:nvPr>
            <p:custDataLst>
              <p:tags r:id="rId14"/>
            </p:custDataLst>
          </p:nvPr>
        </p:nvGrpSpPr>
        <p:grpSpPr>
          <a:xfrm>
            <a:off x="10590264" y="4601839"/>
            <a:ext cx="496130" cy="438683"/>
            <a:chOff x="531222" y="5608430"/>
            <a:chExt cx="692218" cy="611999"/>
          </a:xfrm>
          <a:solidFill>
            <a:schemeClr val="bg1">
              <a:lumMod val="65000"/>
            </a:schemeClr>
          </a:solidFill>
        </p:grpSpPr>
        <p:grpSp>
          <p:nvGrpSpPr>
            <p:cNvPr id="150" name="Group 32">
              <a:extLst>
                <a:ext uri="{FF2B5EF4-FFF2-40B4-BE49-F238E27FC236}">
                  <a16:creationId xmlns:a16="http://schemas.microsoft.com/office/drawing/2014/main" id="{662CA0B1-4756-0B54-57E0-C2182790DD9F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 rot="21600000">
              <a:off x="531222" y="5608430"/>
              <a:ext cx="167035" cy="611999"/>
              <a:chOff x="2212" y="-294"/>
              <a:chExt cx="1339" cy="4906"/>
            </a:xfrm>
            <a:grpFill/>
          </p:grpSpPr>
          <p:sp>
            <p:nvSpPr>
              <p:cNvPr id="152" name="Freeform 33">
                <a:extLst>
                  <a:ext uri="{FF2B5EF4-FFF2-40B4-BE49-F238E27FC236}">
                    <a16:creationId xmlns:a16="http://schemas.microsoft.com/office/drawing/2014/main" id="{AA7685F9-C44D-27CA-BFD6-BCB50BDB02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2" y="4220"/>
                <a:ext cx="1339" cy="392"/>
              </a:xfrm>
              <a:custGeom>
                <a:avLst/>
                <a:gdLst>
                  <a:gd name="T0" fmla="*/ 490 w 567"/>
                  <a:gd name="T1" fmla="*/ 66 h 166"/>
                  <a:gd name="T2" fmla="*/ 438 w 567"/>
                  <a:gd name="T3" fmla="*/ 66 h 166"/>
                  <a:gd name="T4" fmla="*/ 438 w 567"/>
                  <a:gd name="T5" fmla="*/ 50 h 166"/>
                  <a:gd name="T6" fmla="*/ 361 w 567"/>
                  <a:gd name="T7" fmla="*/ 0 h 166"/>
                  <a:gd name="T8" fmla="*/ 340 w 567"/>
                  <a:gd name="T9" fmla="*/ 0 h 166"/>
                  <a:gd name="T10" fmla="*/ 303 w 567"/>
                  <a:gd name="T11" fmla="*/ 32 h 166"/>
                  <a:gd name="T12" fmla="*/ 264 w 567"/>
                  <a:gd name="T13" fmla="*/ 32 h 166"/>
                  <a:gd name="T14" fmla="*/ 228 w 567"/>
                  <a:gd name="T15" fmla="*/ 0 h 166"/>
                  <a:gd name="T16" fmla="*/ 206 w 567"/>
                  <a:gd name="T17" fmla="*/ 0 h 166"/>
                  <a:gd name="T18" fmla="*/ 129 w 567"/>
                  <a:gd name="T19" fmla="*/ 50 h 166"/>
                  <a:gd name="T20" fmla="*/ 129 w 567"/>
                  <a:gd name="T21" fmla="*/ 66 h 166"/>
                  <a:gd name="T22" fmla="*/ 77 w 567"/>
                  <a:gd name="T23" fmla="*/ 66 h 166"/>
                  <a:gd name="T24" fmla="*/ 0 w 567"/>
                  <a:gd name="T25" fmla="*/ 116 h 166"/>
                  <a:gd name="T26" fmla="*/ 0 w 567"/>
                  <a:gd name="T27" fmla="*/ 149 h 166"/>
                  <a:gd name="T28" fmla="*/ 26 w 567"/>
                  <a:gd name="T29" fmla="*/ 166 h 166"/>
                  <a:gd name="T30" fmla="*/ 541 w 567"/>
                  <a:gd name="T31" fmla="*/ 166 h 166"/>
                  <a:gd name="T32" fmla="*/ 567 w 567"/>
                  <a:gd name="T33" fmla="*/ 149 h 166"/>
                  <a:gd name="T34" fmla="*/ 567 w 567"/>
                  <a:gd name="T35" fmla="*/ 116 h 166"/>
                  <a:gd name="T36" fmla="*/ 490 w 567"/>
                  <a:gd name="T37" fmla="*/ 66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67" h="166">
                    <a:moveTo>
                      <a:pt x="490" y="66"/>
                    </a:moveTo>
                    <a:cubicBezTo>
                      <a:pt x="438" y="66"/>
                      <a:pt x="438" y="66"/>
                      <a:pt x="438" y="66"/>
                    </a:cubicBezTo>
                    <a:cubicBezTo>
                      <a:pt x="438" y="50"/>
                      <a:pt x="438" y="50"/>
                      <a:pt x="438" y="50"/>
                    </a:cubicBezTo>
                    <a:cubicBezTo>
                      <a:pt x="438" y="22"/>
                      <a:pt x="403" y="0"/>
                      <a:pt x="361" y="0"/>
                    </a:cubicBezTo>
                    <a:cubicBezTo>
                      <a:pt x="340" y="0"/>
                      <a:pt x="340" y="0"/>
                      <a:pt x="340" y="0"/>
                    </a:cubicBezTo>
                    <a:cubicBezTo>
                      <a:pt x="337" y="18"/>
                      <a:pt x="322" y="32"/>
                      <a:pt x="303" y="32"/>
                    </a:cubicBezTo>
                    <a:cubicBezTo>
                      <a:pt x="264" y="32"/>
                      <a:pt x="264" y="32"/>
                      <a:pt x="264" y="32"/>
                    </a:cubicBezTo>
                    <a:cubicBezTo>
                      <a:pt x="245" y="32"/>
                      <a:pt x="230" y="18"/>
                      <a:pt x="228" y="0"/>
                    </a:cubicBezTo>
                    <a:cubicBezTo>
                      <a:pt x="206" y="0"/>
                      <a:pt x="206" y="0"/>
                      <a:pt x="206" y="0"/>
                    </a:cubicBezTo>
                    <a:cubicBezTo>
                      <a:pt x="164" y="0"/>
                      <a:pt x="129" y="22"/>
                      <a:pt x="129" y="50"/>
                    </a:cubicBezTo>
                    <a:cubicBezTo>
                      <a:pt x="129" y="66"/>
                      <a:pt x="129" y="66"/>
                      <a:pt x="129" y="66"/>
                    </a:cubicBezTo>
                    <a:cubicBezTo>
                      <a:pt x="77" y="66"/>
                      <a:pt x="77" y="66"/>
                      <a:pt x="77" y="66"/>
                    </a:cubicBezTo>
                    <a:cubicBezTo>
                      <a:pt x="35" y="66"/>
                      <a:pt x="0" y="89"/>
                      <a:pt x="0" y="116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0" y="159"/>
                      <a:pt x="12" y="166"/>
                      <a:pt x="26" y="166"/>
                    </a:cubicBezTo>
                    <a:cubicBezTo>
                      <a:pt x="541" y="166"/>
                      <a:pt x="541" y="166"/>
                      <a:pt x="541" y="166"/>
                    </a:cubicBezTo>
                    <a:cubicBezTo>
                      <a:pt x="555" y="166"/>
                      <a:pt x="567" y="159"/>
                      <a:pt x="567" y="149"/>
                    </a:cubicBezTo>
                    <a:cubicBezTo>
                      <a:pt x="567" y="116"/>
                      <a:pt x="567" y="116"/>
                      <a:pt x="567" y="116"/>
                    </a:cubicBezTo>
                    <a:cubicBezTo>
                      <a:pt x="567" y="89"/>
                      <a:pt x="532" y="66"/>
                      <a:pt x="490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2" tIns="60941" rIns="121882" bIns="609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Light"/>
                  <a:ea typeface="+mn-ea"/>
                  <a:cs typeface="+mn-cs"/>
                </a:endParaRPr>
              </a:p>
            </p:txBody>
          </p:sp>
          <p:sp>
            <p:nvSpPr>
              <p:cNvPr id="153" name="Freeform 34">
                <a:extLst>
                  <a:ext uri="{FF2B5EF4-FFF2-40B4-BE49-F238E27FC236}">
                    <a16:creationId xmlns:a16="http://schemas.microsoft.com/office/drawing/2014/main" id="{A465CA54-742B-599C-7B44-8CB82FC413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6" y="3804"/>
                <a:ext cx="172" cy="444"/>
              </a:xfrm>
              <a:custGeom>
                <a:avLst/>
                <a:gdLst>
                  <a:gd name="T0" fmla="*/ 17 w 73"/>
                  <a:gd name="T1" fmla="*/ 188 h 188"/>
                  <a:gd name="T2" fmla="*/ 56 w 73"/>
                  <a:gd name="T3" fmla="*/ 188 h 188"/>
                  <a:gd name="T4" fmla="*/ 73 w 73"/>
                  <a:gd name="T5" fmla="*/ 172 h 188"/>
                  <a:gd name="T6" fmla="*/ 73 w 73"/>
                  <a:gd name="T7" fmla="*/ 0 h 188"/>
                  <a:gd name="T8" fmla="*/ 0 w 73"/>
                  <a:gd name="T9" fmla="*/ 0 h 188"/>
                  <a:gd name="T10" fmla="*/ 0 w 73"/>
                  <a:gd name="T11" fmla="*/ 172 h 188"/>
                  <a:gd name="T12" fmla="*/ 17 w 73"/>
                  <a:gd name="T1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" h="188">
                    <a:moveTo>
                      <a:pt x="17" y="188"/>
                    </a:moveTo>
                    <a:cubicBezTo>
                      <a:pt x="56" y="188"/>
                      <a:pt x="56" y="188"/>
                      <a:pt x="56" y="188"/>
                    </a:cubicBezTo>
                    <a:cubicBezTo>
                      <a:pt x="65" y="188"/>
                      <a:pt x="73" y="181"/>
                      <a:pt x="73" y="172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72"/>
                      <a:pt x="0" y="172"/>
                      <a:pt x="0" y="172"/>
                    </a:cubicBezTo>
                    <a:cubicBezTo>
                      <a:pt x="0" y="181"/>
                      <a:pt x="8" y="188"/>
                      <a:pt x="17" y="1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2" tIns="60941" rIns="121882" bIns="609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Light"/>
                  <a:ea typeface="+mn-ea"/>
                  <a:cs typeface="+mn-cs"/>
                </a:endParaRPr>
              </a:p>
            </p:txBody>
          </p:sp>
          <p:sp>
            <p:nvSpPr>
              <p:cNvPr id="154" name="Freeform 35">
                <a:extLst>
                  <a:ext uri="{FF2B5EF4-FFF2-40B4-BE49-F238E27FC236}">
                    <a16:creationId xmlns:a16="http://schemas.microsoft.com/office/drawing/2014/main" id="{51D46648-B20F-101E-8C4C-AD35D59CCA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0" y="1295"/>
                <a:ext cx="843" cy="2041"/>
              </a:xfrm>
              <a:custGeom>
                <a:avLst/>
                <a:gdLst>
                  <a:gd name="T0" fmla="*/ 49 w 357"/>
                  <a:gd name="T1" fmla="*/ 864 h 864"/>
                  <a:gd name="T2" fmla="*/ 67 w 357"/>
                  <a:gd name="T3" fmla="*/ 864 h 864"/>
                  <a:gd name="T4" fmla="*/ 67 w 357"/>
                  <a:gd name="T5" fmla="*/ 286 h 864"/>
                  <a:gd name="T6" fmla="*/ 128 w 357"/>
                  <a:gd name="T7" fmla="*/ 217 h 864"/>
                  <a:gd name="T8" fmla="*/ 229 w 357"/>
                  <a:gd name="T9" fmla="*/ 217 h 864"/>
                  <a:gd name="T10" fmla="*/ 290 w 357"/>
                  <a:gd name="T11" fmla="*/ 286 h 864"/>
                  <a:gd name="T12" fmla="*/ 290 w 357"/>
                  <a:gd name="T13" fmla="*/ 864 h 864"/>
                  <a:gd name="T14" fmla="*/ 308 w 357"/>
                  <a:gd name="T15" fmla="*/ 864 h 864"/>
                  <a:gd name="T16" fmla="*/ 357 w 357"/>
                  <a:gd name="T17" fmla="*/ 815 h 864"/>
                  <a:gd name="T18" fmla="*/ 357 w 357"/>
                  <a:gd name="T19" fmla="*/ 113 h 864"/>
                  <a:gd name="T20" fmla="*/ 308 w 357"/>
                  <a:gd name="T21" fmla="*/ 65 h 864"/>
                  <a:gd name="T22" fmla="*/ 283 w 357"/>
                  <a:gd name="T23" fmla="*/ 65 h 864"/>
                  <a:gd name="T24" fmla="*/ 283 w 357"/>
                  <a:gd name="T25" fmla="*/ 37 h 864"/>
                  <a:gd name="T26" fmla="*/ 236 w 357"/>
                  <a:gd name="T27" fmla="*/ 0 h 864"/>
                  <a:gd name="T28" fmla="*/ 121 w 357"/>
                  <a:gd name="T29" fmla="*/ 0 h 864"/>
                  <a:gd name="T30" fmla="*/ 74 w 357"/>
                  <a:gd name="T31" fmla="*/ 37 h 864"/>
                  <a:gd name="T32" fmla="*/ 74 w 357"/>
                  <a:gd name="T33" fmla="*/ 65 h 864"/>
                  <a:gd name="T34" fmla="*/ 49 w 357"/>
                  <a:gd name="T35" fmla="*/ 65 h 864"/>
                  <a:gd name="T36" fmla="*/ 0 w 357"/>
                  <a:gd name="T37" fmla="*/ 113 h 864"/>
                  <a:gd name="T38" fmla="*/ 0 w 357"/>
                  <a:gd name="T39" fmla="*/ 815 h 864"/>
                  <a:gd name="T40" fmla="*/ 49 w 357"/>
                  <a:gd name="T41" fmla="*/ 864 h 8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57" h="864">
                    <a:moveTo>
                      <a:pt x="49" y="864"/>
                    </a:moveTo>
                    <a:cubicBezTo>
                      <a:pt x="67" y="864"/>
                      <a:pt x="67" y="864"/>
                      <a:pt x="67" y="864"/>
                    </a:cubicBezTo>
                    <a:cubicBezTo>
                      <a:pt x="67" y="286"/>
                      <a:pt x="67" y="286"/>
                      <a:pt x="67" y="286"/>
                    </a:cubicBezTo>
                    <a:cubicBezTo>
                      <a:pt x="67" y="248"/>
                      <a:pt x="94" y="217"/>
                      <a:pt x="128" y="217"/>
                    </a:cubicBezTo>
                    <a:cubicBezTo>
                      <a:pt x="229" y="217"/>
                      <a:pt x="229" y="217"/>
                      <a:pt x="229" y="217"/>
                    </a:cubicBezTo>
                    <a:cubicBezTo>
                      <a:pt x="263" y="217"/>
                      <a:pt x="290" y="248"/>
                      <a:pt x="290" y="286"/>
                    </a:cubicBezTo>
                    <a:cubicBezTo>
                      <a:pt x="290" y="864"/>
                      <a:pt x="290" y="864"/>
                      <a:pt x="290" y="864"/>
                    </a:cubicBezTo>
                    <a:cubicBezTo>
                      <a:pt x="308" y="864"/>
                      <a:pt x="308" y="864"/>
                      <a:pt x="308" y="864"/>
                    </a:cubicBezTo>
                    <a:cubicBezTo>
                      <a:pt x="335" y="864"/>
                      <a:pt x="357" y="842"/>
                      <a:pt x="357" y="815"/>
                    </a:cubicBezTo>
                    <a:cubicBezTo>
                      <a:pt x="357" y="113"/>
                      <a:pt x="357" y="113"/>
                      <a:pt x="357" y="113"/>
                    </a:cubicBezTo>
                    <a:cubicBezTo>
                      <a:pt x="357" y="86"/>
                      <a:pt x="335" y="65"/>
                      <a:pt x="308" y="65"/>
                    </a:cubicBezTo>
                    <a:cubicBezTo>
                      <a:pt x="283" y="65"/>
                      <a:pt x="283" y="65"/>
                      <a:pt x="283" y="65"/>
                    </a:cubicBezTo>
                    <a:cubicBezTo>
                      <a:pt x="283" y="37"/>
                      <a:pt x="283" y="37"/>
                      <a:pt x="283" y="37"/>
                    </a:cubicBezTo>
                    <a:cubicBezTo>
                      <a:pt x="283" y="16"/>
                      <a:pt x="262" y="0"/>
                      <a:pt x="236" y="0"/>
                    </a:cubicBezTo>
                    <a:cubicBezTo>
                      <a:pt x="121" y="0"/>
                      <a:pt x="121" y="0"/>
                      <a:pt x="121" y="0"/>
                    </a:cubicBezTo>
                    <a:cubicBezTo>
                      <a:pt x="95" y="0"/>
                      <a:pt x="74" y="16"/>
                      <a:pt x="74" y="37"/>
                    </a:cubicBezTo>
                    <a:cubicBezTo>
                      <a:pt x="74" y="65"/>
                      <a:pt x="74" y="65"/>
                      <a:pt x="74" y="65"/>
                    </a:cubicBezTo>
                    <a:cubicBezTo>
                      <a:pt x="49" y="65"/>
                      <a:pt x="49" y="65"/>
                      <a:pt x="49" y="65"/>
                    </a:cubicBezTo>
                    <a:cubicBezTo>
                      <a:pt x="22" y="65"/>
                      <a:pt x="0" y="86"/>
                      <a:pt x="0" y="113"/>
                    </a:cubicBezTo>
                    <a:cubicBezTo>
                      <a:pt x="0" y="815"/>
                      <a:pt x="0" y="815"/>
                      <a:pt x="0" y="815"/>
                    </a:cubicBezTo>
                    <a:cubicBezTo>
                      <a:pt x="0" y="842"/>
                      <a:pt x="22" y="864"/>
                      <a:pt x="49" y="86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2" tIns="60941" rIns="121882" bIns="609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Light"/>
                  <a:ea typeface="+mn-ea"/>
                  <a:cs typeface="+mn-cs"/>
                </a:endParaRPr>
              </a:p>
            </p:txBody>
          </p:sp>
          <p:sp>
            <p:nvSpPr>
              <p:cNvPr id="155" name="Freeform 36">
                <a:extLst>
                  <a:ext uri="{FF2B5EF4-FFF2-40B4-BE49-F238E27FC236}">
                    <a16:creationId xmlns:a16="http://schemas.microsoft.com/office/drawing/2014/main" id="{CBC09D7A-AA93-BB58-595B-774D09F2B4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7" y="-294"/>
                <a:ext cx="290" cy="1542"/>
              </a:xfrm>
              <a:custGeom>
                <a:avLst/>
                <a:gdLst>
                  <a:gd name="T0" fmla="*/ 6 w 123"/>
                  <a:gd name="T1" fmla="*/ 84 h 653"/>
                  <a:gd name="T2" fmla="*/ 25 w 123"/>
                  <a:gd name="T3" fmla="*/ 198 h 653"/>
                  <a:gd name="T4" fmla="*/ 25 w 123"/>
                  <a:gd name="T5" fmla="*/ 653 h 653"/>
                  <a:gd name="T6" fmla="*/ 98 w 123"/>
                  <a:gd name="T7" fmla="*/ 653 h 653"/>
                  <a:gd name="T8" fmla="*/ 98 w 123"/>
                  <a:gd name="T9" fmla="*/ 198 h 653"/>
                  <a:gd name="T10" fmla="*/ 117 w 123"/>
                  <a:gd name="T11" fmla="*/ 84 h 653"/>
                  <a:gd name="T12" fmla="*/ 122 w 123"/>
                  <a:gd name="T13" fmla="*/ 57 h 653"/>
                  <a:gd name="T14" fmla="*/ 123 w 123"/>
                  <a:gd name="T15" fmla="*/ 38 h 653"/>
                  <a:gd name="T16" fmla="*/ 112 w 123"/>
                  <a:gd name="T17" fmla="*/ 0 h 653"/>
                  <a:gd name="T18" fmla="*/ 11 w 123"/>
                  <a:gd name="T19" fmla="*/ 0 h 653"/>
                  <a:gd name="T20" fmla="*/ 0 w 123"/>
                  <a:gd name="T21" fmla="*/ 38 h 653"/>
                  <a:gd name="T22" fmla="*/ 1 w 123"/>
                  <a:gd name="T23" fmla="*/ 57 h 653"/>
                  <a:gd name="T24" fmla="*/ 6 w 123"/>
                  <a:gd name="T25" fmla="*/ 84 h 6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3" h="653">
                    <a:moveTo>
                      <a:pt x="6" y="84"/>
                    </a:moveTo>
                    <a:cubicBezTo>
                      <a:pt x="25" y="198"/>
                      <a:pt x="25" y="198"/>
                      <a:pt x="25" y="198"/>
                    </a:cubicBezTo>
                    <a:cubicBezTo>
                      <a:pt x="25" y="653"/>
                      <a:pt x="25" y="653"/>
                      <a:pt x="25" y="653"/>
                    </a:cubicBezTo>
                    <a:cubicBezTo>
                      <a:pt x="98" y="653"/>
                      <a:pt x="98" y="653"/>
                      <a:pt x="98" y="653"/>
                    </a:cubicBezTo>
                    <a:cubicBezTo>
                      <a:pt x="98" y="198"/>
                      <a:pt x="98" y="198"/>
                      <a:pt x="98" y="198"/>
                    </a:cubicBezTo>
                    <a:cubicBezTo>
                      <a:pt x="117" y="84"/>
                      <a:pt x="117" y="84"/>
                      <a:pt x="117" y="84"/>
                    </a:cubicBezTo>
                    <a:cubicBezTo>
                      <a:pt x="122" y="57"/>
                      <a:pt x="122" y="57"/>
                      <a:pt x="122" y="57"/>
                    </a:cubicBezTo>
                    <a:cubicBezTo>
                      <a:pt x="123" y="51"/>
                      <a:pt x="123" y="44"/>
                      <a:pt x="123" y="38"/>
                    </a:cubicBezTo>
                    <a:cubicBezTo>
                      <a:pt x="123" y="17"/>
                      <a:pt x="118" y="0"/>
                      <a:pt x="112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17"/>
                      <a:pt x="0" y="38"/>
                    </a:cubicBezTo>
                    <a:cubicBezTo>
                      <a:pt x="0" y="45"/>
                      <a:pt x="0" y="51"/>
                      <a:pt x="1" y="57"/>
                    </a:cubicBezTo>
                    <a:lnTo>
                      <a:pt x="6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2" tIns="60941" rIns="121882" bIns="609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Light"/>
                  <a:ea typeface="+mn-ea"/>
                  <a:cs typeface="+mn-cs"/>
                </a:endParaRPr>
              </a:p>
            </p:txBody>
          </p:sp>
          <p:sp>
            <p:nvSpPr>
              <p:cNvPr id="156" name="Freeform 37">
                <a:extLst>
                  <a:ext uri="{FF2B5EF4-FFF2-40B4-BE49-F238E27FC236}">
                    <a16:creationId xmlns:a16="http://schemas.microsoft.com/office/drawing/2014/main" id="{0AFB2465-81AC-D8A9-7A11-E1E5048176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66" y="1855"/>
                <a:ext cx="432" cy="1902"/>
              </a:xfrm>
              <a:custGeom>
                <a:avLst/>
                <a:gdLst>
                  <a:gd name="T0" fmla="*/ 183 w 183"/>
                  <a:gd name="T1" fmla="*/ 756 h 805"/>
                  <a:gd name="T2" fmla="*/ 183 w 183"/>
                  <a:gd name="T3" fmla="*/ 49 h 805"/>
                  <a:gd name="T4" fmla="*/ 142 w 183"/>
                  <a:gd name="T5" fmla="*/ 0 h 805"/>
                  <a:gd name="T6" fmla="*/ 41 w 183"/>
                  <a:gd name="T7" fmla="*/ 0 h 805"/>
                  <a:gd name="T8" fmla="*/ 0 w 183"/>
                  <a:gd name="T9" fmla="*/ 49 h 805"/>
                  <a:gd name="T10" fmla="*/ 0 w 183"/>
                  <a:gd name="T11" fmla="*/ 756 h 805"/>
                  <a:gd name="T12" fmla="*/ 41 w 183"/>
                  <a:gd name="T13" fmla="*/ 805 h 805"/>
                  <a:gd name="T14" fmla="*/ 142 w 183"/>
                  <a:gd name="T15" fmla="*/ 805 h 805"/>
                  <a:gd name="T16" fmla="*/ 183 w 183"/>
                  <a:gd name="T17" fmla="*/ 756 h 805"/>
                  <a:gd name="T18" fmla="*/ 92 w 183"/>
                  <a:gd name="T19" fmla="*/ 279 h 805"/>
                  <a:gd name="T20" fmla="*/ 45 w 183"/>
                  <a:gd name="T21" fmla="*/ 232 h 805"/>
                  <a:gd name="T22" fmla="*/ 92 w 183"/>
                  <a:gd name="T23" fmla="*/ 186 h 805"/>
                  <a:gd name="T24" fmla="*/ 138 w 183"/>
                  <a:gd name="T25" fmla="*/ 232 h 805"/>
                  <a:gd name="T26" fmla="*/ 92 w 183"/>
                  <a:gd name="T27" fmla="*/ 279 h 8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3" h="805">
                    <a:moveTo>
                      <a:pt x="183" y="756"/>
                    </a:moveTo>
                    <a:cubicBezTo>
                      <a:pt x="183" y="49"/>
                      <a:pt x="183" y="49"/>
                      <a:pt x="183" y="49"/>
                    </a:cubicBezTo>
                    <a:cubicBezTo>
                      <a:pt x="183" y="22"/>
                      <a:pt x="165" y="0"/>
                      <a:pt x="142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18" y="0"/>
                      <a:pt x="0" y="22"/>
                      <a:pt x="0" y="49"/>
                    </a:cubicBezTo>
                    <a:cubicBezTo>
                      <a:pt x="0" y="756"/>
                      <a:pt x="0" y="756"/>
                      <a:pt x="0" y="756"/>
                    </a:cubicBezTo>
                    <a:cubicBezTo>
                      <a:pt x="0" y="783"/>
                      <a:pt x="18" y="805"/>
                      <a:pt x="41" y="805"/>
                    </a:cubicBezTo>
                    <a:cubicBezTo>
                      <a:pt x="142" y="805"/>
                      <a:pt x="142" y="805"/>
                      <a:pt x="142" y="805"/>
                    </a:cubicBezTo>
                    <a:cubicBezTo>
                      <a:pt x="165" y="805"/>
                      <a:pt x="183" y="783"/>
                      <a:pt x="183" y="756"/>
                    </a:cubicBezTo>
                    <a:close/>
                    <a:moveTo>
                      <a:pt x="92" y="279"/>
                    </a:moveTo>
                    <a:cubicBezTo>
                      <a:pt x="66" y="279"/>
                      <a:pt x="45" y="258"/>
                      <a:pt x="45" y="232"/>
                    </a:cubicBezTo>
                    <a:cubicBezTo>
                      <a:pt x="45" y="207"/>
                      <a:pt x="66" y="186"/>
                      <a:pt x="92" y="186"/>
                    </a:cubicBezTo>
                    <a:cubicBezTo>
                      <a:pt x="117" y="186"/>
                      <a:pt x="138" y="207"/>
                      <a:pt x="138" y="232"/>
                    </a:cubicBezTo>
                    <a:cubicBezTo>
                      <a:pt x="138" y="258"/>
                      <a:pt x="117" y="279"/>
                      <a:pt x="92" y="27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2" tIns="60941" rIns="121882" bIns="609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Light"/>
                  <a:ea typeface="+mn-ea"/>
                  <a:cs typeface="+mn-cs"/>
                </a:endParaRPr>
              </a:p>
            </p:txBody>
          </p:sp>
          <p:sp>
            <p:nvSpPr>
              <p:cNvPr id="157" name="Oval 38">
                <a:extLst>
                  <a:ext uri="{FF2B5EF4-FFF2-40B4-BE49-F238E27FC236}">
                    <a16:creationId xmlns:a16="http://schemas.microsoft.com/office/drawing/2014/main" id="{A7841122-33F1-DBBC-439F-F46A2EDB14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6" y="2356"/>
                <a:ext cx="92" cy="9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2" tIns="60941" rIns="121882" bIns="609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Light"/>
                  <a:ea typeface="+mn-ea"/>
                  <a:cs typeface="+mn-cs"/>
                </a:endParaRPr>
              </a:p>
            </p:txBody>
          </p:sp>
        </p:grpSp>
        <p:sp>
          <p:nvSpPr>
            <p:cNvPr id="151" name="Freeform 91">
              <a:extLst>
                <a:ext uri="{FF2B5EF4-FFF2-40B4-BE49-F238E27FC236}">
                  <a16:creationId xmlns:a16="http://schemas.microsoft.com/office/drawing/2014/main" id="{514E2920-5DB8-FAC7-7EEB-7A501CBBF499}"/>
                </a:ext>
              </a:extLst>
            </p:cNvPr>
            <p:cNvSpPr>
              <a:spLocks noChangeAspect="1" noEditPoints="1"/>
            </p:cNvSpPr>
            <p:nvPr>
              <p:custDataLst>
                <p:tags r:id="rId20"/>
              </p:custDataLst>
            </p:nvPr>
          </p:nvSpPr>
          <p:spPr bwMode="auto">
            <a:xfrm>
              <a:off x="740741" y="5634555"/>
              <a:ext cx="482699" cy="570599"/>
            </a:xfrm>
            <a:custGeom>
              <a:avLst/>
              <a:gdLst>
                <a:gd name="T0" fmla="*/ 400 w 1760"/>
                <a:gd name="T1" fmla="*/ 0 h 2080"/>
                <a:gd name="T2" fmla="*/ 1520 w 1760"/>
                <a:gd name="T3" fmla="*/ 0 h 2080"/>
                <a:gd name="T4" fmla="*/ 1760 w 1760"/>
                <a:gd name="T5" fmla="*/ 240 h 2080"/>
                <a:gd name="T6" fmla="*/ 1760 w 1760"/>
                <a:gd name="T7" fmla="*/ 2080 h 2080"/>
                <a:gd name="T8" fmla="*/ 160 w 1760"/>
                <a:gd name="T9" fmla="*/ 2080 h 2080"/>
                <a:gd name="T10" fmla="*/ 160 w 1760"/>
                <a:gd name="T11" fmla="*/ 2000 h 2080"/>
                <a:gd name="T12" fmla="*/ 400 w 1760"/>
                <a:gd name="T13" fmla="*/ 1760 h 2080"/>
                <a:gd name="T14" fmla="*/ 1240 w 1760"/>
                <a:gd name="T15" fmla="*/ 1760 h 2080"/>
                <a:gd name="T16" fmla="*/ 1280 w 1760"/>
                <a:gd name="T17" fmla="*/ 1720 h 2080"/>
                <a:gd name="T18" fmla="*/ 1280 w 1760"/>
                <a:gd name="T19" fmla="*/ 680 h 2080"/>
                <a:gd name="T20" fmla="*/ 1240 w 1760"/>
                <a:gd name="T21" fmla="*/ 640 h 2080"/>
                <a:gd name="T22" fmla="*/ 400 w 1760"/>
                <a:gd name="T23" fmla="*/ 640 h 2080"/>
                <a:gd name="T24" fmla="*/ 160 w 1760"/>
                <a:gd name="T25" fmla="*/ 400 h 2080"/>
                <a:gd name="T26" fmla="*/ 160 w 1760"/>
                <a:gd name="T27" fmla="*/ 240 h 2080"/>
                <a:gd name="T28" fmla="*/ 400 w 1760"/>
                <a:gd name="T29" fmla="*/ 0 h 2080"/>
                <a:gd name="T30" fmla="*/ 1200 w 1760"/>
                <a:gd name="T31" fmla="*/ 1168 h 2080"/>
                <a:gd name="T32" fmla="*/ 1000 w 1760"/>
                <a:gd name="T33" fmla="*/ 1623 h 2080"/>
                <a:gd name="T34" fmla="*/ 1000 w 1760"/>
                <a:gd name="T35" fmla="*/ 1680 h 2080"/>
                <a:gd name="T36" fmla="*/ 480 w 1760"/>
                <a:gd name="T37" fmla="*/ 1680 h 2080"/>
                <a:gd name="T38" fmla="*/ 480 w 1760"/>
                <a:gd name="T39" fmla="*/ 1624 h 2080"/>
                <a:gd name="T40" fmla="*/ 312 w 1760"/>
                <a:gd name="T41" fmla="*/ 1464 h 2080"/>
                <a:gd name="T42" fmla="*/ 168 w 1760"/>
                <a:gd name="T43" fmla="*/ 1444 h 2080"/>
                <a:gd name="T44" fmla="*/ 0 w 1760"/>
                <a:gd name="T45" fmla="*/ 1260 h 2080"/>
                <a:gd name="T46" fmla="*/ 180 w 1760"/>
                <a:gd name="T47" fmla="*/ 1080 h 2080"/>
                <a:gd name="T48" fmla="*/ 240 w 1760"/>
                <a:gd name="T49" fmla="*/ 1080 h 2080"/>
                <a:gd name="T50" fmla="*/ 240 w 1760"/>
                <a:gd name="T51" fmla="*/ 960 h 2080"/>
                <a:gd name="T52" fmla="*/ 1200 w 1760"/>
                <a:gd name="T53" fmla="*/ 960 h 2080"/>
                <a:gd name="T54" fmla="*/ 1200 w 1760"/>
                <a:gd name="T55" fmla="*/ 1168 h 2080"/>
                <a:gd name="T56" fmla="*/ 1120 w 1760"/>
                <a:gd name="T57" fmla="*/ 1168 h 2080"/>
                <a:gd name="T58" fmla="*/ 1120 w 1760"/>
                <a:gd name="T59" fmla="*/ 1040 h 2080"/>
                <a:gd name="T60" fmla="*/ 320 w 1760"/>
                <a:gd name="T61" fmla="*/ 1040 h 2080"/>
                <a:gd name="T62" fmla="*/ 320 w 1760"/>
                <a:gd name="T63" fmla="*/ 1160 h 2080"/>
                <a:gd name="T64" fmla="*/ 180 w 1760"/>
                <a:gd name="T65" fmla="*/ 1160 h 2080"/>
                <a:gd name="T66" fmla="*/ 80 w 1760"/>
                <a:gd name="T67" fmla="*/ 1260 h 2080"/>
                <a:gd name="T68" fmla="*/ 173 w 1760"/>
                <a:gd name="T69" fmla="*/ 1364 h 2080"/>
                <a:gd name="T70" fmla="*/ 352 w 1760"/>
                <a:gd name="T71" fmla="*/ 1392 h 2080"/>
                <a:gd name="T72" fmla="*/ 368 w 1760"/>
                <a:gd name="T73" fmla="*/ 1398 h 2080"/>
                <a:gd name="T74" fmla="*/ 538 w 1760"/>
                <a:gd name="T75" fmla="*/ 1564 h 2080"/>
                <a:gd name="T76" fmla="*/ 560 w 1760"/>
                <a:gd name="T77" fmla="*/ 1576 h 2080"/>
                <a:gd name="T78" fmla="*/ 560 w 1760"/>
                <a:gd name="T79" fmla="*/ 1600 h 2080"/>
                <a:gd name="T80" fmla="*/ 920 w 1760"/>
                <a:gd name="T81" fmla="*/ 1600 h 2080"/>
                <a:gd name="T82" fmla="*/ 920 w 1760"/>
                <a:gd name="T83" fmla="*/ 1576 h 2080"/>
                <a:gd name="T84" fmla="*/ 942 w 1760"/>
                <a:gd name="T85" fmla="*/ 1564 h 2080"/>
                <a:gd name="T86" fmla="*/ 1120 w 1760"/>
                <a:gd name="T87" fmla="*/ 1168 h 2080"/>
                <a:gd name="T88" fmla="*/ 1040 w 1760"/>
                <a:gd name="T89" fmla="*/ 680 h 2080"/>
                <a:gd name="T90" fmla="*/ 1040 w 1760"/>
                <a:gd name="T91" fmla="*/ 692 h 2080"/>
                <a:gd name="T92" fmla="*/ 940 w 1760"/>
                <a:gd name="T93" fmla="*/ 810 h 2080"/>
                <a:gd name="T94" fmla="*/ 800 w 1760"/>
                <a:gd name="T95" fmla="*/ 834 h 2080"/>
                <a:gd name="T96" fmla="*/ 800 w 1760"/>
                <a:gd name="T97" fmla="*/ 880 h 2080"/>
                <a:gd name="T98" fmla="*/ 640 w 1760"/>
                <a:gd name="T99" fmla="*/ 880 h 2080"/>
                <a:gd name="T100" fmla="*/ 640 w 1760"/>
                <a:gd name="T101" fmla="*/ 834 h 2080"/>
                <a:gd name="T102" fmla="*/ 500 w 1760"/>
                <a:gd name="T103" fmla="*/ 810 h 2080"/>
                <a:gd name="T104" fmla="*/ 400 w 1760"/>
                <a:gd name="T105" fmla="*/ 692 h 2080"/>
                <a:gd name="T106" fmla="*/ 400 w 1760"/>
                <a:gd name="T107" fmla="*/ 680 h 2080"/>
                <a:gd name="T108" fmla="*/ 1040 w 1760"/>
                <a:gd name="T109" fmla="*/ 680 h 2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60" h="2080">
                  <a:moveTo>
                    <a:pt x="400" y="0"/>
                  </a:moveTo>
                  <a:cubicBezTo>
                    <a:pt x="1520" y="0"/>
                    <a:pt x="1520" y="0"/>
                    <a:pt x="1520" y="0"/>
                  </a:cubicBezTo>
                  <a:cubicBezTo>
                    <a:pt x="1652" y="0"/>
                    <a:pt x="1760" y="108"/>
                    <a:pt x="1760" y="240"/>
                  </a:cubicBezTo>
                  <a:cubicBezTo>
                    <a:pt x="1760" y="2080"/>
                    <a:pt x="1760" y="2080"/>
                    <a:pt x="1760" y="2080"/>
                  </a:cubicBezTo>
                  <a:cubicBezTo>
                    <a:pt x="160" y="2080"/>
                    <a:pt x="160" y="2080"/>
                    <a:pt x="160" y="2080"/>
                  </a:cubicBezTo>
                  <a:cubicBezTo>
                    <a:pt x="160" y="2000"/>
                    <a:pt x="160" y="2000"/>
                    <a:pt x="160" y="2000"/>
                  </a:cubicBezTo>
                  <a:cubicBezTo>
                    <a:pt x="160" y="1868"/>
                    <a:pt x="268" y="1760"/>
                    <a:pt x="400" y="1760"/>
                  </a:cubicBezTo>
                  <a:cubicBezTo>
                    <a:pt x="1240" y="1760"/>
                    <a:pt x="1240" y="1760"/>
                    <a:pt x="1240" y="1760"/>
                  </a:cubicBezTo>
                  <a:cubicBezTo>
                    <a:pt x="1262" y="1760"/>
                    <a:pt x="1280" y="1742"/>
                    <a:pt x="1280" y="1720"/>
                  </a:cubicBezTo>
                  <a:cubicBezTo>
                    <a:pt x="1280" y="680"/>
                    <a:pt x="1280" y="680"/>
                    <a:pt x="1280" y="680"/>
                  </a:cubicBezTo>
                  <a:cubicBezTo>
                    <a:pt x="1280" y="658"/>
                    <a:pt x="1262" y="640"/>
                    <a:pt x="1240" y="640"/>
                  </a:cubicBezTo>
                  <a:cubicBezTo>
                    <a:pt x="400" y="640"/>
                    <a:pt x="400" y="640"/>
                    <a:pt x="400" y="640"/>
                  </a:cubicBezTo>
                  <a:cubicBezTo>
                    <a:pt x="268" y="640"/>
                    <a:pt x="160" y="532"/>
                    <a:pt x="160" y="400"/>
                  </a:cubicBezTo>
                  <a:cubicBezTo>
                    <a:pt x="160" y="240"/>
                    <a:pt x="160" y="240"/>
                    <a:pt x="160" y="240"/>
                  </a:cubicBezTo>
                  <a:cubicBezTo>
                    <a:pt x="160" y="108"/>
                    <a:pt x="268" y="0"/>
                    <a:pt x="400" y="0"/>
                  </a:cubicBezTo>
                  <a:close/>
                  <a:moveTo>
                    <a:pt x="1200" y="1168"/>
                  </a:moveTo>
                  <a:cubicBezTo>
                    <a:pt x="1200" y="1334"/>
                    <a:pt x="1149" y="1529"/>
                    <a:pt x="1000" y="1623"/>
                  </a:cubicBezTo>
                  <a:cubicBezTo>
                    <a:pt x="1000" y="1680"/>
                    <a:pt x="1000" y="1680"/>
                    <a:pt x="1000" y="1680"/>
                  </a:cubicBezTo>
                  <a:cubicBezTo>
                    <a:pt x="480" y="1680"/>
                    <a:pt x="480" y="1680"/>
                    <a:pt x="480" y="1680"/>
                  </a:cubicBezTo>
                  <a:cubicBezTo>
                    <a:pt x="480" y="1624"/>
                    <a:pt x="480" y="1624"/>
                    <a:pt x="480" y="1624"/>
                  </a:cubicBezTo>
                  <a:cubicBezTo>
                    <a:pt x="414" y="1586"/>
                    <a:pt x="350" y="1530"/>
                    <a:pt x="312" y="1464"/>
                  </a:cubicBezTo>
                  <a:cubicBezTo>
                    <a:pt x="267" y="1452"/>
                    <a:pt x="214" y="1447"/>
                    <a:pt x="168" y="1444"/>
                  </a:cubicBezTo>
                  <a:cubicBezTo>
                    <a:pt x="70" y="1438"/>
                    <a:pt x="0" y="1357"/>
                    <a:pt x="0" y="1260"/>
                  </a:cubicBezTo>
                  <a:cubicBezTo>
                    <a:pt x="0" y="1161"/>
                    <a:pt x="81" y="1080"/>
                    <a:pt x="180" y="1080"/>
                  </a:cubicBezTo>
                  <a:cubicBezTo>
                    <a:pt x="240" y="1080"/>
                    <a:pt x="240" y="1080"/>
                    <a:pt x="240" y="1080"/>
                  </a:cubicBezTo>
                  <a:cubicBezTo>
                    <a:pt x="240" y="960"/>
                    <a:pt x="240" y="960"/>
                    <a:pt x="240" y="960"/>
                  </a:cubicBezTo>
                  <a:cubicBezTo>
                    <a:pt x="1200" y="960"/>
                    <a:pt x="1200" y="960"/>
                    <a:pt x="1200" y="960"/>
                  </a:cubicBezTo>
                  <a:lnTo>
                    <a:pt x="1200" y="1168"/>
                  </a:lnTo>
                  <a:close/>
                  <a:moveTo>
                    <a:pt x="1120" y="1168"/>
                  </a:moveTo>
                  <a:cubicBezTo>
                    <a:pt x="1120" y="1040"/>
                    <a:pt x="1120" y="1040"/>
                    <a:pt x="1120" y="1040"/>
                  </a:cubicBezTo>
                  <a:cubicBezTo>
                    <a:pt x="320" y="1040"/>
                    <a:pt x="320" y="1040"/>
                    <a:pt x="320" y="1040"/>
                  </a:cubicBezTo>
                  <a:cubicBezTo>
                    <a:pt x="320" y="1160"/>
                    <a:pt x="320" y="1160"/>
                    <a:pt x="320" y="1160"/>
                  </a:cubicBezTo>
                  <a:cubicBezTo>
                    <a:pt x="180" y="1160"/>
                    <a:pt x="180" y="1160"/>
                    <a:pt x="180" y="1160"/>
                  </a:cubicBezTo>
                  <a:cubicBezTo>
                    <a:pt x="125" y="1160"/>
                    <a:pt x="80" y="1205"/>
                    <a:pt x="80" y="1260"/>
                  </a:cubicBezTo>
                  <a:cubicBezTo>
                    <a:pt x="80" y="1315"/>
                    <a:pt x="117" y="1361"/>
                    <a:pt x="173" y="1364"/>
                  </a:cubicBezTo>
                  <a:cubicBezTo>
                    <a:pt x="229" y="1368"/>
                    <a:pt x="299" y="1374"/>
                    <a:pt x="352" y="1392"/>
                  </a:cubicBezTo>
                  <a:cubicBezTo>
                    <a:pt x="368" y="1398"/>
                    <a:pt x="368" y="1398"/>
                    <a:pt x="368" y="1398"/>
                  </a:cubicBezTo>
                  <a:cubicBezTo>
                    <a:pt x="406" y="1473"/>
                    <a:pt x="463" y="1527"/>
                    <a:pt x="538" y="1564"/>
                  </a:cubicBezTo>
                  <a:cubicBezTo>
                    <a:pt x="560" y="1576"/>
                    <a:pt x="560" y="1576"/>
                    <a:pt x="560" y="1576"/>
                  </a:cubicBezTo>
                  <a:cubicBezTo>
                    <a:pt x="560" y="1600"/>
                    <a:pt x="560" y="1600"/>
                    <a:pt x="560" y="1600"/>
                  </a:cubicBezTo>
                  <a:cubicBezTo>
                    <a:pt x="920" y="1600"/>
                    <a:pt x="920" y="1600"/>
                    <a:pt x="920" y="1600"/>
                  </a:cubicBezTo>
                  <a:cubicBezTo>
                    <a:pt x="920" y="1576"/>
                    <a:pt x="920" y="1576"/>
                    <a:pt x="920" y="1576"/>
                  </a:cubicBezTo>
                  <a:cubicBezTo>
                    <a:pt x="942" y="1564"/>
                    <a:pt x="942" y="1564"/>
                    <a:pt x="942" y="1564"/>
                  </a:cubicBezTo>
                  <a:cubicBezTo>
                    <a:pt x="1078" y="1497"/>
                    <a:pt x="1120" y="1306"/>
                    <a:pt x="1120" y="1168"/>
                  </a:cubicBezTo>
                  <a:close/>
                  <a:moveTo>
                    <a:pt x="1040" y="680"/>
                  </a:moveTo>
                  <a:cubicBezTo>
                    <a:pt x="1040" y="692"/>
                    <a:pt x="1040" y="692"/>
                    <a:pt x="1040" y="692"/>
                  </a:cubicBezTo>
                  <a:cubicBezTo>
                    <a:pt x="1040" y="751"/>
                    <a:pt x="998" y="801"/>
                    <a:pt x="940" y="810"/>
                  </a:cubicBezTo>
                  <a:cubicBezTo>
                    <a:pt x="928" y="812"/>
                    <a:pt x="800" y="834"/>
                    <a:pt x="800" y="834"/>
                  </a:cubicBezTo>
                  <a:cubicBezTo>
                    <a:pt x="800" y="880"/>
                    <a:pt x="800" y="880"/>
                    <a:pt x="800" y="880"/>
                  </a:cubicBezTo>
                  <a:cubicBezTo>
                    <a:pt x="747" y="880"/>
                    <a:pt x="693" y="880"/>
                    <a:pt x="640" y="880"/>
                  </a:cubicBezTo>
                  <a:cubicBezTo>
                    <a:pt x="640" y="834"/>
                    <a:pt x="640" y="834"/>
                    <a:pt x="640" y="834"/>
                  </a:cubicBezTo>
                  <a:cubicBezTo>
                    <a:pt x="640" y="834"/>
                    <a:pt x="512" y="812"/>
                    <a:pt x="500" y="810"/>
                  </a:cubicBezTo>
                  <a:cubicBezTo>
                    <a:pt x="442" y="801"/>
                    <a:pt x="400" y="751"/>
                    <a:pt x="400" y="692"/>
                  </a:cubicBezTo>
                  <a:cubicBezTo>
                    <a:pt x="400" y="680"/>
                    <a:pt x="400" y="680"/>
                    <a:pt x="400" y="680"/>
                  </a:cubicBezTo>
                  <a:cubicBezTo>
                    <a:pt x="602" y="680"/>
                    <a:pt x="838" y="680"/>
                    <a:pt x="1040" y="68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882" tIns="60941" rIns="121882" bIns="609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/>
                <a:ea typeface="+mn-ea"/>
                <a:cs typeface="+mn-cs"/>
              </a:endParaRPr>
            </a:p>
          </p:txBody>
        </p:sp>
      </p:grpSp>
      <p:sp>
        <p:nvSpPr>
          <p:cNvPr id="158" name="Freeform 76">
            <a:extLst>
              <a:ext uri="{FF2B5EF4-FFF2-40B4-BE49-F238E27FC236}">
                <a16:creationId xmlns:a16="http://schemas.microsoft.com/office/drawing/2014/main" id="{072F5BC6-18F0-BC16-ECE9-AA1D5EB2D7AF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 bwMode="auto">
          <a:xfrm>
            <a:off x="1319394" y="4654456"/>
            <a:ext cx="550094" cy="373687"/>
          </a:xfrm>
          <a:custGeom>
            <a:avLst/>
            <a:gdLst>
              <a:gd name="T0" fmla="*/ 640 w 2120"/>
              <a:gd name="T1" fmla="*/ 520 h 1440"/>
              <a:gd name="T2" fmla="*/ 600 w 2120"/>
              <a:gd name="T3" fmla="*/ 560 h 1440"/>
              <a:gd name="T4" fmla="*/ 400 w 2120"/>
              <a:gd name="T5" fmla="*/ 560 h 1440"/>
              <a:gd name="T6" fmla="*/ 400 w 2120"/>
              <a:gd name="T7" fmla="*/ 680 h 1440"/>
              <a:gd name="T8" fmla="*/ 0 w 2120"/>
              <a:gd name="T9" fmla="*/ 680 h 1440"/>
              <a:gd name="T10" fmla="*/ 0 w 2120"/>
              <a:gd name="T11" fmla="*/ 760 h 1440"/>
              <a:gd name="T12" fmla="*/ 400 w 2120"/>
              <a:gd name="T13" fmla="*/ 760 h 1440"/>
              <a:gd name="T14" fmla="*/ 400 w 2120"/>
              <a:gd name="T15" fmla="*/ 880 h 1440"/>
              <a:gd name="T16" fmla="*/ 600 w 2120"/>
              <a:gd name="T17" fmla="*/ 880 h 1440"/>
              <a:gd name="T18" fmla="*/ 640 w 2120"/>
              <a:gd name="T19" fmla="*/ 920 h 1440"/>
              <a:gd name="T20" fmla="*/ 1040 w 2120"/>
              <a:gd name="T21" fmla="*/ 1360 h 1440"/>
              <a:gd name="T22" fmla="*/ 1366 w 2120"/>
              <a:gd name="T23" fmla="*/ 1360 h 1440"/>
              <a:gd name="T24" fmla="*/ 1480 w 2120"/>
              <a:gd name="T25" fmla="*/ 1440 h 1440"/>
              <a:gd name="T26" fmla="*/ 1560 w 2120"/>
              <a:gd name="T27" fmla="*/ 1440 h 1440"/>
              <a:gd name="T28" fmla="*/ 1680 w 2120"/>
              <a:gd name="T29" fmla="*/ 1320 h 1440"/>
              <a:gd name="T30" fmla="*/ 1680 w 2120"/>
              <a:gd name="T31" fmla="*/ 1120 h 1440"/>
              <a:gd name="T32" fmla="*/ 2040 w 2120"/>
              <a:gd name="T33" fmla="*/ 1120 h 1440"/>
              <a:gd name="T34" fmla="*/ 2120 w 2120"/>
              <a:gd name="T35" fmla="*/ 1040 h 1440"/>
              <a:gd name="T36" fmla="*/ 2040 w 2120"/>
              <a:gd name="T37" fmla="*/ 960 h 1440"/>
              <a:gd name="T38" fmla="*/ 1680 w 2120"/>
              <a:gd name="T39" fmla="*/ 960 h 1440"/>
              <a:gd name="T40" fmla="*/ 1680 w 2120"/>
              <a:gd name="T41" fmla="*/ 480 h 1440"/>
              <a:gd name="T42" fmla="*/ 2040 w 2120"/>
              <a:gd name="T43" fmla="*/ 480 h 1440"/>
              <a:gd name="T44" fmla="*/ 2120 w 2120"/>
              <a:gd name="T45" fmla="*/ 400 h 1440"/>
              <a:gd name="T46" fmla="*/ 2040 w 2120"/>
              <a:gd name="T47" fmla="*/ 320 h 1440"/>
              <a:gd name="T48" fmla="*/ 1680 w 2120"/>
              <a:gd name="T49" fmla="*/ 320 h 1440"/>
              <a:gd name="T50" fmla="*/ 1680 w 2120"/>
              <a:gd name="T51" fmla="*/ 120 h 1440"/>
              <a:gd name="T52" fmla="*/ 1560 w 2120"/>
              <a:gd name="T53" fmla="*/ 0 h 1440"/>
              <a:gd name="T54" fmla="*/ 1480 w 2120"/>
              <a:gd name="T55" fmla="*/ 0 h 1440"/>
              <a:gd name="T56" fmla="*/ 1366 w 2120"/>
              <a:gd name="T57" fmla="*/ 80 h 1440"/>
              <a:gd name="T58" fmla="*/ 1040 w 2120"/>
              <a:gd name="T59" fmla="*/ 80 h 1440"/>
              <a:gd name="T60" fmla="*/ 640 w 2120"/>
              <a:gd name="T61" fmla="*/ 520 h 1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2120" h="1440">
                <a:moveTo>
                  <a:pt x="640" y="520"/>
                </a:moveTo>
                <a:cubicBezTo>
                  <a:pt x="640" y="542"/>
                  <a:pt x="622" y="560"/>
                  <a:pt x="600" y="560"/>
                </a:cubicBezTo>
                <a:cubicBezTo>
                  <a:pt x="400" y="560"/>
                  <a:pt x="400" y="560"/>
                  <a:pt x="400" y="560"/>
                </a:cubicBezTo>
                <a:cubicBezTo>
                  <a:pt x="400" y="680"/>
                  <a:pt x="400" y="680"/>
                  <a:pt x="400" y="680"/>
                </a:cubicBezTo>
                <a:cubicBezTo>
                  <a:pt x="0" y="680"/>
                  <a:pt x="0" y="680"/>
                  <a:pt x="0" y="680"/>
                </a:cubicBezTo>
                <a:cubicBezTo>
                  <a:pt x="0" y="760"/>
                  <a:pt x="0" y="760"/>
                  <a:pt x="0" y="760"/>
                </a:cubicBezTo>
                <a:cubicBezTo>
                  <a:pt x="400" y="760"/>
                  <a:pt x="400" y="760"/>
                  <a:pt x="400" y="760"/>
                </a:cubicBezTo>
                <a:cubicBezTo>
                  <a:pt x="400" y="880"/>
                  <a:pt x="400" y="880"/>
                  <a:pt x="400" y="880"/>
                </a:cubicBezTo>
                <a:cubicBezTo>
                  <a:pt x="600" y="880"/>
                  <a:pt x="600" y="880"/>
                  <a:pt x="600" y="880"/>
                </a:cubicBezTo>
                <a:cubicBezTo>
                  <a:pt x="622" y="880"/>
                  <a:pt x="640" y="898"/>
                  <a:pt x="640" y="920"/>
                </a:cubicBezTo>
                <a:cubicBezTo>
                  <a:pt x="640" y="1180"/>
                  <a:pt x="765" y="1360"/>
                  <a:pt x="1040" y="1360"/>
                </a:cubicBezTo>
                <a:cubicBezTo>
                  <a:pt x="1366" y="1360"/>
                  <a:pt x="1366" y="1360"/>
                  <a:pt x="1366" y="1360"/>
                </a:cubicBezTo>
                <a:cubicBezTo>
                  <a:pt x="1383" y="1408"/>
                  <a:pt x="1429" y="1440"/>
                  <a:pt x="1480" y="1440"/>
                </a:cubicBezTo>
                <a:cubicBezTo>
                  <a:pt x="1560" y="1440"/>
                  <a:pt x="1560" y="1440"/>
                  <a:pt x="1560" y="1440"/>
                </a:cubicBezTo>
                <a:cubicBezTo>
                  <a:pt x="1626" y="1440"/>
                  <a:pt x="1680" y="1386"/>
                  <a:pt x="1680" y="1320"/>
                </a:cubicBezTo>
                <a:cubicBezTo>
                  <a:pt x="1680" y="1120"/>
                  <a:pt x="1680" y="1120"/>
                  <a:pt x="1680" y="1120"/>
                </a:cubicBezTo>
                <a:cubicBezTo>
                  <a:pt x="2040" y="1120"/>
                  <a:pt x="2040" y="1120"/>
                  <a:pt x="2040" y="1120"/>
                </a:cubicBezTo>
                <a:cubicBezTo>
                  <a:pt x="2084" y="1120"/>
                  <a:pt x="2120" y="1084"/>
                  <a:pt x="2120" y="1040"/>
                </a:cubicBezTo>
                <a:cubicBezTo>
                  <a:pt x="2120" y="996"/>
                  <a:pt x="2084" y="960"/>
                  <a:pt x="2040" y="960"/>
                </a:cubicBezTo>
                <a:cubicBezTo>
                  <a:pt x="1680" y="960"/>
                  <a:pt x="1680" y="960"/>
                  <a:pt x="1680" y="960"/>
                </a:cubicBezTo>
                <a:cubicBezTo>
                  <a:pt x="1680" y="480"/>
                  <a:pt x="1680" y="480"/>
                  <a:pt x="1680" y="480"/>
                </a:cubicBezTo>
                <a:cubicBezTo>
                  <a:pt x="2040" y="480"/>
                  <a:pt x="2040" y="480"/>
                  <a:pt x="2040" y="480"/>
                </a:cubicBezTo>
                <a:cubicBezTo>
                  <a:pt x="2084" y="480"/>
                  <a:pt x="2120" y="444"/>
                  <a:pt x="2120" y="400"/>
                </a:cubicBezTo>
                <a:cubicBezTo>
                  <a:pt x="2120" y="356"/>
                  <a:pt x="2084" y="320"/>
                  <a:pt x="2040" y="320"/>
                </a:cubicBezTo>
                <a:cubicBezTo>
                  <a:pt x="1680" y="320"/>
                  <a:pt x="1680" y="320"/>
                  <a:pt x="1680" y="320"/>
                </a:cubicBezTo>
                <a:cubicBezTo>
                  <a:pt x="1680" y="120"/>
                  <a:pt x="1680" y="120"/>
                  <a:pt x="1680" y="120"/>
                </a:cubicBezTo>
                <a:cubicBezTo>
                  <a:pt x="1680" y="54"/>
                  <a:pt x="1626" y="0"/>
                  <a:pt x="1560" y="0"/>
                </a:cubicBezTo>
                <a:cubicBezTo>
                  <a:pt x="1480" y="0"/>
                  <a:pt x="1480" y="0"/>
                  <a:pt x="1480" y="0"/>
                </a:cubicBezTo>
                <a:cubicBezTo>
                  <a:pt x="1429" y="0"/>
                  <a:pt x="1383" y="33"/>
                  <a:pt x="1366" y="80"/>
                </a:cubicBezTo>
                <a:cubicBezTo>
                  <a:pt x="1040" y="80"/>
                  <a:pt x="1040" y="80"/>
                  <a:pt x="1040" y="80"/>
                </a:cubicBezTo>
                <a:cubicBezTo>
                  <a:pt x="765" y="80"/>
                  <a:pt x="640" y="261"/>
                  <a:pt x="640" y="52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21882" tIns="60941" rIns="121882" bIns="6094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1">
              <a:ln>
                <a:noFill/>
              </a:ln>
              <a:solidFill>
                <a:srgbClr val="3B4145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159" name="Grafik 39">
            <a:extLst>
              <a:ext uri="{FF2B5EF4-FFF2-40B4-BE49-F238E27FC236}">
                <a16:creationId xmlns:a16="http://schemas.microsoft.com/office/drawing/2014/main" id="{A142F5B3-81E7-8DF5-EC4B-490E3A6F4EF3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9027689" y="4609470"/>
            <a:ext cx="574972" cy="468000"/>
          </a:xfrm>
          <a:prstGeom prst="rect">
            <a:avLst/>
          </a:prstGeom>
        </p:spPr>
      </p:pic>
      <p:sp>
        <p:nvSpPr>
          <p:cNvPr id="160" name="Rechteck 23">
            <a:extLst>
              <a:ext uri="{FF2B5EF4-FFF2-40B4-BE49-F238E27FC236}">
                <a16:creationId xmlns:a16="http://schemas.microsoft.com/office/drawing/2014/main" id="{84FAFECF-D681-71C9-3FF3-B5F28A86122B}"/>
              </a:ext>
            </a:extLst>
          </p:cNvPr>
          <p:cNvSpPr/>
          <p:nvPr/>
        </p:nvSpPr>
        <p:spPr bwMode="gray">
          <a:xfrm>
            <a:off x="8552131" y="5168337"/>
            <a:ext cx="1526088" cy="384296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874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519FBC"/>
                </a:solidFill>
                <a:effectLst/>
                <a:uLnTx/>
                <a:uFillTx/>
                <a:latin typeface="Lato"/>
                <a:ea typeface="+mn-ea"/>
                <a:cs typeface="Arial" pitchFamily="34" charset="0"/>
              </a:rPr>
              <a:t>Air Conditions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1A7F1C3E-2FC2-4819-FA6D-2E5FDA28D004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714843" y="918432"/>
            <a:ext cx="9155219" cy="260163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8000" indent="-252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52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Lato" panose="020F050202020403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2000" indent="-252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8000" indent="-252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52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000" indent="-252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4000" indent="-252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A5B0C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B4145"/>
                </a:solidFill>
                <a:effectLst/>
                <a:uLnTx/>
                <a:uFillTx/>
                <a:latin typeface="+mj-lt"/>
              </a:rPr>
              <a:t>Sales Volume &amp; Value EURO in % / growth rate YoY in %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B4145"/>
                </a:solidFill>
                <a:effectLst/>
                <a:uLnTx/>
                <a:uFillTx/>
                <a:latin typeface="+mj-lt"/>
                <a:sym typeface="Webdings" panose="05030102010509060703" pitchFamily="18" charset="2"/>
              </a:rPr>
              <a:t>GREECE YTD: </a:t>
            </a:r>
            <a:r>
              <a:rPr lang="en-US" sz="1600" dirty="0">
                <a:solidFill>
                  <a:srgbClr val="3B4145"/>
                </a:solidFill>
                <a:latin typeface="+mj-lt"/>
                <a:sym typeface="Webdings" panose="05030102010509060703" pitchFamily="18" charset="2"/>
              </a:rPr>
              <a:t>Dec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B4145"/>
                </a:solidFill>
                <a:effectLst/>
                <a:uLnTx/>
                <a:uFillTx/>
                <a:latin typeface="+mj-lt"/>
                <a:sym typeface="Webdings" panose="05030102010509060703" pitchFamily="18" charset="2"/>
              </a:rPr>
              <a:t>em</a:t>
            </a:r>
            <a:r>
              <a:rPr lang="en-US" sz="1600" dirty="0" err="1">
                <a:solidFill>
                  <a:srgbClr val="3B4145"/>
                </a:solidFill>
                <a:latin typeface="+mj-lt"/>
                <a:sym typeface="Webdings" panose="05030102010509060703" pitchFamily="18" charset="2"/>
              </a:rPr>
              <a:t>ber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B4145"/>
                </a:solidFill>
                <a:effectLst/>
                <a:uLnTx/>
                <a:uFillTx/>
                <a:latin typeface="+mj-lt"/>
              </a:rPr>
              <a:t> 2025</a:t>
            </a:r>
          </a:p>
        </p:txBody>
      </p:sp>
      <p:pic>
        <p:nvPicPr>
          <p:cNvPr id="5" name="Picture 23">
            <a:extLst>
              <a:ext uri="{FF2B5EF4-FFF2-40B4-BE49-F238E27FC236}">
                <a16:creationId xmlns:a16="http://schemas.microsoft.com/office/drawing/2014/main" id="{097CE260-CF11-FB44-DB9E-4328ECD83DD1}"/>
              </a:ext>
            </a:extLst>
          </p:cNvPr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3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77887" y="910284"/>
            <a:ext cx="408899" cy="2725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634235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SHOW_CA" val="Fals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ATE" val="19.10.2011 11:04:46"/>
  <p:tag name="STYLE" val="VCT_Marker"/>
  <p:tag name="VCTMASTER" val="GfK Master for PPT 2010 4-3"/>
  <p:tag name="VCTORDER" val="1"/>
  <p:tag name="VCT-TEMPLATE" val="GfK Template PPT 2003 4-3.po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GfK">
  <a:themeElements>
    <a:clrScheme name="GfK">
      <a:dk1>
        <a:srgbClr val="3B4145"/>
      </a:dk1>
      <a:lt1>
        <a:srgbClr val="FFFFFF"/>
      </a:lt1>
      <a:dk2>
        <a:srgbClr val="EA5B0C"/>
      </a:dk2>
      <a:lt2>
        <a:srgbClr val="D6D9DC"/>
      </a:lt2>
      <a:accent1>
        <a:srgbClr val="6A757C"/>
      </a:accent1>
      <a:accent2>
        <a:srgbClr val="4368BD"/>
      </a:accent2>
      <a:accent3>
        <a:srgbClr val="54B9B1"/>
      </a:accent3>
      <a:accent4>
        <a:srgbClr val="FFA52F"/>
      </a:accent4>
      <a:accent5>
        <a:srgbClr val="D2335F"/>
      </a:accent5>
      <a:accent6>
        <a:srgbClr val="7A4CB2"/>
      </a:accent6>
      <a:hlink>
        <a:srgbClr val="EA5B0C"/>
      </a:hlink>
      <a:folHlink>
        <a:srgbClr val="6A757C"/>
      </a:folHlink>
    </a:clrScheme>
    <a:fontScheme name="GfK">
      <a:majorFont>
        <a:latin typeface="Lato Heavy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266700" indent="-266700" algn="l">
          <a:buSzPct val="80000"/>
          <a:buFont typeface="Wingdings" panose="05000000000000000000" pitchFamily="2" charset="2"/>
          <a:buChar char="n"/>
          <a:defRPr sz="1600" dirty="0" err="1" smtClean="0"/>
        </a:defPPr>
      </a:lstStyle>
    </a:txDef>
  </a:objectDefaults>
  <a:extraClrSchemeLst/>
  <a:custClrLst>
    <a:custClr name="GfK Gray 700">
      <a:srgbClr val="3B4145"/>
    </a:custClr>
    <a:custClr name="GfK Blue 700">
      <a:srgbClr val="3456A6"/>
    </a:custClr>
    <a:custClr name="GfK Turqoise 700">
      <a:srgbClr val="4B9A91"/>
    </a:custClr>
    <a:custClr name="GfK Yellow 700">
      <a:srgbClr val="F58A27"/>
    </a:custClr>
    <a:custClr name="GfK Magenta 700">
      <a:srgbClr val="AC2B55"/>
    </a:custClr>
    <a:custClr name="GfK Purple 700">
      <a:srgbClr val="673FA2"/>
    </a:custClr>
    <a:custClr name="GfK Sand 700">
      <a:srgbClr val="C56227"/>
    </a:custClr>
    <a:custClr name="GfK Petrol00">
      <a:srgbClr val="327890"/>
    </a:custClr>
    <a:custClr name="GfK Red 700">
      <a:srgbClr val="9B0009"/>
    </a:custClr>
    <a:custClr name="GfK Green 700">
      <a:srgbClr val="24892C"/>
    </a:custClr>
    <a:custClr name="GfK Gray 500">
      <a:srgbClr val="6A757C"/>
    </a:custClr>
    <a:custClr name="GfK Blue 500">
      <a:srgbClr val="4368BD"/>
    </a:custClr>
    <a:custClr name="GfK Turqoise 500">
      <a:srgbClr val="54B9B1"/>
    </a:custClr>
    <a:custClr name="GfK Yellow 500">
      <a:srgbClr val="FFA52F"/>
    </a:custClr>
    <a:custClr name="GfK Magenta 500">
      <a:srgbClr val="D2335F"/>
    </a:custClr>
    <a:custClr name="GfK Purple 500">
      <a:srgbClr val="7A4CB2"/>
    </a:custClr>
    <a:custClr name="GfK Sand 500">
      <a:srgbClr val="D27A2E"/>
    </a:custClr>
    <a:custClr name="GfK Petrol 500">
      <a:srgbClr val="519FBC"/>
    </a:custClr>
    <a:custClr name="GfK Red 500">
      <a:srgbClr val="BC1C0E"/>
    </a:custClr>
    <a:custClr name="GfK Green 500">
      <a:srgbClr val="3DAD42"/>
    </a:custClr>
    <a:custClr name="GfK Gray 300">
      <a:srgbClr val="9FA7AD"/>
    </a:custClr>
    <a:custClr name="GfK Blue 300">
      <a:srgbClr val="879BCC"/>
    </a:custClr>
    <a:custClr name="GfK Turqoise 300">
      <a:srgbClr val="81D7D3"/>
    </a:custClr>
    <a:custClr name="GfK Yellow 300">
      <a:srgbClr val="FDC166"/>
    </a:custClr>
    <a:custClr name="GfK Magenta 300">
      <a:srgbClr val="D76789"/>
    </a:custClr>
    <a:custClr name="GfK Purple 300">
      <a:srgbClr val="A387C8"/>
    </a:custClr>
    <a:custClr name="GfK Sand 300">
      <a:srgbClr val="D0965C"/>
    </a:custClr>
    <a:custClr name="GfK Petrol 300">
      <a:srgbClr val="87C5DE"/>
    </a:custClr>
    <a:custClr name="GfK Red 300">
      <a:srgbClr val="B0504C"/>
    </a:custClr>
    <a:custClr name="GfK Green 300">
      <a:srgbClr val="73C375"/>
    </a:custClr>
    <a:custClr name="GfK Gray 100">
      <a:srgbClr val="D6D9DC"/>
    </a:custClr>
    <a:custClr name="GfK Blue 100">
      <a:srgbClr val="DBE0EB"/>
    </a:custClr>
    <a:custClr name="GfK Turqoise 100">
      <a:srgbClr val="E2FFFF"/>
    </a:custClr>
    <a:custClr name="GfK Yellow 100">
      <a:srgbClr val="FFEBCC"/>
    </a:custClr>
    <a:custClr name="GfK Magenta 100">
      <a:srgbClr val="DDBBC5"/>
    </a:custClr>
    <a:custClr name="GfK Purple 100">
      <a:srgbClr val="DDD8E4"/>
    </a:custClr>
    <a:custClr name="GfK Sand 100">
      <a:srgbClr val="C9C1BA"/>
    </a:custClr>
    <a:custClr name="GfK Petrol 100">
      <a:srgbClr val="CBFCFF"/>
    </a:custClr>
    <a:custClr name="GfK Red 100">
      <a:srgbClr val="CBA6A8"/>
    </a:custClr>
    <a:custClr name="GfK Green 100">
      <a:srgbClr val="BDE5BD"/>
    </a:custClr>
  </a:custClrLst>
  <a:extLst>
    <a:ext uri="{05A4C25C-085E-4340-85A3-A5531E510DB2}">
      <thm15:themeFamily xmlns:thm15="http://schemas.microsoft.com/office/thememl/2012/main" name="Presentation1" id="{BC0D5509-0974-4A75-9202-88D769609289}" vid="{A13B6AE3-7566-41AC-94B0-BEB13FEE7EBF}"/>
    </a:ext>
  </a:extLst>
</a:theme>
</file>

<file path=ppt/theme/theme2.xml><?xml version="1.0" encoding="utf-8"?>
<a:theme xmlns:a="http://schemas.openxmlformats.org/drawingml/2006/main" name="Office Theme">
  <a:themeElements>
    <a:clrScheme name="Custom 24">
      <a:dk1>
        <a:srgbClr val="555555"/>
      </a:dk1>
      <a:lt1>
        <a:srgbClr val="FFFFFF"/>
      </a:lt1>
      <a:dk2>
        <a:srgbClr val="060A45"/>
      </a:dk2>
      <a:lt2>
        <a:srgbClr val="FFFFFF"/>
      </a:lt2>
      <a:accent1>
        <a:srgbClr val="2C6DF6"/>
      </a:accent1>
      <a:accent2>
        <a:srgbClr val="31D1FF"/>
      </a:accent2>
      <a:accent3>
        <a:srgbClr val="EF5F17"/>
      </a:accent3>
      <a:accent4>
        <a:srgbClr val="59AD00"/>
      </a:accent4>
      <a:accent5>
        <a:srgbClr val="EF5890"/>
      </a:accent5>
      <a:accent6>
        <a:srgbClr val="FFB500"/>
      </a:accent6>
      <a:hlink>
        <a:srgbClr val="2C6DF6"/>
      </a:hlink>
      <a:folHlink>
        <a:srgbClr val="2C6DF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dirty="0" err="1" smtClean="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 cap="flat" cmpd="sng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 smtClean="0"/>
        </a:defPPr>
      </a:lstStyle>
    </a:txDef>
  </a:objectDefaults>
  <a:extraClrSchemeLst/>
  <a:custClrLst>
    <a:custClr name="Chart Violet">
      <a:srgbClr val="675895"/>
    </a:custClr>
    <a:custClr name="Chart Blue">
      <a:srgbClr val="4697E2"/>
    </a:custClr>
    <a:custClr name="Chart Pink">
      <a:srgbClr val="CB4B7A"/>
    </a:custClr>
    <a:custClr name="Chart Yellow">
      <a:srgbClr val="FFB500"/>
    </a:custClr>
    <a:custClr name="Chart Navy">
      <a:srgbClr val="204188"/>
    </a:custClr>
    <a:custClr name="Chart Orange">
      <a:srgbClr val="F06E2D"/>
    </a:custClr>
    <a:custClr name="Chart Green">
      <a:srgbClr val="03A577"/>
    </a:custClr>
    <a:custClr name="Chart Sapphire">
      <a:srgbClr val="3265D2"/>
    </a:custClr>
    <a:custClr name="Chart Terracotta">
      <a:srgbClr val="CA5113"/>
    </a:custClr>
    <a:custClr name="Chart Forest">
      <a:srgbClr val="0C644A"/>
    </a:custClr>
    <a:custClr name="Chart Lavender">
      <a:srgbClr val="A082F3"/>
    </a:custClr>
    <a:custClr name="Chart Sand">
      <a:srgbClr val="B37F01"/>
    </a:custClr>
    <a:custClr name="Chart Mulberry">
      <a:srgbClr val="83304E"/>
    </a:custClr>
    <a:custClr name="Chart Turquoise">
      <a:srgbClr val="23A9B2"/>
    </a:custClr>
    <a:custClr name="Chart Midnight">
      <a:srgbClr val="292D5F"/>
    </a:custClr>
    <a:custClr name="Chart Fern">
      <a:srgbClr val="4D9300"/>
    </a:custClr>
    <a:custClr name="spacer">
      <a:srgbClr val="FFFFFF"/>
    </a:custClr>
    <a:custClr name="spacer">
      <a:srgbClr val="FFFFFF"/>
    </a:custClr>
    <a:custClr name="spacer">
      <a:srgbClr val="FFFFFF"/>
    </a:custClr>
    <a:custClr name="spacer">
      <a:srgbClr val="FFFFFF"/>
    </a:custClr>
    <a:custClr name="Threshold Positive">
      <a:srgbClr val="008A28"/>
    </a:custClr>
    <a:custClr name="Threshold Positive Subtle">
      <a:srgbClr val="E6E6E6"/>
    </a:custClr>
    <a:custClr name="Threshold Negative">
      <a:srgbClr val="AA213F"/>
    </a:custClr>
    <a:custClr name="Threshold Negative Subtle">
      <a:srgbClr val="F2DEE2"/>
    </a:custClr>
    <a:custClr name="Threshold Neutral">
      <a:srgbClr val="8C8C8C"/>
    </a:custClr>
    <a:custClr name="Threshold Neutral Subtle">
      <a:srgbClr val="E6E6E6"/>
    </a:custClr>
  </a:custClrLst>
  <a:extLst>
    <a:ext uri="{05A4C25C-085E-4340-85A3-A5531E510DB2}">
      <thm15:themeFamily xmlns:thm15="http://schemas.microsoft.com/office/thememl/2012/main" name="Office Theme" id="{31C12076-F06A-484B-B321-324C4288A3F6}" vid="{ADE2F160-FD49-47F0-8061-011A7B757352}"/>
    </a:ext>
  </a:extLst>
</a:theme>
</file>

<file path=ppt/theme/theme3.xml><?xml version="1.0" encoding="utf-8"?>
<a:theme xmlns:a="http://schemas.openxmlformats.org/drawingml/2006/main" name="1_Office Theme">
  <a:themeElements>
    <a:clrScheme name="Custom 24">
      <a:dk1>
        <a:srgbClr val="555555"/>
      </a:dk1>
      <a:lt1>
        <a:srgbClr val="FFFFFF"/>
      </a:lt1>
      <a:dk2>
        <a:srgbClr val="060A45"/>
      </a:dk2>
      <a:lt2>
        <a:srgbClr val="FFFFFF"/>
      </a:lt2>
      <a:accent1>
        <a:srgbClr val="2C6DF6"/>
      </a:accent1>
      <a:accent2>
        <a:srgbClr val="31D1FF"/>
      </a:accent2>
      <a:accent3>
        <a:srgbClr val="EF5F17"/>
      </a:accent3>
      <a:accent4>
        <a:srgbClr val="59AD00"/>
      </a:accent4>
      <a:accent5>
        <a:srgbClr val="EF5890"/>
      </a:accent5>
      <a:accent6>
        <a:srgbClr val="FFB500"/>
      </a:accent6>
      <a:hlink>
        <a:srgbClr val="2C6DF6"/>
      </a:hlink>
      <a:folHlink>
        <a:srgbClr val="2C6DF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dirty="0" err="1" smtClean="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 cap="flat" cmpd="sng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 smtClean="0"/>
        </a:defPPr>
      </a:lstStyle>
    </a:txDef>
  </a:objectDefaults>
  <a:extraClrSchemeLst/>
  <a:custClrLst>
    <a:custClr name="Chart Violet">
      <a:srgbClr val="675895"/>
    </a:custClr>
    <a:custClr name="Chart Blue">
      <a:srgbClr val="4697E2"/>
    </a:custClr>
    <a:custClr name="Chart Pink">
      <a:srgbClr val="CB4B7A"/>
    </a:custClr>
    <a:custClr name="Chart Yellow">
      <a:srgbClr val="FFB500"/>
    </a:custClr>
    <a:custClr name="Chart Navy">
      <a:srgbClr val="204188"/>
    </a:custClr>
    <a:custClr name="Chart Orange">
      <a:srgbClr val="F06E2D"/>
    </a:custClr>
    <a:custClr name="Chart Green">
      <a:srgbClr val="03A577"/>
    </a:custClr>
    <a:custClr name="Chart Sapphire">
      <a:srgbClr val="3265D2"/>
    </a:custClr>
    <a:custClr name="Chart Terracotta">
      <a:srgbClr val="CA5113"/>
    </a:custClr>
    <a:custClr name="Chart Forest">
      <a:srgbClr val="0C644A"/>
    </a:custClr>
    <a:custClr name="Chart Lavender">
      <a:srgbClr val="A082F3"/>
    </a:custClr>
    <a:custClr name="Chart Sand">
      <a:srgbClr val="B37F01"/>
    </a:custClr>
    <a:custClr name="Chart Mulberry">
      <a:srgbClr val="83304E"/>
    </a:custClr>
    <a:custClr name="Chart Turquoise">
      <a:srgbClr val="23A9B2"/>
    </a:custClr>
    <a:custClr name="Chart Midnight">
      <a:srgbClr val="292D5F"/>
    </a:custClr>
    <a:custClr name="Chart Fern">
      <a:srgbClr val="4D9300"/>
    </a:custClr>
    <a:custClr name="spacer">
      <a:srgbClr val="FFFFFF"/>
    </a:custClr>
    <a:custClr name="spacer">
      <a:srgbClr val="FFFFFF"/>
    </a:custClr>
    <a:custClr name="spacer">
      <a:srgbClr val="FFFFFF"/>
    </a:custClr>
    <a:custClr name="spacer">
      <a:srgbClr val="FFFFFF"/>
    </a:custClr>
    <a:custClr name="Threshold Positive">
      <a:srgbClr val="008A28"/>
    </a:custClr>
    <a:custClr name="Threshold Positive Subtle">
      <a:srgbClr val="E6E6E6"/>
    </a:custClr>
    <a:custClr name="Threshold Negative">
      <a:srgbClr val="AA213F"/>
    </a:custClr>
    <a:custClr name="Threshold Negative Subtle">
      <a:srgbClr val="F2DEE2"/>
    </a:custClr>
    <a:custClr name="Threshold Neutral">
      <a:srgbClr val="8C8C8C"/>
    </a:custClr>
    <a:custClr name="Threshold Neutral Subtle">
      <a:srgbClr val="E6E6E6"/>
    </a:custClr>
  </a:custClrLst>
  <a:extLst>
    <a:ext uri="{05A4C25C-085E-4340-85A3-A5531E510DB2}">
      <thm15:themeFamily xmlns:thm15="http://schemas.microsoft.com/office/thememl/2012/main" name="Office Theme" id="{31C12076-F06A-484B-B321-324C4288A3F6}" vid="{ADE2F160-FD49-47F0-8061-011A7B757352}"/>
    </a:ext>
  </a:extLst>
</a:theme>
</file>

<file path=ppt/theme/theme4.xml><?xml version="1.0" encoding="utf-8"?>
<a:theme xmlns:a="http://schemas.openxmlformats.org/drawingml/2006/main" name="2_Office Theme">
  <a:themeElements>
    <a:clrScheme name="Custom 24">
      <a:dk1>
        <a:srgbClr val="555555"/>
      </a:dk1>
      <a:lt1>
        <a:srgbClr val="FFFFFF"/>
      </a:lt1>
      <a:dk2>
        <a:srgbClr val="060A45"/>
      </a:dk2>
      <a:lt2>
        <a:srgbClr val="FFFFFF"/>
      </a:lt2>
      <a:accent1>
        <a:srgbClr val="2C6DF6"/>
      </a:accent1>
      <a:accent2>
        <a:srgbClr val="31D1FF"/>
      </a:accent2>
      <a:accent3>
        <a:srgbClr val="EF5F17"/>
      </a:accent3>
      <a:accent4>
        <a:srgbClr val="59AD00"/>
      </a:accent4>
      <a:accent5>
        <a:srgbClr val="EF5890"/>
      </a:accent5>
      <a:accent6>
        <a:srgbClr val="FFB500"/>
      </a:accent6>
      <a:hlink>
        <a:srgbClr val="2C6DF6"/>
      </a:hlink>
      <a:folHlink>
        <a:srgbClr val="2C6DF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dirty="0" err="1" smtClean="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 cap="flat" cmpd="sng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 smtClean="0"/>
        </a:defPPr>
      </a:lstStyle>
    </a:txDef>
  </a:objectDefaults>
  <a:extraClrSchemeLst/>
  <a:custClrLst>
    <a:custClr name="Chart Violet">
      <a:srgbClr val="675895"/>
    </a:custClr>
    <a:custClr name="Chart Blue">
      <a:srgbClr val="4697E2"/>
    </a:custClr>
    <a:custClr name="Chart Pink">
      <a:srgbClr val="CB4B7A"/>
    </a:custClr>
    <a:custClr name="Chart Yellow">
      <a:srgbClr val="FFB500"/>
    </a:custClr>
    <a:custClr name="Chart Navy">
      <a:srgbClr val="204188"/>
    </a:custClr>
    <a:custClr name="Chart Orange">
      <a:srgbClr val="F06E2D"/>
    </a:custClr>
    <a:custClr name="Chart Green">
      <a:srgbClr val="03A577"/>
    </a:custClr>
    <a:custClr name="Chart Sapphire">
      <a:srgbClr val="3265D2"/>
    </a:custClr>
    <a:custClr name="Chart Terracotta">
      <a:srgbClr val="CA5113"/>
    </a:custClr>
    <a:custClr name="Chart Forest">
      <a:srgbClr val="0C644A"/>
    </a:custClr>
    <a:custClr name="Chart Lavender">
      <a:srgbClr val="A082F3"/>
    </a:custClr>
    <a:custClr name="Chart Sand">
      <a:srgbClr val="B37F01"/>
    </a:custClr>
    <a:custClr name="Chart Mulberry">
      <a:srgbClr val="83304E"/>
    </a:custClr>
    <a:custClr name="Chart Turquoise">
      <a:srgbClr val="23A9B2"/>
    </a:custClr>
    <a:custClr name="Chart Midnight">
      <a:srgbClr val="292D5F"/>
    </a:custClr>
    <a:custClr name="Chart Fern">
      <a:srgbClr val="4D9300"/>
    </a:custClr>
    <a:custClr name="spacer">
      <a:srgbClr val="FFFFFF"/>
    </a:custClr>
    <a:custClr name="spacer">
      <a:srgbClr val="FFFFFF"/>
    </a:custClr>
    <a:custClr name="spacer">
      <a:srgbClr val="FFFFFF"/>
    </a:custClr>
    <a:custClr name="spacer">
      <a:srgbClr val="FFFFFF"/>
    </a:custClr>
    <a:custClr name="Threshold Positive">
      <a:srgbClr val="008A28"/>
    </a:custClr>
    <a:custClr name="Threshold Positive Subtle">
      <a:srgbClr val="E6E6E6"/>
    </a:custClr>
    <a:custClr name="Threshold Negative">
      <a:srgbClr val="AA213F"/>
    </a:custClr>
    <a:custClr name="Threshold Negative Subtle">
      <a:srgbClr val="F2DEE2"/>
    </a:custClr>
    <a:custClr name="Threshold Neutral">
      <a:srgbClr val="8C8C8C"/>
    </a:custClr>
    <a:custClr name="Threshold Neutral Subtle">
      <a:srgbClr val="E6E6E6"/>
    </a:custClr>
  </a:custClrLst>
  <a:extLst>
    <a:ext uri="{05A4C25C-085E-4340-85A3-A5531E510DB2}">
      <thm15:themeFamily xmlns:thm15="http://schemas.microsoft.com/office/thememl/2012/main" name="Office Theme" id="{31C12076-F06A-484B-B321-324C4288A3F6}" vid="{ADE2F160-FD49-47F0-8061-011A7B757352}"/>
    </a:ext>
  </a:extLst>
</a:theme>
</file>

<file path=ppt/theme/theme5.xml><?xml version="1.0" encoding="utf-8"?>
<a:theme xmlns:a="http://schemas.openxmlformats.org/drawingml/2006/main" name="3_Office Theme">
  <a:themeElements>
    <a:clrScheme name="Custom 24">
      <a:dk1>
        <a:srgbClr val="555555"/>
      </a:dk1>
      <a:lt1>
        <a:srgbClr val="FFFFFF"/>
      </a:lt1>
      <a:dk2>
        <a:srgbClr val="060A45"/>
      </a:dk2>
      <a:lt2>
        <a:srgbClr val="FFFFFF"/>
      </a:lt2>
      <a:accent1>
        <a:srgbClr val="2C6DF6"/>
      </a:accent1>
      <a:accent2>
        <a:srgbClr val="31D1FF"/>
      </a:accent2>
      <a:accent3>
        <a:srgbClr val="EF5F17"/>
      </a:accent3>
      <a:accent4>
        <a:srgbClr val="59AD00"/>
      </a:accent4>
      <a:accent5>
        <a:srgbClr val="EF5890"/>
      </a:accent5>
      <a:accent6>
        <a:srgbClr val="FFB500"/>
      </a:accent6>
      <a:hlink>
        <a:srgbClr val="2C6DF6"/>
      </a:hlink>
      <a:folHlink>
        <a:srgbClr val="2C6DF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dirty="0" err="1" smtClean="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 cap="flat" cmpd="sng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 smtClean="0"/>
        </a:defPPr>
      </a:lstStyle>
    </a:txDef>
  </a:objectDefaults>
  <a:extraClrSchemeLst/>
  <a:custClrLst>
    <a:custClr name="Chart Violet">
      <a:srgbClr val="675895"/>
    </a:custClr>
    <a:custClr name="Chart Blue">
      <a:srgbClr val="4697E2"/>
    </a:custClr>
    <a:custClr name="Chart Pink">
      <a:srgbClr val="CB4B7A"/>
    </a:custClr>
    <a:custClr name="Chart Yellow">
      <a:srgbClr val="FFB500"/>
    </a:custClr>
    <a:custClr name="Chart Navy">
      <a:srgbClr val="204188"/>
    </a:custClr>
    <a:custClr name="Chart Orange">
      <a:srgbClr val="F06E2D"/>
    </a:custClr>
    <a:custClr name="Chart Green">
      <a:srgbClr val="03A577"/>
    </a:custClr>
    <a:custClr name="Chart Sapphire">
      <a:srgbClr val="3265D2"/>
    </a:custClr>
    <a:custClr name="Chart Terracotta">
      <a:srgbClr val="CA5113"/>
    </a:custClr>
    <a:custClr name="Chart Forest">
      <a:srgbClr val="0C644A"/>
    </a:custClr>
    <a:custClr name="Chart Lavender">
      <a:srgbClr val="A082F3"/>
    </a:custClr>
    <a:custClr name="Chart Sand">
      <a:srgbClr val="B37F01"/>
    </a:custClr>
    <a:custClr name="Chart Mulberry">
      <a:srgbClr val="83304E"/>
    </a:custClr>
    <a:custClr name="Chart Turquoise">
      <a:srgbClr val="23A9B2"/>
    </a:custClr>
    <a:custClr name="Chart Midnight">
      <a:srgbClr val="292D5F"/>
    </a:custClr>
    <a:custClr name="Chart Fern">
      <a:srgbClr val="4D9300"/>
    </a:custClr>
    <a:custClr name="spacer">
      <a:srgbClr val="FFFFFF"/>
    </a:custClr>
    <a:custClr name="spacer">
      <a:srgbClr val="FFFFFF"/>
    </a:custClr>
    <a:custClr name="spacer">
      <a:srgbClr val="FFFFFF"/>
    </a:custClr>
    <a:custClr name="spacer">
      <a:srgbClr val="FFFFFF"/>
    </a:custClr>
    <a:custClr name="Threshold Positive">
      <a:srgbClr val="008A28"/>
    </a:custClr>
    <a:custClr name="Threshold Positive Subtle">
      <a:srgbClr val="E6E6E6"/>
    </a:custClr>
    <a:custClr name="Threshold Negative">
      <a:srgbClr val="AA213F"/>
    </a:custClr>
    <a:custClr name="Threshold Negative Subtle">
      <a:srgbClr val="F2DEE2"/>
    </a:custClr>
    <a:custClr name="Threshold Neutral">
      <a:srgbClr val="8C8C8C"/>
    </a:custClr>
    <a:custClr name="Threshold Neutral Subtle">
      <a:srgbClr val="E6E6E6"/>
    </a:custClr>
  </a:custClrLst>
  <a:extLst>
    <a:ext uri="{05A4C25C-085E-4340-85A3-A5531E510DB2}">
      <thm15:themeFamily xmlns:thm15="http://schemas.microsoft.com/office/thememl/2012/main" name="Office Theme" id="{31C12076-F06A-484B-B321-324C4288A3F6}" vid="{ADE2F160-FD49-47F0-8061-011A7B757352}"/>
    </a:ext>
  </a:extLst>
</a:theme>
</file>

<file path=ppt/theme/theme6.xml><?xml version="1.0" encoding="utf-8"?>
<a:theme xmlns:a="http://schemas.openxmlformats.org/drawingml/2006/main" name="Office Theme">
  <a:themeElements>
    <a:clrScheme name="GfK">
      <a:dk1>
        <a:srgbClr val="3B4145"/>
      </a:dk1>
      <a:lt1>
        <a:srgbClr val="FFFFFF"/>
      </a:lt1>
      <a:dk2>
        <a:srgbClr val="EA5B0C"/>
      </a:dk2>
      <a:lt2>
        <a:srgbClr val="D6D9DC"/>
      </a:lt2>
      <a:accent1>
        <a:srgbClr val="6A757C"/>
      </a:accent1>
      <a:accent2>
        <a:srgbClr val="4368BD"/>
      </a:accent2>
      <a:accent3>
        <a:srgbClr val="54B9B1"/>
      </a:accent3>
      <a:accent4>
        <a:srgbClr val="FFA52F"/>
      </a:accent4>
      <a:accent5>
        <a:srgbClr val="D2335F"/>
      </a:accent5>
      <a:accent6>
        <a:srgbClr val="7B4DB3"/>
      </a:accent6>
      <a:hlink>
        <a:srgbClr val="EA5B0C"/>
      </a:hlink>
      <a:folHlink>
        <a:srgbClr val="6A757C"/>
      </a:folHlink>
    </a:clrScheme>
    <a:fontScheme name="GfK">
      <a:majorFont>
        <a:latin typeface="Lato Heavy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GfK">
      <a:dk1>
        <a:srgbClr val="3B4145"/>
      </a:dk1>
      <a:lt1>
        <a:srgbClr val="FFFFFF"/>
      </a:lt1>
      <a:dk2>
        <a:srgbClr val="EA5B0C"/>
      </a:dk2>
      <a:lt2>
        <a:srgbClr val="D6D9DC"/>
      </a:lt2>
      <a:accent1>
        <a:srgbClr val="6A757C"/>
      </a:accent1>
      <a:accent2>
        <a:srgbClr val="4368BD"/>
      </a:accent2>
      <a:accent3>
        <a:srgbClr val="54B9B1"/>
      </a:accent3>
      <a:accent4>
        <a:srgbClr val="FFA52F"/>
      </a:accent4>
      <a:accent5>
        <a:srgbClr val="D2335F"/>
      </a:accent5>
      <a:accent6>
        <a:srgbClr val="7B4DB3"/>
      </a:accent6>
      <a:hlink>
        <a:srgbClr val="EA5B0C"/>
      </a:hlink>
      <a:folHlink>
        <a:srgbClr val="6A757C"/>
      </a:folHlink>
    </a:clrScheme>
    <a:fontScheme name="GfK">
      <a:majorFont>
        <a:latin typeface="Lato Heavy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GfK">
    <a:dk1>
      <a:srgbClr val="3B4145"/>
    </a:dk1>
    <a:lt1>
      <a:srgbClr val="FFFFFF"/>
    </a:lt1>
    <a:dk2>
      <a:srgbClr val="EA5B0C"/>
    </a:dk2>
    <a:lt2>
      <a:srgbClr val="D6D9DC"/>
    </a:lt2>
    <a:accent1>
      <a:srgbClr val="6A757C"/>
    </a:accent1>
    <a:accent2>
      <a:srgbClr val="4368BD"/>
    </a:accent2>
    <a:accent3>
      <a:srgbClr val="54B9B1"/>
    </a:accent3>
    <a:accent4>
      <a:srgbClr val="FFA52F"/>
    </a:accent4>
    <a:accent5>
      <a:srgbClr val="D2335F"/>
    </a:accent5>
    <a:accent6>
      <a:srgbClr val="7B4DB3"/>
    </a:accent6>
    <a:hlink>
      <a:srgbClr val="EA5B0C"/>
    </a:hlink>
    <a:folHlink>
      <a:srgbClr val="6A757C"/>
    </a:folHlink>
  </a:clrScheme>
  <a:fontScheme name="GfK">
    <a:majorFont>
      <a:latin typeface="Lato Heavy"/>
      <a:ea typeface=""/>
      <a:cs typeface=""/>
    </a:majorFont>
    <a:minorFont>
      <a:latin typeface="Lato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GfK">
    <a:dk1>
      <a:srgbClr val="3B4145"/>
    </a:dk1>
    <a:lt1>
      <a:srgbClr val="FFFFFF"/>
    </a:lt1>
    <a:dk2>
      <a:srgbClr val="EA5B0C"/>
    </a:dk2>
    <a:lt2>
      <a:srgbClr val="D6D9DC"/>
    </a:lt2>
    <a:accent1>
      <a:srgbClr val="6A757C"/>
    </a:accent1>
    <a:accent2>
      <a:srgbClr val="4368BD"/>
    </a:accent2>
    <a:accent3>
      <a:srgbClr val="54B9B1"/>
    </a:accent3>
    <a:accent4>
      <a:srgbClr val="FFA52F"/>
    </a:accent4>
    <a:accent5>
      <a:srgbClr val="D2335F"/>
    </a:accent5>
    <a:accent6>
      <a:srgbClr val="7B4DB3"/>
    </a:accent6>
    <a:hlink>
      <a:srgbClr val="EA5B0C"/>
    </a:hlink>
    <a:folHlink>
      <a:srgbClr val="6A757C"/>
    </a:folHlink>
  </a:clrScheme>
  <a:fontScheme name="GfK">
    <a:majorFont>
      <a:latin typeface="Lato Heavy"/>
      <a:ea typeface=""/>
      <a:cs typeface=""/>
    </a:majorFont>
    <a:minorFont>
      <a:latin typeface="Lato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GfK">
    <a:dk1>
      <a:srgbClr val="3B4145"/>
    </a:dk1>
    <a:lt1>
      <a:srgbClr val="FFFFFF"/>
    </a:lt1>
    <a:dk2>
      <a:srgbClr val="EA5B0C"/>
    </a:dk2>
    <a:lt2>
      <a:srgbClr val="D6D9DC"/>
    </a:lt2>
    <a:accent1>
      <a:srgbClr val="6A757C"/>
    </a:accent1>
    <a:accent2>
      <a:srgbClr val="4368BD"/>
    </a:accent2>
    <a:accent3>
      <a:srgbClr val="54B9B1"/>
    </a:accent3>
    <a:accent4>
      <a:srgbClr val="FFA52F"/>
    </a:accent4>
    <a:accent5>
      <a:srgbClr val="D2335F"/>
    </a:accent5>
    <a:accent6>
      <a:srgbClr val="7B4DB3"/>
    </a:accent6>
    <a:hlink>
      <a:srgbClr val="EA5B0C"/>
    </a:hlink>
    <a:folHlink>
      <a:srgbClr val="6A757C"/>
    </a:folHlink>
  </a:clrScheme>
  <a:fontScheme name="GfK">
    <a:majorFont>
      <a:latin typeface="Lato Heavy"/>
      <a:ea typeface=""/>
      <a:cs typeface=""/>
    </a:majorFont>
    <a:minorFont>
      <a:latin typeface="Lato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EC3CEBE5F4A6A4094C94D90720C42F6" ma:contentTypeVersion="13" ma:contentTypeDescription="Create a new document." ma:contentTypeScope="" ma:versionID="a5062680301db92614755f8af3d92597">
  <xsd:schema xmlns:xsd="http://www.w3.org/2001/XMLSchema" xmlns:xs="http://www.w3.org/2001/XMLSchema" xmlns:p="http://schemas.microsoft.com/office/2006/metadata/properties" xmlns:ns2="234ac7f7-39ba-4f47-b3f5-0fccc2156d0f" xmlns:ns3="8082585f-f167-47bd-9781-29a2579df839" targetNamespace="http://schemas.microsoft.com/office/2006/metadata/properties" ma:root="true" ma:fieldsID="36be719c559b91ec53c3bfd15825b4b2" ns2:_="" ns3:_="">
    <xsd:import namespace="234ac7f7-39ba-4f47-b3f5-0fccc2156d0f"/>
    <xsd:import namespace="8082585f-f167-47bd-9781-29a2579df83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4ac7f7-39ba-4f47-b3f5-0fccc2156d0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82585f-f167-47bd-9781-29a2579df839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AE3FFDC-5FB8-47EE-9ED1-CF936C107A7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34ac7f7-39ba-4f47-b3f5-0fccc2156d0f"/>
    <ds:schemaRef ds:uri="8082585f-f167-47bd-9781-29a2579df83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445D28E-30F8-47EA-BD86-12898576E78D}">
  <ds:schemaRefs>
    <ds:schemaRef ds:uri="http://purl.org/dc/elements/1.1/"/>
    <ds:schemaRef ds:uri="234ac7f7-39ba-4f47-b3f5-0fccc2156d0f"/>
    <ds:schemaRef ds:uri="http://schemas.microsoft.com/office/infopath/2007/PartnerControls"/>
    <ds:schemaRef ds:uri="http://schemas.microsoft.com/office/2006/documentManagement/types"/>
    <ds:schemaRef ds:uri="http://purl.org/dc/terms/"/>
    <ds:schemaRef ds:uri="http://www.w3.org/XML/1998/namespace"/>
    <ds:schemaRef ds:uri="8082585f-f167-47bd-9781-29a2579df839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E9FCD3F-1914-4849-9DEE-834581D6D52D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6ac7a1f4-5fb1-4153-bb4f-12d2020a1f7d}" enabled="0" method="" siteId="{6ac7a1f4-5fb1-4153-bb4f-12d2020a1f7d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187</TotalTime>
  <Words>293</Words>
  <Application>Microsoft Office PowerPoint</Application>
  <PresentationFormat>Widescreen</PresentationFormat>
  <Paragraphs>49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</vt:i4>
      </vt:variant>
    </vt:vector>
  </HeadingPairs>
  <TitlesOfParts>
    <vt:vector size="20" baseType="lpstr">
      <vt:lpstr>Arial</vt:lpstr>
      <vt:lpstr>Courier New</vt:lpstr>
      <vt:lpstr>Lato</vt:lpstr>
      <vt:lpstr>Lato Heavy</vt:lpstr>
      <vt:lpstr>Lato Light</vt:lpstr>
      <vt:lpstr>Lato Semibold</vt:lpstr>
      <vt:lpstr>Webdings</vt:lpstr>
      <vt:lpstr>Wingdings</vt:lpstr>
      <vt:lpstr>Wingdings 2</vt:lpstr>
      <vt:lpstr>1_GfK</vt:lpstr>
      <vt:lpstr>Office Theme</vt:lpstr>
      <vt:lpstr>1_Office Theme</vt:lpstr>
      <vt:lpstr>2_Office Theme</vt:lpstr>
      <vt:lpstr>3_Office Theme</vt:lpstr>
      <vt:lpstr>think-cell Folie</vt:lpstr>
      <vt:lpstr>think-cell Slide</vt:lpstr>
      <vt:lpstr>Greece Overview</vt:lpstr>
      <vt:lpstr>NielsenIQ | Tech &amp; Durables Market in Greece: Decrease in T&amp;D YTD value (-3%) and demand (-1,4%) </vt:lpstr>
      <vt:lpstr>NielsenIQ | Tech &amp; Durables Market vs pre-pandemic</vt:lpstr>
      <vt:lpstr>NielsenIQ | Tech &amp; Durables Market: Demand vs Revenu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ck.Kambas@gfk.com</dc:creator>
  <cp:lastModifiedBy>Nikoletta Sperelaki</cp:lastModifiedBy>
  <cp:revision>278</cp:revision>
  <dcterms:created xsi:type="dcterms:W3CDTF">2022-09-20T07:58:21Z</dcterms:created>
  <dcterms:modified xsi:type="dcterms:W3CDTF">2026-02-12T10:34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EC3CEBE5F4A6A4094C94D90720C42F6</vt:lpwstr>
  </property>
</Properties>
</file>